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7" r:id="rId3"/>
    <p:sldMasterId id="2147483693" r:id="rId4"/>
    <p:sldMasterId id="2147483709" r:id="rId5"/>
    <p:sldMasterId id="2147483725" r:id="rId6"/>
    <p:sldMasterId id="2147483741" r:id="rId7"/>
  </p:sldMasterIdLst>
  <p:notesMasterIdLst>
    <p:notesMasterId r:id="rId19"/>
  </p:notesMasterIdLst>
  <p:sldIdLst>
    <p:sldId id="257" r:id="rId8"/>
    <p:sldId id="258" r:id="rId9"/>
    <p:sldId id="260" r:id="rId10"/>
    <p:sldId id="259" r:id="rId11"/>
    <p:sldId id="261" r:id="rId12"/>
    <p:sldId id="262" r:id="rId13"/>
    <p:sldId id="263" r:id="rId14"/>
    <p:sldId id="267" r:id="rId15"/>
    <p:sldId id="268" r:id="rId16"/>
    <p:sldId id="269" r:id="rId17"/>
    <p:sldId id="264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466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ru-RU" sz="1050" dirty="0" smtClean="0">
                <a:solidFill>
                  <a:schemeClr val="bg2">
                    <a:lumMod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СКЛАДИРОВАНИЕ И ДИСТРИБУЦИЯ</a:t>
            </a:r>
            <a:endParaRPr lang="en-US" sz="1050" dirty="0">
              <a:latin typeface="Arial" charset="0"/>
              <a:ea typeface="Arial" charset="0"/>
              <a:cs typeface="Arial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Warehousing &amp; Distribution</c:v>
                </c:pt>
              </c:strCache>
            </c:strRef>
          </c:tx>
          <c:dPt>
            <c:idx val="0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5</c:v>
                </c:pt>
                <c:pt idx="1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Co-packing &amp; Co-manufacturing</c:v>
                </c:pt>
              </c:strCache>
            </c:strRef>
          </c:tx>
          <c:dPt>
            <c:idx val="0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0</c:v>
                </c:pt>
                <c:pt idx="1">
                  <c:v>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ru-RU" dirty="0" smtClean="0"/>
              <a:t>ТРАНСПОРТ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Transport &amp; SCM</c:v>
                </c:pt>
              </c:strCache>
            </c:strRef>
          </c:tx>
          <c:dPt>
            <c:idx val="0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4</c:v>
                </c:pt>
                <c:pt idx="1">
                  <c:v>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ru-RU" dirty="0" smtClean="0"/>
              <a:t>КОПАКИНГ И ФАСОВКА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Co-packing &amp; Co-manufacturing</c:v>
                </c:pt>
              </c:strCache>
            </c:strRef>
          </c:tx>
          <c:dPt>
            <c:idx val="0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1</c:v>
                </c:pt>
                <c:pt idx="1">
                  <c:v>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ru-RU" dirty="0" smtClean="0"/>
              <a:t>Миллионов</a:t>
            </a:r>
            <a:r>
              <a:rPr lang="ru-RU" baseline="0" dirty="0" smtClean="0"/>
              <a:t> евро</a:t>
            </a:r>
            <a:endParaRPr lang="en-US" dirty="0"/>
          </a:p>
        </c:rich>
      </c:tx>
      <c:layout>
        <c:manualLayout>
          <c:xMode val="edge"/>
          <c:yMode val="edge"/>
          <c:x val="0.30791044611194801"/>
          <c:y val="0.879687490238143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1432766159275699"/>
          <c:y val="3.7015869687275597E-2"/>
          <c:w val="0.85058874979175103"/>
          <c:h val="0.738037024290349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In millions of Euro</c:v>
                </c:pt>
              </c:strCache>
            </c:strRef>
          </c:tx>
          <c:spPr>
            <a:solidFill>
              <a:srgbClr val="3E9ACC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3E9ACC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07</c:v>
                </c:pt>
                <c:pt idx="1">
                  <c:v>2009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26</c:v>
                </c:pt>
                <c:pt idx="1">
                  <c:v>677</c:v>
                </c:pt>
                <c:pt idx="2">
                  <c:v>744</c:v>
                </c:pt>
                <c:pt idx="3">
                  <c:v>807</c:v>
                </c:pt>
                <c:pt idx="4">
                  <c:v>887</c:v>
                </c:pt>
                <c:pt idx="5">
                  <c:v>1043</c:v>
                </c:pt>
                <c:pt idx="6">
                  <c:v>1066</c:v>
                </c:pt>
                <c:pt idx="7">
                  <c:v>10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47543024"/>
        <c:axId val="257503600"/>
      </c:barChart>
      <c:catAx>
        <c:axId val="247543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ru-RU"/>
          </a:p>
        </c:txPr>
        <c:crossAx val="257503600"/>
        <c:crosses val="autoZero"/>
        <c:auto val="1"/>
        <c:lblAlgn val="ctr"/>
        <c:lblOffset val="100"/>
        <c:noMultiLvlLbl val="0"/>
      </c:catAx>
      <c:valAx>
        <c:axId val="25750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ru-RU"/>
          </a:p>
        </c:txPr>
        <c:crossAx val="247543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charset="0"/>
          <a:ea typeface="Arial" charset="0"/>
          <a:cs typeface="Arial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1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ru-RU" sz="1050" dirty="0" smtClean="0">
                <a:solidFill>
                  <a:schemeClr val="bg2">
                    <a:lumMod val="25000"/>
                  </a:schemeClr>
                </a:solidFill>
                <a:latin typeface="Arial" charset="0"/>
                <a:ea typeface="Arial" charset="0"/>
                <a:cs typeface="Arial" charset="0"/>
              </a:rPr>
              <a:t>СКЛАДИРОВАНИЕ И ДИСТРИБУЦИЯ</a:t>
            </a:r>
          </a:p>
        </c:rich>
      </c:tx>
      <c:layout>
        <c:manualLayout>
          <c:xMode val="edge"/>
          <c:yMode val="edge"/>
          <c:x val="0.22444540069842389"/>
          <c:y val="0.116511338602133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050" b="1" i="0" u="none" strike="noStrike" kern="1200" baseline="0">
              <a:solidFill>
                <a:prstClr val="black">
                  <a:lumMod val="75000"/>
                  <a:lumOff val="25000"/>
                </a:prst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31740681324253373"/>
          <c:y val="0.36202333534993664"/>
          <c:w val="0.39251880263996686"/>
          <c:h val="0.5887775703782712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Warehousing</c:v>
                </c:pt>
              </c:strCache>
            </c:strRef>
          </c:tx>
          <c:dPt>
            <c:idx val="0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9</c:v>
                </c:pt>
                <c:pt idx="1">
                  <c:v>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ru-RU" dirty="0" smtClean="0"/>
              <a:t>ТРАНСПОРТ </a:t>
            </a:r>
          </a:p>
        </c:rich>
      </c:tx>
      <c:layout>
        <c:manualLayout>
          <c:xMode val="edge"/>
          <c:yMode val="edge"/>
          <c:x val="0.30771477168923972"/>
          <c:y val="9.82031995567002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Transport &amp; Customs</c:v>
                </c:pt>
              </c:strCache>
            </c:strRef>
          </c:tx>
          <c:dPt>
            <c:idx val="0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6</c:v>
                </c:pt>
                <c:pt idx="1">
                  <c:v>7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r>
              <a:rPr lang="ru-RU" dirty="0" smtClean="0"/>
              <a:t>КОПАКИНГ И ФАСОВКА</a:t>
            </a:r>
          </a:p>
        </c:rich>
      </c:tx>
      <c:layout>
        <c:manualLayout>
          <c:xMode val="edge"/>
          <c:yMode val="edge"/>
          <c:x val="0.12747348031537142"/>
          <c:y val="6.73253863754887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Transport &amp; Customs</c:v>
                </c:pt>
              </c:strCache>
            </c:strRef>
          </c:tx>
          <c:dPt>
            <c:idx val="0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8</c:v>
                </c:pt>
                <c:pt idx="1">
                  <c:v>68</c:v>
                </c:pt>
                <c:pt idx="2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pPr>
            <a:endParaRPr lang="ru-RU" sz="1050" dirty="0" smtClean="0">
              <a:solidFill>
                <a:schemeClr val="bg2">
                  <a:lumMod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>
              <a:defRPr sz="1050">
                <a:latin typeface="Arial" charset="0"/>
                <a:ea typeface="Arial" charset="0"/>
                <a:cs typeface="Arial" charset="0"/>
              </a:defRPr>
            </a:pPr>
            <a:endParaRPr lang="en-US" sz="1050" dirty="0">
              <a:latin typeface="Arial" charset="0"/>
              <a:ea typeface="Arial" charset="0"/>
              <a:cs typeface="Arial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Warehousing &amp; Distribution</c:v>
                </c:pt>
              </c:strCache>
            </c:strRef>
          </c:tx>
          <c:dPt>
            <c:idx val="0"/>
            <c:bubble3D val="0"/>
            <c:spPr>
              <a:solidFill>
                <a:srgbClr val="3E9A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rgbClr val="BFBFBF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</c:dPt>
          <c:cat>
            <c:numRef>
              <c:f>Лист1!$A$2:$A$5</c:f>
              <c:numCache>
                <c:formatCode>General</c:formatCode>
                <c:ptCount val="4"/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70</c:v>
                </c:pt>
                <c:pt idx="1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67440555754712"/>
          <c:y val="0.12144919709343202"/>
          <c:w val="0.57794537814488744"/>
          <c:h val="0.803583994556028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239223-3265-462C-8B08-5F97FAC7963D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D77E32-E3B0-4B91-A178-99424B8C845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1753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A00FF1-77AB-48EC-A8B9-715CE9CA4C3C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5966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Shape 533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534" name="Shape 534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 defTabSz="914400">
              <a:lnSpc>
                <a:spcPct val="100000"/>
              </a:lnSpc>
              <a:spcBef>
                <a:spcPts val="400"/>
              </a:spcBef>
              <a:defRPr sz="1600"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lvl="0">
              <a:defRPr sz="1800"/>
            </a:pPr>
            <a:r>
              <a:rPr sz="160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27526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A00FF1-77AB-48EC-A8B9-715CE9CA4C3C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2569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79C15C-7C77-42AF-BD4E-7476B1EDDA17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493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7645A-B63F-4CD9-B196-31BF858363AE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19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7645A-B63F-4CD9-B196-31BF858363AE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876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7645A-B63F-4CD9-B196-31BF858363AE}" type="slidenum">
              <a:rPr lang="fr-FR" smtClean="0">
                <a:solidFill>
                  <a:prstClr val="black"/>
                </a:solidFill>
              </a:rPr>
              <a:pPr/>
              <a:t>7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5553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0ABC4B-D8BD-445B-AAEE-1EC55DAA9F70}" type="slidenum">
              <a:rPr lang="fr-FR" smtClean="0">
                <a:solidFill>
                  <a:srgbClr val="000000"/>
                </a:solidFill>
              </a:rPr>
              <a:pPr/>
              <a:t>8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7769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0ABC4B-D8BD-445B-AAEE-1EC55DAA9F70}" type="slidenum">
              <a:rPr lang="fr-FR" smtClean="0">
                <a:solidFill>
                  <a:srgbClr val="000000"/>
                </a:solidFill>
              </a:rPr>
              <a:pPr/>
              <a:t>9</a:t>
            </a:fld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6614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27645A-B63F-4CD9-B196-31BF858363AE}" type="slidenum">
              <a:rPr lang="fr-FR" smtClean="0">
                <a:solidFill>
                  <a:prstClr val="black"/>
                </a:solidFill>
              </a:rPr>
              <a:pPr/>
              <a:t>10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363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jpeg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7563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0877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2048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11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12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Image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08608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71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12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Image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267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396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980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9276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68635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2"/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765298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65739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143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722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22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17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  <a:lvl5pPr marL="649389" marR="0" indent="0" algn="l" defTabSz="5484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  <a:p>
            <a:pPr lvl="4"/>
            <a:endParaRPr lang="fr-FR" dirty="0" smtClean="0"/>
          </a:p>
          <a:p>
            <a:pPr lvl="4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09773" y="6542621"/>
            <a:ext cx="426907" cy="350110"/>
          </a:xfrm>
        </p:spPr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3" y="6334986"/>
            <a:ext cx="1775216" cy="34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441760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Дата 2"/>
          <p:cNvSpPr txBox="1">
            <a:spLocks/>
          </p:cNvSpPr>
          <p:nvPr userDrawn="1"/>
        </p:nvSpPr>
        <p:spPr>
          <a:xfrm>
            <a:off x="83820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3" name="Group 530"/>
          <p:cNvGrpSpPr/>
          <p:nvPr userDrawn="1"/>
        </p:nvGrpSpPr>
        <p:grpSpPr>
          <a:xfrm>
            <a:off x="9948202" y="6189680"/>
            <a:ext cx="2243799" cy="676098"/>
            <a:chOff x="0" y="0"/>
            <a:chExt cx="5437440" cy="1638399"/>
          </a:xfrm>
        </p:grpSpPr>
        <p:sp>
          <p:nvSpPr>
            <p:cNvPr id="14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812359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Int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12424" y="6453336"/>
            <a:ext cx="1800200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179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5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6" name="Image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  <p:pic>
        <p:nvPicPr>
          <p:cNvPr id="8" name="Изображение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1" r="3611" b="24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081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00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12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Image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5989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33109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2076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2236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8854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149713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2"/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8076944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7415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8029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9497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377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  <a:lvl5pPr marL="649389" marR="0" indent="0" algn="l" defTabSz="5484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  <a:p>
            <a:pPr lvl="4"/>
            <a:endParaRPr lang="fr-FR" dirty="0" smtClean="0"/>
          </a:p>
          <a:p>
            <a:pPr lvl="4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09773" y="6542621"/>
            <a:ext cx="426907" cy="350110"/>
          </a:xfrm>
        </p:spPr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3" y="6334986"/>
            <a:ext cx="1775216" cy="34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813137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2345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Дата 2"/>
          <p:cNvSpPr txBox="1">
            <a:spLocks/>
          </p:cNvSpPr>
          <p:nvPr userDrawn="1"/>
        </p:nvSpPr>
        <p:spPr>
          <a:xfrm>
            <a:off x="83820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3" name="Group 530"/>
          <p:cNvGrpSpPr/>
          <p:nvPr userDrawn="1"/>
        </p:nvGrpSpPr>
        <p:grpSpPr>
          <a:xfrm>
            <a:off x="9948202" y="6189680"/>
            <a:ext cx="2243799" cy="676098"/>
            <a:chOff x="0" y="0"/>
            <a:chExt cx="5437440" cy="1638399"/>
          </a:xfrm>
        </p:grpSpPr>
        <p:sp>
          <p:nvSpPr>
            <p:cNvPr id="14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65521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Int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12424" y="6453336"/>
            <a:ext cx="1800200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517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5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6" name="Image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  <p:pic>
        <p:nvPicPr>
          <p:cNvPr id="8" name="Изображение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1" r="3611" b="24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526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74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12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Image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8246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515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8753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2850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595138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2"/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835111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13003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8274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5642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2918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390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  <a:lvl5pPr marL="649389" marR="0" indent="0" algn="l" defTabSz="5484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  <a:p>
            <a:pPr lvl="4"/>
            <a:endParaRPr lang="fr-FR" dirty="0" smtClean="0"/>
          </a:p>
          <a:p>
            <a:pPr lvl="4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09773" y="6542621"/>
            <a:ext cx="426907" cy="350110"/>
          </a:xfrm>
        </p:spPr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3" y="6334986"/>
            <a:ext cx="1775216" cy="34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119607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Дата 2"/>
          <p:cNvSpPr txBox="1">
            <a:spLocks/>
          </p:cNvSpPr>
          <p:nvPr userDrawn="1"/>
        </p:nvSpPr>
        <p:spPr>
          <a:xfrm>
            <a:off x="83820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3" name="Group 530"/>
          <p:cNvGrpSpPr/>
          <p:nvPr userDrawn="1"/>
        </p:nvGrpSpPr>
        <p:grpSpPr>
          <a:xfrm>
            <a:off x="9948202" y="6189680"/>
            <a:ext cx="2243799" cy="676098"/>
            <a:chOff x="0" y="0"/>
            <a:chExt cx="5437440" cy="1638399"/>
          </a:xfrm>
        </p:grpSpPr>
        <p:sp>
          <p:nvSpPr>
            <p:cNvPr id="14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71508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Int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12424" y="6453336"/>
            <a:ext cx="1800200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7155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5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6" name="Image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  <p:pic>
        <p:nvPicPr>
          <p:cNvPr id="8" name="Изображение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1" r="3611" b="24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615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38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12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16" name="Image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060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4646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0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6200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1784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839110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2"/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0888837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7625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5405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5887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835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  <a:lvl5pPr marL="649389" marR="0" indent="0" algn="l" defTabSz="5484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  <a:p>
            <a:pPr lvl="4"/>
            <a:endParaRPr lang="fr-FR" dirty="0" smtClean="0"/>
          </a:p>
          <a:p>
            <a:pPr lvl="4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09773" y="6542621"/>
            <a:ext cx="426907" cy="350110"/>
          </a:xfrm>
        </p:spPr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3" y="6334986"/>
            <a:ext cx="1775216" cy="34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059053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28294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Дата 2"/>
          <p:cNvSpPr txBox="1">
            <a:spLocks/>
          </p:cNvSpPr>
          <p:nvPr userDrawn="1"/>
        </p:nvSpPr>
        <p:spPr>
          <a:xfrm>
            <a:off x="83820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3" name="Group 530"/>
          <p:cNvGrpSpPr/>
          <p:nvPr userDrawn="1"/>
        </p:nvGrpSpPr>
        <p:grpSpPr>
          <a:xfrm>
            <a:off x="9948202" y="6189680"/>
            <a:ext cx="2243799" cy="676098"/>
            <a:chOff x="0" y="0"/>
            <a:chExt cx="5437440" cy="1638399"/>
          </a:xfrm>
        </p:grpSpPr>
        <p:sp>
          <p:nvSpPr>
            <p:cNvPr id="14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4275103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Int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12424" y="6453336"/>
            <a:ext cx="1800200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15893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5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6" name="Image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  <p:pic>
        <p:nvPicPr>
          <p:cNvPr id="8" name="Изображение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1" r="3611" b="24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413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974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3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4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38351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2079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3997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5734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71425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Дата 2"/>
          <p:cNvSpPr txBox="1">
            <a:spLocks/>
          </p:cNvSpPr>
          <p:nvPr userDrawn="1"/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4"/>
          <p:cNvSpPr txBox="1">
            <a:spLocks/>
          </p:cNvSpPr>
          <p:nvPr userDrawn="1"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1" name="Group 530"/>
          <p:cNvGrpSpPr/>
          <p:nvPr userDrawn="1"/>
        </p:nvGrpSpPr>
        <p:grpSpPr>
          <a:xfrm>
            <a:off x="9948201" y="6189680"/>
            <a:ext cx="2243799" cy="676098"/>
            <a:chOff x="0" y="0"/>
            <a:chExt cx="5437440" cy="1638399"/>
          </a:xfrm>
        </p:grpSpPr>
        <p:sp>
          <p:nvSpPr>
            <p:cNvPr id="12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image2.jpeg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495122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222382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9243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8032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1647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05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" y="3800"/>
            <a:ext cx="12180604" cy="6851589"/>
          </a:xfrm>
          <a:prstGeom prst="rect">
            <a:avLst/>
          </a:prstGeom>
        </p:spPr>
      </p:pic>
      <p:grpSp>
        <p:nvGrpSpPr>
          <p:cNvPr id="4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5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6" name="Image 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4799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5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6" name="Image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  <p:pic>
        <p:nvPicPr>
          <p:cNvPr id="8" name="Изображение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61" r="3611" b="24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185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-tête de section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image1.jpe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667" y="-7570"/>
            <a:ext cx="12200667" cy="6864231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8" y="0"/>
            <a:ext cx="12180604" cy="6859190"/>
          </a:xfrm>
          <a:prstGeom prst="rect">
            <a:avLst/>
          </a:prstGeom>
        </p:spPr>
      </p:pic>
      <p:grpSp>
        <p:nvGrpSpPr>
          <p:cNvPr id="4" name="Grouper 8"/>
          <p:cNvGrpSpPr/>
          <p:nvPr userDrawn="1"/>
        </p:nvGrpSpPr>
        <p:grpSpPr>
          <a:xfrm>
            <a:off x="-2" y="576000"/>
            <a:ext cx="3823200" cy="1152000"/>
            <a:chOff x="-2" y="576000"/>
            <a:chExt cx="3823200" cy="1152000"/>
          </a:xfrm>
        </p:grpSpPr>
        <p:sp>
          <p:nvSpPr>
            <p:cNvPr id="5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  <p:pic>
          <p:nvPicPr>
            <p:cNvPr id="6" name="Image 6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09624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/>
            </a:lvl4pPr>
            <a:lvl5pPr marL="649389" marR="0" indent="0" algn="l" defTabSz="5484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  <a:p>
            <a:pPr lvl="4"/>
            <a:endParaRPr lang="fr-FR" dirty="0" smtClean="0"/>
          </a:p>
          <a:p>
            <a:pPr lvl="4"/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09773" y="6542621"/>
            <a:ext cx="426907" cy="350110"/>
          </a:xfrm>
        </p:spPr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3" y="6334986"/>
            <a:ext cx="1775216" cy="34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36341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Couverture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08001" y="2816227"/>
            <a:ext cx="10363200" cy="1470025"/>
          </a:xfrm>
        </p:spPr>
        <p:txBody>
          <a:bodyPr anchor="b">
            <a:normAutofit/>
          </a:bodyPr>
          <a:lstStyle>
            <a:lvl1pPr>
              <a:defRPr sz="3501">
                <a:solidFill>
                  <a:srgbClr val="FFFFFF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08000" y="4419601"/>
            <a:ext cx="9448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381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2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3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4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55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6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77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8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0933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nt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601" y="6360245"/>
            <a:ext cx="2080016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848885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916942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nt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601" y="6360245"/>
            <a:ext cx="2080016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4819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nt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609601" y="274640"/>
            <a:ext cx="10972800" cy="1143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609601" y="1600205"/>
            <a:ext cx="10972800" cy="45259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601" y="6360245"/>
            <a:ext cx="2080016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66456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 descr="Garde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6687" y="4505326"/>
            <a:ext cx="9298516" cy="774700"/>
          </a:xfrm>
        </p:spPr>
        <p:txBody>
          <a:bodyPr anchor="t">
            <a:normAutofit/>
          </a:bodyPr>
          <a:lstStyle>
            <a:lvl1pPr algn="l">
              <a:defRPr sz="2667" b="0" cap="none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56687" y="5117306"/>
            <a:ext cx="9908116" cy="750095"/>
          </a:xfrm>
        </p:spPr>
        <p:txBody>
          <a:bodyPr anchor="t"/>
          <a:lstStyle>
            <a:lvl1pPr marL="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1pPr>
            <a:lvl2pPr marL="381113" indent="0">
              <a:buNone/>
              <a:defRPr sz="1501">
                <a:solidFill>
                  <a:schemeClr val="tx1">
                    <a:tint val="75000"/>
                  </a:schemeClr>
                </a:solidFill>
              </a:defRPr>
            </a:lvl2pPr>
            <a:lvl3pPr marL="762228" indent="0">
              <a:buNone/>
              <a:defRPr sz="1335">
                <a:solidFill>
                  <a:schemeClr val="tx1">
                    <a:tint val="75000"/>
                  </a:schemeClr>
                </a:solidFill>
              </a:defRPr>
            </a:lvl3pPr>
            <a:lvl4pPr marL="1143342" indent="0">
              <a:buNone/>
              <a:defRPr sz="1168">
                <a:solidFill>
                  <a:schemeClr val="tx1">
                    <a:tint val="75000"/>
                  </a:schemeClr>
                </a:solidFill>
              </a:defRPr>
            </a:lvl4pPr>
            <a:lvl5pPr marL="1524455" indent="0">
              <a:buNone/>
              <a:defRPr sz="1168">
                <a:solidFill>
                  <a:schemeClr val="tx1">
                    <a:tint val="75000"/>
                  </a:schemeClr>
                </a:solidFill>
              </a:defRPr>
            </a:lvl5pPr>
            <a:lvl6pPr marL="1905568" indent="0">
              <a:buNone/>
              <a:defRPr sz="1168">
                <a:solidFill>
                  <a:schemeClr val="tx1">
                    <a:tint val="75000"/>
                  </a:schemeClr>
                </a:solidFill>
              </a:defRPr>
            </a:lvl6pPr>
            <a:lvl7pPr marL="2286681" indent="0">
              <a:buNone/>
              <a:defRPr sz="1168">
                <a:solidFill>
                  <a:schemeClr val="tx1">
                    <a:tint val="75000"/>
                  </a:schemeClr>
                </a:solidFill>
              </a:defRPr>
            </a:lvl7pPr>
            <a:lvl8pPr marL="2667796" indent="0">
              <a:buNone/>
              <a:defRPr sz="1168">
                <a:solidFill>
                  <a:schemeClr val="tx1">
                    <a:tint val="75000"/>
                  </a:schemeClr>
                </a:solidFill>
              </a:defRPr>
            </a:lvl8pPr>
            <a:lvl9pPr marL="3048910" indent="0">
              <a:buNone/>
              <a:defRPr sz="116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7" name="Grouper 6"/>
          <p:cNvGrpSpPr/>
          <p:nvPr/>
        </p:nvGrpSpPr>
        <p:grpSpPr>
          <a:xfrm>
            <a:off x="-1" y="576000"/>
            <a:ext cx="5097600" cy="1152000"/>
            <a:chOff x="-2" y="576000"/>
            <a:chExt cx="3823200" cy="1152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2" y="576000"/>
              <a:ext cx="3823200" cy="1152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fr-FR" sz="2167">
                <a:solidFill>
                  <a:prstClr val="white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76000" y="871207"/>
              <a:ext cx="2887889" cy="5615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4088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nt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1" y="1600205"/>
            <a:ext cx="5384800" cy="4525963"/>
          </a:xfrm>
        </p:spPr>
        <p:txBody>
          <a:bodyPr/>
          <a:lstStyle>
            <a:lvl1pPr>
              <a:defRPr sz="2001"/>
            </a:lvl1pPr>
            <a:lvl2pPr>
              <a:defRPr sz="1667"/>
            </a:lvl2pPr>
            <a:lvl3pPr>
              <a:defRPr sz="1501"/>
            </a:lvl3pPr>
            <a:lvl4pPr>
              <a:defRPr sz="1168"/>
            </a:lvl4pPr>
            <a:lvl5pPr>
              <a:defRPr sz="1000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599" y="1600205"/>
            <a:ext cx="5384800" cy="4525963"/>
          </a:xfrm>
        </p:spPr>
        <p:txBody>
          <a:bodyPr/>
          <a:lstStyle>
            <a:lvl1pPr>
              <a:defRPr sz="2001"/>
            </a:lvl1pPr>
            <a:lvl2pPr>
              <a:defRPr sz="1667"/>
            </a:lvl2pPr>
            <a:lvl3pPr>
              <a:defRPr sz="1501"/>
            </a:lvl3pPr>
            <a:lvl4pPr>
              <a:defRPr sz="1168"/>
            </a:lvl4pPr>
            <a:lvl5pPr>
              <a:defRPr sz="1000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601" y="6360245"/>
            <a:ext cx="2080016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032577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Int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601" y="6360245"/>
            <a:ext cx="2080016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340788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Int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601" y="6360245"/>
            <a:ext cx="2080016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65668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nt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>
            <a:normAutofit/>
          </a:bodyPr>
          <a:lstStyle>
            <a:lvl1pPr algn="l">
              <a:defRPr sz="2251" b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2389717" y="612777"/>
            <a:ext cx="7315200" cy="4114800"/>
          </a:xfrm>
        </p:spPr>
        <p:txBody>
          <a:bodyPr/>
          <a:lstStyle>
            <a:lvl1pPr marL="0" indent="0">
              <a:buNone/>
              <a:defRPr sz="2667"/>
            </a:lvl1pPr>
            <a:lvl2pPr marL="381113" indent="0">
              <a:buNone/>
              <a:defRPr sz="2335"/>
            </a:lvl2pPr>
            <a:lvl3pPr marL="762228" indent="0">
              <a:buNone/>
              <a:defRPr sz="2001"/>
            </a:lvl3pPr>
            <a:lvl4pPr marL="1143342" indent="0">
              <a:buNone/>
              <a:defRPr sz="1667"/>
            </a:lvl4pPr>
            <a:lvl5pPr marL="1524455" indent="0">
              <a:buNone/>
              <a:defRPr sz="1667"/>
            </a:lvl5pPr>
            <a:lvl6pPr marL="1905568" indent="0">
              <a:buNone/>
              <a:defRPr sz="1667"/>
            </a:lvl6pPr>
            <a:lvl7pPr marL="2286681" indent="0">
              <a:buNone/>
              <a:defRPr sz="1667"/>
            </a:lvl7pPr>
            <a:lvl8pPr marL="2667796" indent="0">
              <a:buNone/>
              <a:defRPr sz="1667"/>
            </a:lvl8pPr>
            <a:lvl9pPr marL="3048910" indent="0">
              <a:buNone/>
              <a:defRPr sz="1667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>
            <a:noAutofit/>
          </a:bodyPr>
          <a:lstStyle>
            <a:lvl1pPr marL="0" indent="0">
              <a:buNone/>
              <a:defRPr sz="1168"/>
            </a:lvl1pPr>
            <a:lvl2pPr marL="381113" indent="0">
              <a:buNone/>
              <a:defRPr sz="1000"/>
            </a:lvl2pPr>
            <a:lvl3pPr marL="762228" indent="0">
              <a:buNone/>
              <a:defRPr sz="833"/>
            </a:lvl3pPr>
            <a:lvl4pPr marL="1143342" indent="0">
              <a:buNone/>
              <a:defRPr sz="751"/>
            </a:lvl4pPr>
            <a:lvl5pPr marL="1524455" indent="0">
              <a:buNone/>
              <a:defRPr sz="751"/>
            </a:lvl5pPr>
            <a:lvl6pPr marL="1905568" indent="0">
              <a:buNone/>
              <a:defRPr sz="751"/>
            </a:lvl6pPr>
            <a:lvl7pPr marL="2286681" indent="0">
              <a:buNone/>
              <a:defRPr sz="751"/>
            </a:lvl7pPr>
            <a:lvl8pPr marL="2667796" indent="0">
              <a:buNone/>
              <a:defRPr sz="751"/>
            </a:lvl8pPr>
            <a:lvl9pPr marL="3048910" indent="0">
              <a:buNone/>
              <a:defRPr sz="75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Titre de la présentation - Auteur/Service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53601" y="6360245"/>
            <a:ext cx="2080016" cy="303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376416"/>
      </p:ext>
    </p:extLst>
  </p:cSld>
  <p:clrMapOvr>
    <a:masterClrMapping/>
  </p:clrMapOvr>
  <p:transition spd="med">
    <p:pull dir="r"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974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FFRES CL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élogramme 9"/>
          <p:cNvSpPr/>
          <p:nvPr userDrawn="1"/>
        </p:nvSpPr>
        <p:spPr>
          <a:xfrm>
            <a:off x="2981324" y="3353144"/>
            <a:ext cx="9210859" cy="1213673"/>
          </a:xfrm>
          <a:custGeom>
            <a:avLst/>
            <a:gdLst>
              <a:gd name="connsiteX0" fmla="*/ 0 w 9458325"/>
              <a:gd name="connsiteY0" fmla="*/ 1680731 h 1680731"/>
              <a:gd name="connsiteX1" fmla="*/ 945966 w 9458325"/>
              <a:gd name="connsiteY1" fmla="*/ 0 h 1680731"/>
              <a:gd name="connsiteX2" fmla="*/ 9458325 w 9458325"/>
              <a:gd name="connsiteY2" fmla="*/ 0 h 1680731"/>
              <a:gd name="connsiteX3" fmla="*/ 8512359 w 9458325"/>
              <a:gd name="connsiteY3" fmla="*/ 1680731 h 1680731"/>
              <a:gd name="connsiteX4" fmla="*/ 0 w 9458325"/>
              <a:gd name="connsiteY4" fmla="*/ 1680731 h 1680731"/>
              <a:gd name="connsiteX0" fmla="*/ 0 w 9458509"/>
              <a:gd name="connsiteY0" fmla="*/ 1680731 h 1687081"/>
              <a:gd name="connsiteX1" fmla="*/ 945966 w 9458509"/>
              <a:gd name="connsiteY1" fmla="*/ 0 h 1687081"/>
              <a:gd name="connsiteX2" fmla="*/ 9458325 w 9458509"/>
              <a:gd name="connsiteY2" fmla="*/ 0 h 1687081"/>
              <a:gd name="connsiteX3" fmla="*/ 9458509 w 9458509"/>
              <a:gd name="connsiteY3" fmla="*/ 1687081 h 1687081"/>
              <a:gd name="connsiteX4" fmla="*/ 0 w 9458509"/>
              <a:gd name="connsiteY4" fmla="*/ 1680731 h 1687081"/>
              <a:gd name="connsiteX0" fmla="*/ 0 w 9210859"/>
              <a:gd name="connsiteY0" fmla="*/ 1694026 h 1694026"/>
              <a:gd name="connsiteX1" fmla="*/ 698316 w 9210859"/>
              <a:gd name="connsiteY1" fmla="*/ 0 h 1694026"/>
              <a:gd name="connsiteX2" fmla="*/ 9210675 w 9210859"/>
              <a:gd name="connsiteY2" fmla="*/ 0 h 1694026"/>
              <a:gd name="connsiteX3" fmla="*/ 9210859 w 9210859"/>
              <a:gd name="connsiteY3" fmla="*/ 1687081 h 1694026"/>
              <a:gd name="connsiteX4" fmla="*/ 0 w 9210859"/>
              <a:gd name="connsiteY4" fmla="*/ 1694026 h 1694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10859" h="1694026">
                <a:moveTo>
                  <a:pt x="0" y="1694026"/>
                </a:moveTo>
                <a:lnTo>
                  <a:pt x="698316" y="0"/>
                </a:lnTo>
                <a:lnTo>
                  <a:pt x="9210675" y="0"/>
                </a:lnTo>
                <a:cubicBezTo>
                  <a:pt x="9210736" y="562360"/>
                  <a:pt x="9210798" y="1124721"/>
                  <a:pt x="9210859" y="1687081"/>
                </a:cubicBezTo>
                <a:lnTo>
                  <a:pt x="0" y="1694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7" name="Trapèze 6"/>
          <p:cNvSpPr/>
          <p:nvPr userDrawn="1"/>
        </p:nvSpPr>
        <p:spPr>
          <a:xfrm rot="10800000">
            <a:off x="-1" y="15388"/>
            <a:ext cx="5572123" cy="6915005"/>
          </a:xfrm>
          <a:custGeom>
            <a:avLst/>
            <a:gdLst>
              <a:gd name="connsiteX0" fmla="*/ 0 w 5572123"/>
              <a:gd name="connsiteY0" fmla="*/ 6876905 h 6876905"/>
              <a:gd name="connsiteX1" fmla="*/ 2147886 w 5572123"/>
              <a:gd name="connsiteY1" fmla="*/ 0 h 6876905"/>
              <a:gd name="connsiteX2" fmla="*/ 3424237 w 5572123"/>
              <a:gd name="connsiteY2" fmla="*/ 0 h 6876905"/>
              <a:gd name="connsiteX3" fmla="*/ 5572123 w 5572123"/>
              <a:gd name="connsiteY3" fmla="*/ 6876905 h 6876905"/>
              <a:gd name="connsiteX4" fmla="*/ 0 w 5572123"/>
              <a:gd name="connsiteY4" fmla="*/ 6876905 h 6876905"/>
              <a:gd name="connsiteX0" fmla="*/ 0 w 5572123"/>
              <a:gd name="connsiteY0" fmla="*/ 6905480 h 6905480"/>
              <a:gd name="connsiteX1" fmla="*/ 2147886 w 5572123"/>
              <a:gd name="connsiteY1" fmla="*/ 28575 h 6905480"/>
              <a:gd name="connsiteX2" fmla="*/ 5567362 w 5572123"/>
              <a:gd name="connsiteY2" fmla="*/ 0 h 6905480"/>
              <a:gd name="connsiteX3" fmla="*/ 5572123 w 5572123"/>
              <a:gd name="connsiteY3" fmla="*/ 6905480 h 6905480"/>
              <a:gd name="connsiteX4" fmla="*/ 0 w 5572123"/>
              <a:gd name="connsiteY4" fmla="*/ 6905480 h 6905480"/>
              <a:gd name="connsiteX0" fmla="*/ 0 w 5572123"/>
              <a:gd name="connsiteY0" fmla="*/ 6905480 h 6905480"/>
              <a:gd name="connsiteX1" fmla="*/ 3929061 w 5572123"/>
              <a:gd name="connsiteY1" fmla="*/ 171450 h 6905480"/>
              <a:gd name="connsiteX2" fmla="*/ 5567362 w 5572123"/>
              <a:gd name="connsiteY2" fmla="*/ 0 h 6905480"/>
              <a:gd name="connsiteX3" fmla="*/ 5572123 w 5572123"/>
              <a:gd name="connsiteY3" fmla="*/ 6905480 h 6905480"/>
              <a:gd name="connsiteX4" fmla="*/ 0 w 5572123"/>
              <a:gd name="connsiteY4" fmla="*/ 6905480 h 6905480"/>
              <a:gd name="connsiteX0" fmla="*/ 0 w 5572123"/>
              <a:gd name="connsiteY0" fmla="*/ 6915005 h 6915005"/>
              <a:gd name="connsiteX1" fmla="*/ 3910011 w 5572123"/>
              <a:gd name="connsiteY1" fmla="*/ 0 h 6915005"/>
              <a:gd name="connsiteX2" fmla="*/ 5567362 w 5572123"/>
              <a:gd name="connsiteY2" fmla="*/ 9525 h 6915005"/>
              <a:gd name="connsiteX3" fmla="*/ 5572123 w 5572123"/>
              <a:gd name="connsiteY3" fmla="*/ 6915005 h 6915005"/>
              <a:gd name="connsiteX4" fmla="*/ 0 w 5572123"/>
              <a:gd name="connsiteY4" fmla="*/ 6915005 h 691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72123" h="6915005">
                <a:moveTo>
                  <a:pt x="0" y="6915005"/>
                </a:moveTo>
                <a:lnTo>
                  <a:pt x="3910011" y="0"/>
                </a:lnTo>
                <a:lnTo>
                  <a:pt x="5567362" y="9525"/>
                </a:lnTo>
                <a:lnTo>
                  <a:pt x="5572123" y="6915005"/>
                </a:lnTo>
                <a:lnTo>
                  <a:pt x="0" y="6915005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accent3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2513451"/>
            <a:ext cx="4152108" cy="438148"/>
          </a:xfrm>
          <a:custGeom>
            <a:avLst/>
            <a:gdLst>
              <a:gd name="connsiteX0" fmla="*/ 0 w 3886200"/>
              <a:gd name="connsiteY0" fmla="*/ 0 h 438148"/>
              <a:gd name="connsiteX1" fmla="*/ 3886200 w 3886200"/>
              <a:gd name="connsiteY1" fmla="*/ 0 h 438148"/>
              <a:gd name="connsiteX2" fmla="*/ 3886200 w 3886200"/>
              <a:gd name="connsiteY2" fmla="*/ 438148 h 438148"/>
              <a:gd name="connsiteX3" fmla="*/ 0 w 3886200"/>
              <a:gd name="connsiteY3" fmla="*/ 438148 h 438148"/>
              <a:gd name="connsiteX4" fmla="*/ 0 w 3886200"/>
              <a:gd name="connsiteY4" fmla="*/ 0 h 438148"/>
              <a:gd name="connsiteX0" fmla="*/ 0 w 4124325"/>
              <a:gd name="connsiteY0" fmla="*/ 0 h 438148"/>
              <a:gd name="connsiteX1" fmla="*/ 4124325 w 4124325"/>
              <a:gd name="connsiteY1" fmla="*/ 19050 h 438148"/>
              <a:gd name="connsiteX2" fmla="*/ 3886200 w 4124325"/>
              <a:gd name="connsiteY2" fmla="*/ 438148 h 438148"/>
              <a:gd name="connsiteX3" fmla="*/ 0 w 4124325"/>
              <a:gd name="connsiteY3" fmla="*/ 438148 h 438148"/>
              <a:gd name="connsiteX4" fmla="*/ 0 w 4124325"/>
              <a:gd name="connsiteY4" fmla="*/ 0 h 438148"/>
              <a:gd name="connsiteX0" fmla="*/ 0 w 4145757"/>
              <a:gd name="connsiteY0" fmla="*/ 0 h 438148"/>
              <a:gd name="connsiteX1" fmla="*/ 4145757 w 4145757"/>
              <a:gd name="connsiteY1" fmla="*/ 16669 h 438148"/>
              <a:gd name="connsiteX2" fmla="*/ 3886200 w 4145757"/>
              <a:gd name="connsiteY2" fmla="*/ 438148 h 438148"/>
              <a:gd name="connsiteX3" fmla="*/ 0 w 4145757"/>
              <a:gd name="connsiteY3" fmla="*/ 438148 h 438148"/>
              <a:gd name="connsiteX4" fmla="*/ 0 w 4145757"/>
              <a:gd name="connsiteY4" fmla="*/ 0 h 438148"/>
              <a:gd name="connsiteX0" fmla="*/ 0 w 4145757"/>
              <a:gd name="connsiteY0" fmla="*/ 0 h 438148"/>
              <a:gd name="connsiteX1" fmla="*/ 4145757 w 4145757"/>
              <a:gd name="connsiteY1" fmla="*/ 16669 h 438148"/>
              <a:gd name="connsiteX2" fmla="*/ 3914775 w 4145757"/>
              <a:gd name="connsiteY2" fmla="*/ 438148 h 438148"/>
              <a:gd name="connsiteX3" fmla="*/ 0 w 4145757"/>
              <a:gd name="connsiteY3" fmla="*/ 438148 h 438148"/>
              <a:gd name="connsiteX4" fmla="*/ 0 w 4145757"/>
              <a:gd name="connsiteY4" fmla="*/ 0 h 438148"/>
              <a:gd name="connsiteX0" fmla="*/ 0 w 4152107"/>
              <a:gd name="connsiteY0" fmla="*/ 0 h 438148"/>
              <a:gd name="connsiteX1" fmla="*/ 4152107 w 4152107"/>
              <a:gd name="connsiteY1" fmla="*/ 3969 h 438148"/>
              <a:gd name="connsiteX2" fmla="*/ 3914775 w 4152107"/>
              <a:gd name="connsiteY2" fmla="*/ 438148 h 438148"/>
              <a:gd name="connsiteX3" fmla="*/ 0 w 4152107"/>
              <a:gd name="connsiteY3" fmla="*/ 438148 h 438148"/>
              <a:gd name="connsiteX4" fmla="*/ 0 w 4152107"/>
              <a:gd name="connsiteY4" fmla="*/ 0 h 438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52107" h="438148">
                <a:moveTo>
                  <a:pt x="0" y="0"/>
                </a:moveTo>
                <a:lnTo>
                  <a:pt x="4152107" y="3969"/>
                </a:lnTo>
                <a:lnTo>
                  <a:pt x="3914775" y="438148"/>
                </a:lnTo>
                <a:lnTo>
                  <a:pt x="0" y="438148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42976" y="707959"/>
            <a:ext cx="3733800" cy="926786"/>
          </a:xfrm>
        </p:spPr>
        <p:txBody>
          <a:bodyPr/>
          <a:lstStyle>
            <a:lvl1pPr>
              <a:defRPr sz="280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17" name="Espace réservé pour une image  16"/>
          <p:cNvSpPr>
            <a:spLocks noGrp="1"/>
          </p:cNvSpPr>
          <p:nvPr>
            <p:ph type="pic" sz="quarter" idx="16" hasCustomPrompt="1"/>
          </p:nvPr>
        </p:nvSpPr>
        <p:spPr>
          <a:xfrm>
            <a:off x="3905250" y="349931"/>
            <a:ext cx="4448176" cy="2601668"/>
          </a:xfrm>
          <a:prstGeom prst="parallelogram">
            <a:avLst>
              <a:gd name="adj" fmla="val 55613"/>
            </a:avLst>
          </a:prstGeom>
          <a:noFill/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INSERT IMAGE</a:t>
            </a:r>
          </a:p>
          <a:p>
            <a:r>
              <a:rPr lang="fr-FR" dirty="0" smtClean="0"/>
              <a:t>V</a:t>
            </a:r>
            <a:endParaRPr lang="fr-FR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7" hasCustomPrompt="1"/>
          </p:nvPr>
        </p:nvSpPr>
        <p:spPr>
          <a:xfrm>
            <a:off x="235132" y="2636927"/>
            <a:ext cx="3500207" cy="211048"/>
          </a:xfrm>
        </p:spPr>
        <p:txBody>
          <a:bodyPr anchor="ctr"/>
          <a:lstStyle>
            <a:lvl1pPr>
              <a:defRPr sz="1600" b="1" cap="none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err="1" smtClean="0"/>
              <a:t>Subtitle</a:t>
            </a:r>
            <a:r>
              <a:rPr lang="fr-FR" dirty="0" smtClean="0"/>
              <a:t> 1</a:t>
            </a:r>
            <a:endParaRPr lang="fr-FR" dirty="0"/>
          </a:p>
        </p:txBody>
      </p:sp>
      <p:sp>
        <p:nvSpPr>
          <p:cNvPr id="26" name="Espace réservé pour une image  16"/>
          <p:cNvSpPr>
            <a:spLocks noGrp="1"/>
          </p:cNvSpPr>
          <p:nvPr>
            <p:ph type="pic" sz="quarter" idx="26" hasCustomPrompt="1"/>
          </p:nvPr>
        </p:nvSpPr>
        <p:spPr>
          <a:xfrm>
            <a:off x="265260" y="3098769"/>
            <a:ext cx="457710" cy="440698"/>
          </a:xfrm>
        </p:spPr>
        <p:txBody>
          <a:bodyPr lIns="0" tIns="0" rIns="0" bIns="0"/>
          <a:lstStyle>
            <a:lvl1pPr algn="ctr">
              <a:defRPr sz="500" b="1"/>
            </a:lvl1pPr>
          </a:lstStyle>
          <a:p>
            <a:r>
              <a:rPr lang="fr-FR" dirty="0" smtClean="0"/>
              <a:t>INSERT </a:t>
            </a:r>
            <a:br>
              <a:rPr lang="fr-FR" dirty="0" smtClean="0"/>
            </a:br>
            <a:r>
              <a:rPr lang="fr-FR" dirty="0" smtClean="0"/>
              <a:t>PICTO</a:t>
            </a:r>
            <a:endParaRPr lang="fr-FR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27" hasCustomPrompt="1"/>
          </p:nvPr>
        </p:nvSpPr>
        <p:spPr>
          <a:xfrm>
            <a:off x="804864" y="3179764"/>
            <a:ext cx="2700336" cy="287336"/>
          </a:xfrm>
        </p:spPr>
        <p:txBody>
          <a:bodyPr/>
          <a:lstStyle>
            <a:lvl1pPr>
              <a:defRPr sz="14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XXXXXX / jour</a:t>
            </a:r>
          </a:p>
        </p:txBody>
      </p:sp>
      <p:sp>
        <p:nvSpPr>
          <p:cNvPr id="22" name="Espace réservé du texte 13"/>
          <p:cNvSpPr>
            <a:spLocks noGrp="1"/>
          </p:cNvSpPr>
          <p:nvPr>
            <p:ph type="body" sz="quarter" idx="28" hasCustomPrompt="1"/>
          </p:nvPr>
        </p:nvSpPr>
        <p:spPr>
          <a:xfrm>
            <a:off x="804864" y="3686637"/>
            <a:ext cx="2490786" cy="287336"/>
          </a:xfrm>
        </p:spPr>
        <p:txBody>
          <a:bodyPr/>
          <a:lstStyle>
            <a:lvl1pPr>
              <a:defRPr sz="14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XXXXXX / jour</a:t>
            </a:r>
          </a:p>
        </p:txBody>
      </p:sp>
      <p:sp>
        <p:nvSpPr>
          <p:cNvPr id="23" name="Espace réservé du texte 13"/>
          <p:cNvSpPr>
            <a:spLocks noGrp="1"/>
          </p:cNvSpPr>
          <p:nvPr>
            <p:ph type="body" sz="quarter" idx="29" hasCustomPrompt="1"/>
          </p:nvPr>
        </p:nvSpPr>
        <p:spPr>
          <a:xfrm>
            <a:off x="804864" y="4193510"/>
            <a:ext cx="2233611" cy="287336"/>
          </a:xfrm>
        </p:spPr>
        <p:txBody>
          <a:bodyPr/>
          <a:lstStyle>
            <a:lvl1pPr>
              <a:defRPr sz="14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XXXXXX / jour</a:t>
            </a:r>
          </a:p>
        </p:txBody>
      </p:sp>
      <p:sp>
        <p:nvSpPr>
          <p:cNvPr id="24" name="Espace réservé du texte 13"/>
          <p:cNvSpPr>
            <a:spLocks noGrp="1"/>
          </p:cNvSpPr>
          <p:nvPr>
            <p:ph type="body" sz="quarter" idx="30" hasCustomPrompt="1"/>
          </p:nvPr>
        </p:nvSpPr>
        <p:spPr>
          <a:xfrm>
            <a:off x="804864" y="4700383"/>
            <a:ext cx="1947861" cy="287336"/>
          </a:xfrm>
        </p:spPr>
        <p:txBody>
          <a:bodyPr/>
          <a:lstStyle>
            <a:lvl1pPr>
              <a:defRPr sz="14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XXXXXX / jour</a:t>
            </a:r>
          </a:p>
        </p:txBody>
      </p:sp>
      <p:sp>
        <p:nvSpPr>
          <p:cNvPr id="25" name="Espace réservé du texte 13"/>
          <p:cNvSpPr>
            <a:spLocks noGrp="1"/>
          </p:cNvSpPr>
          <p:nvPr>
            <p:ph type="body" sz="quarter" idx="31" hasCustomPrompt="1"/>
          </p:nvPr>
        </p:nvSpPr>
        <p:spPr>
          <a:xfrm>
            <a:off x="804864" y="5207256"/>
            <a:ext cx="1652586" cy="287336"/>
          </a:xfrm>
        </p:spPr>
        <p:txBody>
          <a:bodyPr/>
          <a:lstStyle>
            <a:lvl1pPr>
              <a:defRPr sz="14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XXXXXX / jour</a:t>
            </a:r>
          </a:p>
        </p:txBody>
      </p:sp>
      <p:sp>
        <p:nvSpPr>
          <p:cNvPr id="27" name="Espace réservé du texte 13"/>
          <p:cNvSpPr>
            <a:spLocks noGrp="1"/>
          </p:cNvSpPr>
          <p:nvPr>
            <p:ph type="body" sz="quarter" idx="32" hasCustomPrompt="1"/>
          </p:nvPr>
        </p:nvSpPr>
        <p:spPr>
          <a:xfrm>
            <a:off x="804864" y="5714129"/>
            <a:ext cx="1423986" cy="287336"/>
          </a:xfrm>
        </p:spPr>
        <p:txBody>
          <a:bodyPr/>
          <a:lstStyle>
            <a:lvl1pPr>
              <a:defRPr sz="14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XXXXXX / jour</a:t>
            </a:r>
          </a:p>
        </p:txBody>
      </p:sp>
      <p:sp>
        <p:nvSpPr>
          <p:cNvPr id="29" name="Espace réservé pour une image  16"/>
          <p:cNvSpPr>
            <a:spLocks noGrp="1"/>
          </p:cNvSpPr>
          <p:nvPr>
            <p:ph type="pic" sz="quarter" idx="33" hasCustomPrompt="1"/>
          </p:nvPr>
        </p:nvSpPr>
        <p:spPr>
          <a:xfrm>
            <a:off x="265260" y="3609956"/>
            <a:ext cx="457710" cy="440698"/>
          </a:xfrm>
        </p:spPr>
        <p:txBody>
          <a:bodyPr lIns="0" tIns="0" rIns="0" bIns="0"/>
          <a:lstStyle>
            <a:lvl1pPr algn="ctr">
              <a:defRPr sz="500" b="1"/>
            </a:lvl1pPr>
          </a:lstStyle>
          <a:p>
            <a:r>
              <a:rPr lang="fr-FR" dirty="0" smtClean="0"/>
              <a:t>INSERT </a:t>
            </a:r>
            <a:br>
              <a:rPr lang="fr-FR" dirty="0" smtClean="0"/>
            </a:br>
            <a:r>
              <a:rPr lang="fr-FR" dirty="0" smtClean="0"/>
              <a:t>PICTO</a:t>
            </a:r>
            <a:endParaRPr lang="fr-FR" dirty="0"/>
          </a:p>
        </p:txBody>
      </p:sp>
      <p:sp>
        <p:nvSpPr>
          <p:cNvPr id="30" name="Espace réservé pour une image  16"/>
          <p:cNvSpPr>
            <a:spLocks noGrp="1"/>
          </p:cNvSpPr>
          <p:nvPr>
            <p:ph type="pic" sz="quarter" idx="34" hasCustomPrompt="1"/>
          </p:nvPr>
        </p:nvSpPr>
        <p:spPr>
          <a:xfrm>
            <a:off x="265260" y="4121143"/>
            <a:ext cx="457710" cy="440698"/>
          </a:xfrm>
        </p:spPr>
        <p:txBody>
          <a:bodyPr lIns="0" tIns="0" rIns="0" bIns="0"/>
          <a:lstStyle>
            <a:lvl1pPr algn="ctr">
              <a:defRPr sz="500" b="1"/>
            </a:lvl1pPr>
          </a:lstStyle>
          <a:p>
            <a:r>
              <a:rPr lang="fr-FR" dirty="0" smtClean="0"/>
              <a:t>INSERT </a:t>
            </a:r>
            <a:br>
              <a:rPr lang="fr-FR" dirty="0" smtClean="0"/>
            </a:br>
            <a:r>
              <a:rPr lang="fr-FR" dirty="0" smtClean="0"/>
              <a:t>PICTO</a:t>
            </a:r>
            <a:endParaRPr lang="fr-FR" dirty="0"/>
          </a:p>
        </p:txBody>
      </p:sp>
      <p:sp>
        <p:nvSpPr>
          <p:cNvPr id="31" name="Espace réservé pour une image  16"/>
          <p:cNvSpPr>
            <a:spLocks noGrp="1"/>
          </p:cNvSpPr>
          <p:nvPr>
            <p:ph type="pic" sz="quarter" idx="35" hasCustomPrompt="1"/>
          </p:nvPr>
        </p:nvSpPr>
        <p:spPr>
          <a:xfrm>
            <a:off x="265260" y="4632330"/>
            <a:ext cx="457710" cy="440698"/>
          </a:xfrm>
        </p:spPr>
        <p:txBody>
          <a:bodyPr lIns="0" tIns="0" rIns="0" bIns="0"/>
          <a:lstStyle>
            <a:lvl1pPr algn="ctr">
              <a:defRPr sz="500" b="1"/>
            </a:lvl1pPr>
          </a:lstStyle>
          <a:p>
            <a:r>
              <a:rPr lang="fr-FR" dirty="0" smtClean="0"/>
              <a:t>INSERT </a:t>
            </a:r>
            <a:br>
              <a:rPr lang="fr-FR" dirty="0" smtClean="0"/>
            </a:br>
            <a:r>
              <a:rPr lang="fr-FR" dirty="0" smtClean="0"/>
              <a:t>PICTO</a:t>
            </a:r>
            <a:endParaRPr lang="fr-FR" dirty="0"/>
          </a:p>
        </p:txBody>
      </p:sp>
      <p:sp>
        <p:nvSpPr>
          <p:cNvPr id="32" name="Espace réservé pour une image  16"/>
          <p:cNvSpPr>
            <a:spLocks noGrp="1"/>
          </p:cNvSpPr>
          <p:nvPr>
            <p:ph type="pic" sz="quarter" idx="36" hasCustomPrompt="1"/>
          </p:nvPr>
        </p:nvSpPr>
        <p:spPr>
          <a:xfrm>
            <a:off x="265260" y="5143517"/>
            <a:ext cx="457710" cy="440698"/>
          </a:xfrm>
        </p:spPr>
        <p:txBody>
          <a:bodyPr lIns="0" tIns="0" rIns="0" bIns="0"/>
          <a:lstStyle>
            <a:lvl1pPr algn="ctr">
              <a:defRPr sz="500" b="1"/>
            </a:lvl1pPr>
          </a:lstStyle>
          <a:p>
            <a:r>
              <a:rPr lang="fr-FR" dirty="0" smtClean="0"/>
              <a:t>INSERT </a:t>
            </a:r>
            <a:br>
              <a:rPr lang="fr-FR" dirty="0" smtClean="0"/>
            </a:br>
            <a:r>
              <a:rPr lang="fr-FR" dirty="0" smtClean="0"/>
              <a:t>PICTO</a:t>
            </a:r>
            <a:endParaRPr lang="fr-FR" dirty="0"/>
          </a:p>
        </p:txBody>
      </p:sp>
      <p:sp>
        <p:nvSpPr>
          <p:cNvPr id="33" name="Espace réservé pour une image  16"/>
          <p:cNvSpPr>
            <a:spLocks noGrp="1"/>
          </p:cNvSpPr>
          <p:nvPr>
            <p:ph type="pic" sz="quarter" idx="37" hasCustomPrompt="1"/>
          </p:nvPr>
        </p:nvSpPr>
        <p:spPr>
          <a:xfrm>
            <a:off x="265260" y="5654704"/>
            <a:ext cx="457710" cy="440698"/>
          </a:xfrm>
        </p:spPr>
        <p:txBody>
          <a:bodyPr lIns="0" tIns="0" rIns="0" bIns="0"/>
          <a:lstStyle>
            <a:lvl1pPr algn="ctr">
              <a:defRPr sz="500" b="1"/>
            </a:lvl1pPr>
          </a:lstStyle>
          <a:p>
            <a:r>
              <a:rPr lang="fr-FR" dirty="0" smtClean="0"/>
              <a:t>INSERT </a:t>
            </a:r>
            <a:br>
              <a:rPr lang="fr-FR" dirty="0" smtClean="0"/>
            </a:br>
            <a:r>
              <a:rPr lang="fr-FR" dirty="0" smtClean="0"/>
              <a:t>PICTO</a:t>
            </a:r>
            <a:endParaRPr lang="fr-FR" dirty="0"/>
          </a:p>
        </p:txBody>
      </p:sp>
      <p:sp>
        <p:nvSpPr>
          <p:cNvPr id="34" name="Espace réservé du texte 20"/>
          <p:cNvSpPr>
            <a:spLocks noGrp="1"/>
          </p:cNvSpPr>
          <p:nvPr>
            <p:ph type="body" sz="quarter" idx="38" hasCustomPrompt="1"/>
          </p:nvPr>
        </p:nvSpPr>
        <p:spPr>
          <a:xfrm>
            <a:off x="8355597" y="349930"/>
            <a:ext cx="3609389" cy="259669"/>
          </a:xfrm>
        </p:spPr>
        <p:txBody>
          <a:bodyPr anchor="t"/>
          <a:lstStyle>
            <a:lvl1pPr marL="285750" indent="-285750">
              <a:buClr>
                <a:schemeClr val="accent2"/>
              </a:buClr>
              <a:buFont typeface="Arial" panose="020B0604020202020204" pitchFamily="34" charset="0"/>
              <a:buChar char="►"/>
              <a:defRPr sz="1600" b="1" cap="none" baseline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err="1" smtClean="0"/>
              <a:t>Subtitle</a:t>
            </a:r>
            <a:r>
              <a:rPr lang="fr-FR" dirty="0" smtClean="0"/>
              <a:t> 2</a:t>
            </a:r>
            <a:endParaRPr lang="fr-FR" dirty="0"/>
          </a:p>
        </p:txBody>
      </p:sp>
      <p:sp>
        <p:nvSpPr>
          <p:cNvPr id="35" name="Espace réservé du texte 13"/>
          <p:cNvSpPr>
            <a:spLocks noGrp="1"/>
          </p:cNvSpPr>
          <p:nvPr>
            <p:ph type="body" sz="quarter" idx="39" hasCustomPrompt="1"/>
          </p:nvPr>
        </p:nvSpPr>
        <p:spPr>
          <a:xfrm>
            <a:off x="8466927" y="884016"/>
            <a:ext cx="1010445" cy="211359"/>
          </a:xfrm>
        </p:spPr>
        <p:txBody>
          <a:bodyPr lIns="0"/>
          <a:lstStyle>
            <a:lvl1pPr>
              <a:defRPr sz="1200" b="1" cap="none" baseline="0">
                <a:solidFill>
                  <a:schemeClr val="accent1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1 :</a:t>
            </a:r>
          </a:p>
        </p:txBody>
      </p:sp>
      <p:sp>
        <p:nvSpPr>
          <p:cNvPr id="36" name="Espace réservé du texte 13"/>
          <p:cNvSpPr>
            <a:spLocks noGrp="1"/>
          </p:cNvSpPr>
          <p:nvPr>
            <p:ph type="body" sz="quarter" idx="40" hasCustomPrompt="1"/>
          </p:nvPr>
        </p:nvSpPr>
        <p:spPr>
          <a:xfrm>
            <a:off x="9590873" y="884016"/>
            <a:ext cx="2374112" cy="211359"/>
          </a:xfrm>
        </p:spPr>
        <p:txBody>
          <a:bodyPr lIns="0"/>
          <a:lstStyle>
            <a:lvl1pPr>
              <a:defRPr sz="12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1</a:t>
            </a:r>
          </a:p>
        </p:txBody>
      </p:sp>
      <p:sp>
        <p:nvSpPr>
          <p:cNvPr id="47" name="Espace réservé du texte 13"/>
          <p:cNvSpPr>
            <a:spLocks noGrp="1"/>
          </p:cNvSpPr>
          <p:nvPr>
            <p:ph type="body" sz="quarter" idx="41" hasCustomPrompt="1"/>
          </p:nvPr>
        </p:nvSpPr>
        <p:spPr>
          <a:xfrm>
            <a:off x="8466927" y="1202952"/>
            <a:ext cx="1010445" cy="211359"/>
          </a:xfrm>
        </p:spPr>
        <p:txBody>
          <a:bodyPr lIns="0"/>
          <a:lstStyle>
            <a:lvl1pPr>
              <a:defRPr sz="1200" b="1" cap="none" baseline="0">
                <a:solidFill>
                  <a:schemeClr val="accent1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2 :</a:t>
            </a:r>
          </a:p>
        </p:txBody>
      </p:sp>
      <p:sp>
        <p:nvSpPr>
          <p:cNvPr id="48" name="Espace réservé du texte 13"/>
          <p:cNvSpPr>
            <a:spLocks noGrp="1"/>
          </p:cNvSpPr>
          <p:nvPr>
            <p:ph type="body" sz="quarter" idx="42" hasCustomPrompt="1"/>
          </p:nvPr>
        </p:nvSpPr>
        <p:spPr>
          <a:xfrm>
            <a:off x="9590873" y="1202952"/>
            <a:ext cx="2374112" cy="211359"/>
          </a:xfrm>
        </p:spPr>
        <p:txBody>
          <a:bodyPr lIns="0"/>
          <a:lstStyle>
            <a:lvl1pPr>
              <a:defRPr sz="12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2</a:t>
            </a:r>
          </a:p>
        </p:txBody>
      </p:sp>
      <p:sp>
        <p:nvSpPr>
          <p:cNvPr id="49" name="Espace réservé du texte 13"/>
          <p:cNvSpPr>
            <a:spLocks noGrp="1"/>
          </p:cNvSpPr>
          <p:nvPr>
            <p:ph type="body" sz="quarter" idx="43" hasCustomPrompt="1"/>
          </p:nvPr>
        </p:nvSpPr>
        <p:spPr>
          <a:xfrm>
            <a:off x="8466927" y="1575503"/>
            <a:ext cx="1010445" cy="211359"/>
          </a:xfrm>
        </p:spPr>
        <p:txBody>
          <a:bodyPr lIns="0"/>
          <a:lstStyle>
            <a:lvl1pPr>
              <a:defRPr sz="1200" b="1" cap="none" baseline="0">
                <a:solidFill>
                  <a:schemeClr val="accent1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3 :</a:t>
            </a:r>
          </a:p>
        </p:txBody>
      </p:sp>
      <p:sp>
        <p:nvSpPr>
          <p:cNvPr id="50" name="Espace réservé du texte 13"/>
          <p:cNvSpPr>
            <a:spLocks noGrp="1"/>
          </p:cNvSpPr>
          <p:nvPr>
            <p:ph type="body" sz="quarter" idx="44" hasCustomPrompt="1"/>
          </p:nvPr>
        </p:nvSpPr>
        <p:spPr>
          <a:xfrm>
            <a:off x="9590873" y="1575503"/>
            <a:ext cx="2374112" cy="211359"/>
          </a:xfrm>
        </p:spPr>
        <p:txBody>
          <a:bodyPr lIns="0"/>
          <a:lstStyle>
            <a:lvl1pPr>
              <a:defRPr sz="12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3</a:t>
            </a:r>
          </a:p>
        </p:txBody>
      </p:sp>
      <p:sp>
        <p:nvSpPr>
          <p:cNvPr id="51" name="Espace réservé du texte 13"/>
          <p:cNvSpPr>
            <a:spLocks noGrp="1"/>
          </p:cNvSpPr>
          <p:nvPr>
            <p:ph type="body" sz="quarter" idx="45" hasCustomPrompt="1"/>
          </p:nvPr>
        </p:nvSpPr>
        <p:spPr>
          <a:xfrm>
            <a:off x="8466927" y="1948226"/>
            <a:ext cx="1010445" cy="211359"/>
          </a:xfrm>
        </p:spPr>
        <p:txBody>
          <a:bodyPr lIns="0"/>
          <a:lstStyle>
            <a:lvl1pPr>
              <a:defRPr sz="1200" b="1" cap="none" baseline="0">
                <a:solidFill>
                  <a:schemeClr val="accent1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4 :</a:t>
            </a:r>
          </a:p>
        </p:txBody>
      </p:sp>
      <p:sp>
        <p:nvSpPr>
          <p:cNvPr id="52" name="Espace réservé du texte 13"/>
          <p:cNvSpPr>
            <a:spLocks noGrp="1"/>
          </p:cNvSpPr>
          <p:nvPr>
            <p:ph type="body" sz="quarter" idx="46" hasCustomPrompt="1"/>
          </p:nvPr>
        </p:nvSpPr>
        <p:spPr>
          <a:xfrm>
            <a:off x="9590873" y="1948226"/>
            <a:ext cx="2374112" cy="211359"/>
          </a:xfrm>
        </p:spPr>
        <p:txBody>
          <a:bodyPr lIns="0"/>
          <a:lstStyle>
            <a:lvl1pPr>
              <a:defRPr sz="12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4</a:t>
            </a:r>
          </a:p>
        </p:txBody>
      </p:sp>
      <p:sp>
        <p:nvSpPr>
          <p:cNvPr id="53" name="Espace réservé du texte 13"/>
          <p:cNvSpPr>
            <a:spLocks noGrp="1"/>
          </p:cNvSpPr>
          <p:nvPr>
            <p:ph type="body" sz="quarter" idx="47" hasCustomPrompt="1"/>
          </p:nvPr>
        </p:nvSpPr>
        <p:spPr>
          <a:xfrm>
            <a:off x="8466927" y="2310980"/>
            <a:ext cx="1010445" cy="211359"/>
          </a:xfrm>
        </p:spPr>
        <p:txBody>
          <a:bodyPr lIns="0"/>
          <a:lstStyle>
            <a:lvl1pPr>
              <a:defRPr sz="1200" b="1" cap="none" baseline="0">
                <a:solidFill>
                  <a:schemeClr val="accent1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5 :</a:t>
            </a:r>
          </a:p>
        </p:txBody>
      </p:sp>
      <p:sp>
        <p:nvSpPr>
          <p:cNvPr id="54" name="Espace réservé du texte 13"/>
          <p:cNvSpPr>
            <a:spLocks noGrp="1"/>
          </p:cNvSpPr>
          <p:nvPr>
            <p:ph type="body" sz="quarter" idx="48" hasCustomPrompt="1"/>
          </p:nvPr>
        </p:nvSpPr>
        <p:spPr>
          <a:xfrm>
            <a:off x="9590873" y="2310980"/>
            <a:ext cx="2374112" cy="211359"/>
          </a:xfrm>
        </p:spPr>
        <p:txBody>
          <a:bodyPr lIns="0"/>
          <a:lstStyle>
            <a:lvl1pPr>
              <a:defRPr sz="12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5</a:t>
            </a:r>
          </a:p>
        </p:txBody>
      </p:sp>
      <p:sp>
        <p:nvSpPr>
          <p:cNvPr id="55" name="Espace réservé du texte 13"/>
          <p:cNvSpPr>
            <a:spLocks noGrp="1"/>
          </p:cNvSpPr>
          <p:nvPr>
            <p:ph type="body" sz="quarter" idx="49" hasCustomPrompt="1"/>
          </p:nvPr>
        </p:nvSpPr>
        <p:spPr>
          <a:xfrm>
            <a:off x="8466927" y="2656130"/>
            <a:ext cx="1010445" cy="211359"/>
          </a:xfrm>
        </p:spPr>
        <p:txBody>
          <a:bodyPr lIns="0"/>
          <a:lstStyle>
            <a:lvl1pPr>
              <a:defRPr sz="1200" b="1" cap="none" baseline="0">
                <a:solidFill>
                  <a:schemeClr val="accent1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6 :</a:t>
            </a:r>
          </a:p>
        </p:txBody>
      </p:sp>
      <p:sp>
        <p:nvSpPr>
          <p:cNvPr id="56" name="Espace réservé du texte 13"/>
          <p:cNvSpPr>
            <a:spLocks noGrp="1"/>
          </p:cNvSpPr>
          <p:nvPr>
            <p:ph type="body" sz="quarter" idx="50" hasCustomPrompt="1"/>
          </p:nvPr>
        </p:nvSpPr>
        <p:spPr>
          <a:xfrm>
            <a:off x="9590873" y="2656130"/>
            <a:ext cx="2374112" cy="211359"/>
          </a:xfrm>
        </p:spPr>
        <p:txBody>
          <a:bodyPr lIns="0"/>
          <a:lstStyle>
            <a:lvl1pPr>
              <a:defRPr sz="1200" cap="none" baseline="0">
                <a:solidFill>
                  <a:schemeClr val="accent3"/>
                </a:solidFill>
              </a:defRPr>
            </a:lvl1pPr>
            <a:lvl2pPr marL="542925" indent="0">
              <a:defRPr sz="1050">
                <a:solidFill>
                  <a:schemeClr val="bg2"/>
                </a:solidFill>
              </a:defRPr>
            </a:lvl2pPr>
            <a:lvl3pPr marL="542925" indent="0">
              <a:defRPr sz="1000">
                <a:solidFill>
                  <a:schemeClr val="bg2"/>
                </a:solidFill>
              </a:defRPr>
            </a:lvl3pPr>
            <a:lvl4pPr marL="542925" indent="0">
              <a:defRPr sz="900">
                <a:solidFill>
                  <a:schemeClr val="bg2"/>
                </a:solidFill>
              </a:defRPr>
            </a:lvl4pPr>
            <a:lvl5pPr marL="542925" indent="0">
              <a:defRPr sz="70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 smtClean="0"/>
              <a:t>Line 6</a:t>
            </a:r>
          </a:p>
        </p:txBody>
      </p:sp>
      <p:sp>
        <p:nvSpPr>
          <p:cNvPr id="57" name="Espace réservé du texte 20"/>
          <p:cNvSpPr>
            <a:spLocks noGrp="1"/>
          </p:cNvSpPr>
          <p:nvPr>
            <p:ph type="body" sz="quarter" idx="51" hasCustomPrompt="1"/>
          </p:nvPr>
        </p:nvSpPr>
        <p:spPr>
          <a:xfrm>
            <a:off x="3905250" y="3016046"/>
            <a:ext cx="4192625" cy="259669"/>
          </a:xfrm>
        </p:spPr>
        <p:txBody>
          <a:bodyPr anchor="t"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accent1"/>
                </a:solidFill>
              </a:defRPr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err="1" smtClean="0"/>
              <a:t>Subtitle</a:t>
            </a:r>
            <a:r>
              <a:rPr lang="fr-FR" dirty="0" smtClean="0"/>
              <a:t> 2</a:t>
            </a:r>
            <a:endParaRPr lang="fr-FR" dirty="0"/>
          </a:p>
        </p:txBody>
      </p:sp>
      <p:sp>
        <p:nvSpPr>
          <p:cNvPr id="58" name="Espace réservé du texte 20"/>
          <p:cNvSpPr>
            <a:spLocks noGrp="1"/>
          </p:cNvSpPr>
          <p:nvPr>
            <p:ph type="body" sz="quarter" idx="52" hasCustomPrompt="1"/>
          </p:nvPr>
        </p:nvSpPr>
        <p:spPr>
          <a:xfrm>
            <a:off x="2942430" y="4689978"/>
            <a:ext cx="1248569" cy="919074"/>
          </a:xfrm>
        </p:spPr>
        <p:txBody>
          <a:bodyPr anchor="t"/>
          <a:lstStyle>
            <a:lvl1pPr marL="285750" indent="-285750">
              <a:buClr>
                <a:schemeClr val="accent2"/>
              </a:buClr>
              <a:buFont typeface="Arial" panose="020B0604020202020204" pitchFamily="34" charset="0"/>
              <a:buChar char="►"/>
              <a:defRPr sz="1600" b="1" cap="none" baseline="0">
                <a:solidFill>
                  <a:schemeClr val="accent3"/>
                </a:solidFill>
              </a:defRPr>
            </a:lvl1pPr>
            <a:lvl2pPr>
              <a:defRPr sz="900"/>
            </a:lvl2pPr>
            <a:lvl3pPr>
              <a:defRPr sz="800"/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err="1" smtClean="0"/>
              <a:t>Subtitle</a:t>
            </a:r>
            <a:r>
              <a:rPr lang="fr-FR" dirty="0" smtClean="0"/>
              <a:t> 2</a:t>
            </a:r>
            <a:endParaRPr lang="fr-FR" dirty="0"/>
          </a:p>
        </p:txBody>
      </p:sp>
      <p:sp>
        <p:nvSpPr>
          <p:cNvPr id="60" name="Espace réservé du graphique 59"/>
          <p:cNvSpPr>
            <a:spLocks noGrp="1"/>
          </p:cNvSpPr>
          <p:nvPr>
            <p:ph type="chart" sz="quarter" idx="53" hasCustomPrompt="1"/>
          </p:nvPr>
        </p:nvSpPr>
        <p:spPr>
          <a:xfrm>
            <a:off x="4486274" y="4700383"/>
            <a:ext cx="7478711" cy="1730579"/>
          </a:xfrm>
        </p:spPr>
        <p:txBody>
          <a:bodyPr/>
          <a:lstStyle>
            <a:lvl1pPr algn="ctr">
              <a:spcBef>
                <a:spcPts val="0"/>
              </a:spcBef>
              <a:defRPr sz="1000" baseline="0"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INSERT </a:t>
            </a:r>
          </a:p>
          <a:p>
            <a:r>
              <a:rPr lang="fr-FR" dirty="0" smtClean="0"/>
              <a:t>GRAPHIC</a:t>
            </a:r>
          </a:p>
          <a:p>
            <a:r>
              <a:rPr lang="fr-FR" dirty="0" smtClean="0"/>
              <a:t>v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55"/>
          </p:nvPr>
        </p:nvSpPr>
        <p:spPr>
          <a:xfrm>
            <a:off x="3808413" y="3467099"/>
            <a:ext cx="8156572" cy="1005897"/>
          </a:xfrm>
        </p:spPr>
        <p:txBody>
          <a:bodyPr numCol="2" spcCol="360000"/>
          <a:lstStyle>
            <a:lvl1pPr marL="285750" indent="-285750">
              <a:buClr>
                <a:schemeClr val="bg1"/>
              </a:buClr>
              <a:buFont typeface="Arial" panose="020B0604020202020204" pitchFamily="34" charset="0"/>
              <a:buChar char="&gt;"/>
              <a:defRPr sz="1200" b="0" cap="none" baseline="0">
                <a:solidFill>
                  <a:schemeClr val="bg1"/>
                </a:solidFill>
              </a:defRPr>
            </a:lvl1pPr>
            <a:lvl2pPr marL="719138" indent="0">
              <a:defRPr sz="1100">
                <a:solidFill>
                  <a:schemeClr val="bg1"/>
                </a:solidFill>
              </a:defRPr>
            </a:lvl2pPr>
            <a:lvl3pPr marL="985838" indent="0">
              <a:defRPr sz="700">
                <a:solidFill>
                  <a:schemeClr val="bg1">
                    <a:lumMod val="50000"/>
                  </a:schemeClr>
                </a:solidFill>
              </a:defRPr>
            </a:lvl3pPr>
            <a:lvl4pPr marL="985838" indent="0">
              <a:defRPr sz="600">
                <a:solidFill>
                  <a:schemeClr val="bg1">
                    <a:lumMod val="50000"/>
                  </a:schemeClr>
                </a:solidFill>
              </a:defRPr>
            </a:lvl4pPr>
            <a:lvl5pPr marL="985838" indent="0">
              <a:defRPr sz="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7970875" y="3467100"/>
            <a:ext cx="0" cy="1013746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pied de page 2"/>
          <p:cNvSpPr>
            <a:spLocks noGrp="1"/>
          </p:cNvSpPr>
          <p:nvPr>
            <p:ph type="ftr" sz="quarter" idx="56"/>
          </p:nvPr>
        </p:nvSpPr>
        <p:spPr>
          <a:xfrm>
            <a:off x="2230086" y="6503101"/>
            <a:ext cx="2895600" cy="273844"/>
          </a:xfrm>
        </p:spPr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FM Logistic | Confidential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57"/>
          </p:nvPr>
        </p:nvSpPr>
        <p:spPr>
          <a:xfrm>
            <a:off x="1886002" y="6516164"/>
            <a:ext cx="526966" cy="242887"/>
          </a:xfrm>
        </p:spPr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2759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45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pr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3100475" y="1728278"/>
            <a:ext cx="1960384" cy="12593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5380124" y="1728278"/>
            <a:ext cx="1973175" cy="12593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7653424" y="1728278"/>
            <a:ext cx="1979526" cy="12593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9941322" y="1728278"/>
            <a:ext cx="1979526" cy="12593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817650" y="1728278"/>
            <a:ext cx="1960384" cy="12593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white"/>
              </a:solidFill>
            </a:endParaRP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69" hasCustomPrompt="1"/>
          </p:nvPr>
        </p:nvSpPr>
        <p:spPr>
          <a:xfrm>
            <a:off x="817650" y="3608072"/>
            <a:ext cx="1960384" cy="2484117"/>
          </a:xfrm>
          <a:solidFill>
            <a:schemeClr val="bg1">
              <a:lumMod val="95000"/>
            </a:schemeClr>
          </a:solidFill>
        </p:spPr>
        <p:txBody>
          <a:bodyPr lIns="108000" tIns="252000" anchor="t"/>
          <a:lstStyle>
            <a:lvl1pPr marL="182563" indent="-182563">
              <a:buClr>
                <a:schemeClr val="accent2"/>
              </a:buClr>
              <a:buFont typeface="Arial" panose="020B0604020202020204" pitchFamily="34" charset="0"/>
              <a:buChar char="&gt;"/>
              <a:defRPr sz="1100" b="1" cap="none" baseline="0">
                <a:solidFill>
                  <a:schemeClr val="accent3"/>
                </a:solidFill>
              </a:defRPr>
            </a:lvl1pPr>
            <a:lvl2pPr>
              <a:defRPr sz="900"/>
            </a:lvl2pPr>
            <a:lvl3pPr marL="712788" indent="-171450">
              <a:buClr>
                <a:schemeClr val="accent2"/>
              </a:buClr>
              <a:buFont typeface="Arial" panose="020B0604020202020204" pitchFamily="34" charset="0"/>
              <a:buChar char="-"/>
              <a:defRPr sz="900">
                <a:solidFill>
                  <a:schemeClr val="accent3"/>
                </a:solidFill>
              </a:defRPr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24" name="Espace réservé du texte 20"/>
          <p:cNvSpPr>
            <a:spLocks noGrp="1"/>
          </p:cNvSpPr>
          <p:nvPr>
            <p:ph type="body" sz="quarter" idx="70" hasCustomPrompt="1"/>
          </p:nvPr>
        </p:nvSpPr>
        <p:spPr>
          <a:xfrm>
            <a:off x="3099626" y="3608071"/>
            <a:ext cx="1960384" cy="2484117"/>
          </a:xfrm>
          <a:solidFill>
            <a:schemeClr val="bg1">
              <a:lumMod val="95000"/>
            </a:schemeClr>
          </a:solidFill>
        </p:spPr>
        <p:txBody>
          <a:bodyPr lIns="108000" tIns="252000" anchor="t"/>
          <a:lstStyle>
            <a:lvl1pPr marL="182563" indent="-182563">
              <a:buClr>
                <a:schemeClr val="accent2"/>
              </a:buClr>
              <a:buFont typeface="Arial" panose="020B0604020202020204" pitchFamily="34" charset="0"/>
              <a:buChar char="&gt;"/>
              <a:defRPr sz="1100" b="1" cap="none" baseline="0">
                <a:solidFill>
                  <a:schemeClr val="accent3"/>
                </a:solidFill>
              </a:defRPr>
            </a:lvl1pPr>
            <a:lvl2pPr>
              <a:defRPr sz="900"/>
            </a:lvl2pPr>
            <a:lvl3pPr marL="712788" indent="-171450">
              <a:buClr>
                <a:schemeClr val="accent2"/>
              </a:buClr>
              <a:buFont typeface="Arial" panose="020B0604020202020204" pitchFamily="34" charset="0"/>
              <a:buChar char="-"/>
              <a:defRPr sz="900">
                <a:solidFill>
                  <a:schemeClr val="accent3"/>
                </a:solidFill>
              </a:defRPr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25" name="Espace réservé du texte 20"/>
          <p:cNvSpPr>
            <a:spLocks noGrp="1"/>
          </p:cNvSpPr>
          <p:nvPr>
            <p:ph type="body" sz="quarter" idx="71" hasCustomPrompt="1"/>
          </p:nvPr>
        </p:nvSpPr>
        <p:spPr>
          <a:xfrm>
            <a:off x="5366692" y="3608070"/>
            <a:ext cx="1960384" cy="2484117"/>
          </a:xfrm>
          <a:solidFill>
            <a:schemeClr val="bg1">
              <a:lumMod val="95000"/>
            </a:schemeClr>
          </a:solidFill>
        </p:spPr>
        <p:txBody>
          <a:bodyPr lIns="108000" tIns="252000" anchor="t"/>
          <a:lstStyle>
            <a:lvl1pPr marL="182563" indent="-182563">
              <a:buClr>
                <a:schemeClr val="accent2"/>
              </a:buClr>
              <a:buFont typeface="Arial" panose="020B0604020202020204" pitchFamily="34" charset="0"/>
              <a:buChar char="&gt;"/>
              <a:defRPr sz="1100" b="1" cap="none" baseline="0">
                <a:solidFill>
                  <a:schemeClr val="accent3"/>
                </a:solidFill>
              </a:defRPr>
            </a:lvl1pPr>
            <a:lvl2pPr>
              <a:defRPr sz="900"/>
            </a:lvl2pPr>
            <a:lvl3pPr marL="712788" indent="-171450">
              <a:buClr>
                <a:schemeClr val="accent2"/>
              </a:buClr>
              <a:buFont typeface="Arial" panose="020B0604020202020204" pitchFamily="34" charset="0"/>
              <a:buChar char="-"/>
              <a:defRPr sz="900">
                <a:solidFill>
                  <a:schemeClr val="accent3"/>
                </a:solidFill>
              </a:defRPr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26" name="Espace réservé du texte 20"/>
          <p:cNvSpPr>
            <a:spLocks noGrp="1"/>
          </p:cNvSpPr>
          <p:nvPr>
            <p:ph type="body" sz="quarter" idx="72" hasCustomPrompt="1"/>
          </p:nvPr>
        </p:nvSpPr>
        <p:spPr>
          <a:xfrm>
            <a:off x="7663578" y="3615267"/>
            <a:ext cx="1960384" cy="2484117"/>
          </a:xfrm>
          <a:solidFill>
            <a:schemeClr val="bg1">
              <a:lumMod val="95000"/>
            </a:schemeClr>
          </a:solidFill>
        </p:spPr>
        <p:txBody>
          <a:bodyPr lIns="108000" tIns="252000" anchor="t"/>
          <a:lstStyle>
            <a:lvl1pPr marL="182563" indent="-182563">
              <a:buClr>
                <a:schemeClr val="accent2"/>
              </a:buClr>
              <a:buFont typeface="Arial" panose="020B0604020202020204" pitchFamily="34" charset="0"/>
              <a:buChar char="&gt;"/>
              <a:defRPr sz="1100" b="1" cap="none" baseline="0">
                <a:solidFill>
                  <a:schemeClr val="accent3"/>
                </a:solidFill>
              </a:defRPr>
            </a:lvl1pPr>
            <a:lvl2pPr>
              <a:defRPr sz="900"/>
            </a:lvl2pPr>
            <a:lvl3pPr marL="712788" indent="-171450">
              <a:buClr>
                <a:schemeClr val="accent2"/>
              </a:buClr>
              <a:buFont typeface="Arial" panose="020B0604020202020204" pitchFamily="34" charset="0"/>
              <a:buChar char="-"/>
              <a:defRPr sz="900">
                <a:solidFill>
                  <a:schemeClr val="accent3"/>
                </a:solidFill>
              </a:defRPr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73" hasCustomPrompt="1"/>
          </p:nvPr>
        </p:nvSpPr>
        <p:spPr>
          <a:xfrm>
            <a:off x="9960464" y="3608069"/>
            <a:ext cx="1960384" cy="2484117"/>
          </a:xfrm>
          <a:solidFill>
            <a:schemeClr val="bg1">
              <a:lumMod val="95000"/>
            </a:schemeClr>
          </a:solidFill>
        </p:spPr>
        <p:txBody>
          <a:bodyPr lIns="108000" tIns="252000" anchor="t"/>
          <a:lstStyle>
            <a:lvl1pPr marL="182563" indent="-182563">
              <a:buClr>
                <a:schemeClr val="accent2"/>
              </a:buClr>
              <a:buFont typeface="Arial" panose="020B0604020202020204" pitchFamily="34" charset="0"/>
              <a:buChar char="&gt;"/>
              <a:defRPr sz="1100" b="1" cap="none" baseline="0">
                <a:solidFill>
                  <a:schemeClr val="accent3"/>
                </a:solidFill>
              </a:defRPr>
            </a:lvl1pPr>
            <a:lvl2pPr>
              <a:defRPr sz="900"/>
            </a:lvl2pPr>
            <a:lvl3pPr marL="712788" indent="-171450">
              <a:buClr>
                <a:schemeClr val="accent2"/>
              </a:buClr>
              <a:buFont typeface="Arial" panose="020B0604020202020204" pitchFamily="34" charset="0"/>
              <a:buChar char="-"/>
              <a:defRPr sz="900">
                <a:solidFill>
                  <a:schemeClr val="accent3"/>
                </a:solidFill>
              </a:defRPr>
            </a:lvl3pPr>
            <a:lvl4pPr>
              <a:defRPr sz="700"/>
            </a:lvl4pPr>
            <a:lvl5pPr>
              <a:defRPr sz="500"/>
            </a:lvl5pPr>
          </a:lstStyle>
          <a:p>
            <a:pPr lvl="0"/>
            <a:r>
              <a:rPr lang="fr-FR" dirty="0" smtClean="0"/>
              <a:t>Texte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817650" y="1770613"/>
            <a:ext cx="1960384" cy="1179813"/>
          </a:xfrm>
          <a:solidFill>
            <a:schemeClr val="bg1"/>
          </a:solidFill>
        </p:spPr>
        <p:txBody>
          <a:bodyPr/>
          <a:lstStyle/>
          <a:p>
            <a:endParaRPr lang="fr-FR"/>
          </a:p>
        </p:txBody>
      </p:sp>
      <p:sp>
        <p:nvSpPr>
          <p:cNvPr id="19" name="Espace réservé pour une image  6"/>
          <p:cNvSpPr>
            <a:spLocks noGrp="1"/>
          </p:cNvSpPr>
          <p:nvPr>
            <p:ph type="pic" sz="quarter" idx="23"/>
          </p:nvPr>
        </p:nvSpPr>
        <p:spPr>
          <a:xfrm>
            <a:off x="3099626" y="1774534"/>
            <a:ext cx="1960384" cy="1179813"/>
          </a:xfrm>
          <a:solidFill>
            <a:schemeClr val="bg1"/>
          </a:solidFill>
        </p:spPr>
        <p:txBody>
          <a:bodyPr/>
          <a:lstStyle/>
          <a:p>
            <a:endParaRPr lang="fr-FR"/>
          </a:p>
        </p:txBody>
      </p:sp>
      <p:sp>
        <p:nvSpPr>
          <p:cNvPr id="20" name="Espace réservé pour une image  6"/>
          <p:cNvSpPr>
            <a:spLocks noGrp="1"/>
          </p:cNvSpPr>
          <p:nvPr>
            <p:ph type="pic" sz="quarter" idx="24"/>
          </p:nvPr>
        </p:nvSpPr>
        <p:spPr>
          <a:xfrm>
            <a:off x="5381602" y="1775716"/>
            <a:ext cx="1960384" cy="1179813"/>
          </a:xfrm>
          <a:solidFill>
            <a:schemeClr val="bg1"/>
          </a:solidFill>
        </p:spPr>
        <p:txBody>
          <a:bodyPr/>
          <a:lstStyle/>
          <a:p>
            <a:endParaRPr lang="fr-FR"/>
          </a:p>
        </p:txBody>
      </p:sp>
      <p:sp>
        <p:nvSpPr>
          <p:cNvPr id="21" name="Espace réservé pour une image  6"/>
          <p:cNvSpPr>
            <a:spLocks noGrp="1"/>
          </p:cNvSpPr>
          <p:nvPr>
            <p:ph type="pic" sz="quarter" idx="25"/>
          </p:nvPr>
        </p:nvSpPr>
        <p:spPr>
          <a:xfrm>
            <a:off x="7663578" y="1776898"/>
            <a:ext cx="1960384" cy="1179813"/>
          </a:xfrm>
          <a:solidFill>
            <a:schemeClr val="bg1"/>
          </a:solidFill>
        </p:spPr>
        <p:txBody>
          <a:bodyPr/>
          <a:lstStyle/>
          <a:p>
            <a:endParaRPr lang="fr-FR"/>
          </a:p>
        </p:txBody>
      </p:sp>
      <p:sp>
        <p:nvSpPr>
          <p:cNvPr id="22" name="Espace réservé pour une image  6"/>
          <p:cNvSpPr>
            <a:spLocks noGrp="1"/>
          </p:cNvSpPr>
          <p:nvPr>
            <p:ph type="pic" sz="quarter" idx="26"/>
          </p:nvPr>
        </p:nvSpPr>
        <p:spPr>
          <a:xfrm>
            <a:off x="9945554" y="1778080"/>
            <a:ext cx="1960384" cy="1179813"/>
          </a:xfrm>
          <a:solidFill>
            <a:schemeClr val="bg1"/>
          </a:solidFill>
        </p:spPr>
        <p:txBody>
          <a:bodyPr/>
          <a:lstStyle/>
          <a:p>
            <a:endParaRPr lang="fr-FR"/>
          </a:p>
        </p:txBody>
      </p:sp>
      <p:sp>
        <p:nvSpPr>
          <p:cNvPr id="28" name="Freeform 5"/>
          <p:cNvSpPr>
            <a:spLocks/>
          </p:cNvSpPr>
          <p:nvPr userDrawn="1"/>
        </p:nvSpPr>
        <p:spPr bwMode="auto">
          <a:xfrm>
            <a:off x="-101586" y="3317223"/>
            <a:ext cx="12312000" cy="248036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dist="63500" dir="2700000" algn="tl" rotWithShape="0">
              <a:prstClr val="black">
                <a:alpha val="24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2299">
              <a:solidFill>
                <a:prstClr val="black"/>
              </a:solidFill>
              <a:latin typeface="Times New Roman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1791764" y="2950273"/>
            <a:ext cx="0" cy="35933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4100624" y="2957893"/>
            <a:ext cx="0" cy="35933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409484" y="2957893"/>
            <a:ext cx="0" cy="35933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/>
          <p:cNvCxnSpPr/>
          <p:nvPr userDrawn="1"/>
        </p:nvCxnSpPr>
        <p:spPr>
          <a:xfrm>
            <a:off x="8626904" y="2957893"/>
            <a:ext cx="0" cy="35933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/>
          <p:cNvCxnSpPr/>
          <p:nvPr userDrawn="1"/>
        </p:nvCxnSpPr>
        <p:spPr>
          <a:xfrm>
            <a:off x="10976821" y="2957893"/>
            <a:ext cx="0" cy="35933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du texte 21"/>
          <p:cNvSpPr>
            <a:spLocks noGrp="1"/>
          </p:cNvSpPr>
          <p:nvPr>
            <p:ph type="body" sz="quarter" idx="30" hasCustomPrompt="1"/>
          </p:nvPr>
        </p:nvSpPr>
        <p:spPr>
          <a:xfrm>
            <a:off x="1563842" y="3221911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fr-FR" dirty="0" smtClean="0"/>
              <a:t>1</a:t>
            </a:r>
          </a:p>
        </p:txBody>
      </p:sp>
      <p:sp>
        <p:nvSpPr>
          <p:cNvPr id="35" name="Espace réservé du texte 21"/>
          <p:cNvSpPr>
            <a:spLocks noGrp="1"/>
          </p:cNvSpPr>
          <p:nvPr>
            <p:ph type="body" sz="quarter" idx="74" hasCustomPrompt="1"/>
          </p:nvPr>
        </p:nvSpPr>
        <p:spPr>
          <a:xfrm>
            <a:off x="3866461" y="3207289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fr-FR" dirty="0" smtClean="0"/>
              <a:t>2</a:t>
            </a:r>
          </a:p>
        </p:txBody>
      </p:sp>
      <p:sp>
        <p:nvSpPr>
          <p:cNvPr id="36" name="Espace réservé du texte 21"/>
          <p:cNvSpPr>
            <a:spLocks noGrp="1"/>
          </p:cNvSpPr>
          <p:nvPr>
            <p:ph type="body" sz="quarter" idx="75" hasCustomPrompt="1"/>
          </p:nvPr>
        </p:nvSpPr>
        <p:spPr>
          <a:xfrm>
            <a:off x="6182710" y="3207289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fr-FR" dirty="0" smtClean="0"/>
              <a:t>3</a:t>
            </a:r>
          </a:p>
        </p:txBody>
      </p:sp>
      <p:sp>
        <p:nvSpPr>
          <p:cNvPr id="37" name="Espace réservé du texte 21"/>
          <p:cNvSpPr>
            <a:spLocks noGrp="1"/>
          </p:cNvSpPr>
          <p:nvPr>
            <p:ph type="body" sz="quarter" idx="76" hasCustomPrompt="1"/>
          </p:nvPr>
        </p:nvSpPr>
        <p:spPr>
          <a:xfrm>
            <a:off x="8410411" y="3207289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fr-FR" dirty="0" smtClean="0"/>
              <a:t>4</a:t>
            </a:r>
          </a:p>
        </p:txBody>
      </p:sp>
      <p:sp>
        <p:nvSpPr>
          <p:cNvPr id="38" name="Espace réservé du texte 21"/>
          <p:cNvSpPr>
            <a:spLocks noGrp="1"/>
          </p:cNvSpPr>
          <p:nvPr>
            <p:ph type="body" sz="quarter" idx="77" hasCustomPrompt="1"/>
          </p:nvPr>
        </p:nvSpPr>
        <p:spPr>
          <a:xfrm>
            <a:off x="10773305" y="3225103"/>
            <a:ext cx="468000" cy="468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buClr>
                <a:schemeClr val="bg1"/>
              </a:buClr>
              <a:buFont typeface="Arial" panose="020B0604020202020204" pitchFamily="34" charset="0"/>
              <a:buNone/>
              <a:defRPr sz="1400" cap="none" baseline="0">
                <a:solidFill>
                  <a:schemeClr val="accent1"/>
                </a:solidFill>
              </a:defRPr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800"/>
            </a:lvl5pPr>
          </a:lstStyle>
          <a:p>
            <a:pPr lvl="0"/>
            <a:r>
              <a:rPr lang="fr-FR" dirty="0" smtClean="0"/>
              <a:t>5</a:t>
            </a:r>
          </a:p>
        </p:txBody>
      </p:sp>
      <p:sp>
        <p:nvSpPr>
          <p:cNvPr id="39" name="Titre 1"/>
          <p:cNvSpPr>
            <a:spLocks noGrp="1"/>
          </p:cNvSpPr>
          <p:nvPr>
            <p:ph type="title"/>
          </p:nvPr>
        </p:nvSpPr>
        <p:spPr>
          <a:xfrm>
            <a:off x="942976" y="707959"/>
            <a:ext cx="5492114" cy="926786"/>
          </a:xfrm>
        </p:spPr>
        <p:txBody>
          <a:bodyPr/>
          <a:lstStyle>
            <a:lvl1pPr>
              <a:defRPr sz="2800" b="0" cap="all" baseline="0">
                <a:solidFill>
                  <a:schemeClr val="accent3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17650" y="6121401"/>
            <a:ext cx="1960384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/>
          <p:cNvCxnSpPr/>
          <p:nvPr userDrawn="1"/>
        </p:nvCxnSpPr>
        <p:spPr>
          <a:xfrm>
            <a:off x="3099626" y="6121401"/>
            <a:ext cx="1960384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/>
          <p:cNvCxnSpPr/>
          <p:nvPr userDrawn="1"/>
        </p:nvCxnSpPr>
        <p:spPr>
          <a:xfrm>
            <a:off x="5366692" y="6121401"/>
            <a:ext cx="1960384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/>
          <p:cNvCxnSpPr/>
          <p:nvPr userDrawn="1"/>
        </p:nvCxnSpPr>
        <p:spPr>
          <a:xfrm>
            <a:off x="7663578" y="6121401"/>
            <a:ext cx="1960384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/>
          <p:cNvCxnSpPr/>
          <p:nvPr userDrawn="1"/>
        </p:nvCxnSpPr>
        <p:spPr>
          <a:xfrm>
            <a:off x="9960464" y="6114258"/>
            <a:ext cx="1960384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pied de page 1"/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FM Logistic | Confidential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3187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44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74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33CCFA-FDFF-49AE-A341-B49DD7C2EDE2}" type="datetimeFigureOut">
              <a:rPr lang="ru-RU" smtClean="0"/>
              <a:t>31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863AA-6968-4A9F-840D-63A5054681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2689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 12" descr="Int1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8" cy="564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67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 12" descr="Int1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8" cy="564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519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 12" descr="Int1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8" cy="564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700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 12" descr="Int1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8" cy="564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930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F9D3A-CCF2-495D-8467-DAB102CE8332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942164-52E5-4E5D-9F11-4D7E744D437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 12" descr="Int1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8" cy="564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370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1" y="27464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1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1524000" y="635635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584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/>
                </a:solidFill>
                <a:latin typeface="Times New Roman" charset="0"/>
              </a:rPr>
              <a:t>Titre de la présentation - Auteur/Service</a:t>
            </a:r>
            <a:endParaRPr lang="fr-FR">
              <a:solidFill>
                <a:prstClr val="black"/>
              </a:solidFill>
              <a:latin typeface="Times New Roman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09601" y="635635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3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66" y="-7572"/>
            <a:ext cx="12200667" cy="686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311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</p:sldLayoutIdLst>
  <p:transition spd="med">
    <p:pull dir="r"/>
  </p:transition>
  <p:timing>
    <p:tnLst>
      <p:par>
        <p:cTn id="1" dur="indefinite" restart="never" nodeType="tmRoot"/>
      </p:par>
    </p:tnLst>
  </p:timing>
  <p:txStyles>
    <p:titleStyle>
      <a:lvl1pPr algn="l" defTabSz="381113" rtl="0" eaLnBrk="1" latinLnBrk="0" hangingPunct="1">
        <a:spcBef>
          <a:spcPct val="0"/>
        </a:spcBef>
        <a:buNone/>
        <a:defRPr sz="2251" kern="1200">
          <a:solidFill>
            <a:schemeClr val="tx2"/>
          </a:solidFill>
          <a:latin typeface="Arial"/>
          <a:ea typeface="+mj-ea"/>
          <a:cs typeface="Arial"/>
        </a:defRPr>
      </a:lvl1pPr>
    </p:titleStyle>
    <p:bodyStyle>
      <a:lvl1pPr marL="0" indent="0" algn="l" defTabSz="381113" rtl="0" eaLnBrk="1" latinLnBrk="0" hangingPunct="1">
        <a:spcBef>
          <a:spcPct val="20000"/>
        </a:spcBef>
        <a:buFontTx/>
        <a:buNone/>
        <a:defRPr sz="2001" b="1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150859" indent="-150859" algn="l" defTabSz="381113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1667" kern="1200">
          <a:solidFill>
            <a:schemeClr val="tx1"/>
          </a:solidFill>
          <a:latin typeface="Arial"/>
          <a:ea typeface="+mn-ea"/>
          <a:cs typeface="Arial"/>
        </a:defRPr>
      </a:lvl2pPr>
      <a:lvl3pPr marL="300391" indent="-149535" algn="l" defTabSz="381113" rtl="0" eaLnBrk="1" latinLnBrk="0" hangingPunct="1">
        <a:spcBef>
          <a:spcPct val="20000"/>
        </a:spcBef>
        <a:buClr>
          <a:schemeClr val="tx2"/>
        </a:buClr>
        <a:buFont typeface="Lucida Grande"/>
        <a:buChar char="-"/>
        <a:defRPr sz="1501" kern="1200">
          <a:solidFill>
            <a:srgbClr val="133176"/>
          </a:solidFill>
          <a:latin typeface="Arial"/>
          <a:ea typeface="+mn-ea"/>
          <a:cs typeface="Arial"/>
        </a:defRPr>
      </a:lvl3pPr>
      <a:lvl4pPr marL="451250" indent="-150859" algn="l" defTabSz="381113" rtl="0" eaLnBrk="1" latinLnBrk="0" hangingPunct="1">
        <a:spcBef>
          <a:spcPct val="20000"/>
        </a:spcBef>
        <a:buFont typeface="Arial"/>
        <a:buChar char="–"/>
        <a:defRPr sz="1168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522710" indent="-71460" algn="l" defTabSz="381113" rtl="0" eaLnBrk="1" latinLnBrk="0" hangingPunct="1">
        <a:spcBef>
          <a:spcPct val="20000"/>
        </a:spcBef>
        <a:buFont typeface="Arial"/>
        <a:buChar char="•"/>
        <a:defRPr sz="1000" i="1" kern="1200">
          <a:solidFill>
            <a:schemeClr val="accent2"/>
          </a:solidFill>
          <a:latin typeface="Arial"/>
          <a:ea typeface="+mn-ea"/>
          <a:cs typeface="Arial"/>
        </a:defRPr>
      </a:lvl5pPr>
      <a:lvl6pPr marL="2096126" indent="-190558" algn="l" defTabSz="381113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7239" indent="-190558" algn="l" defTabSz="381113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8354" indent="-190558" algn="l" defTabSz="381113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9466" indent="-190558" algn="l" defTabSz="381113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1pPr>
      <a:lvl2pPr marL="381113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2pPr>
      <a:lvl3pPr marL="762228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3pPr>
      <a:lvl4pPr marL="1143342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4pPr>
      <a:lvl5pPr marL="1524455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5pPr>
      <a:lvl6pPr marL="1905568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6pPr>
      <a:lvl7pPr marL="2286681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7pPr>
      <a:lvl8pPr marL="2667796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8pPr>
      <a:lvl9pPr marL="3048910" algn="l" defTabSz="381113" rtl="0" eaLnBrk="1" latinLnBrk="0" hangingPunct="1">
        <a:defRPr sz="15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9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5.jpeg"/><Relationship Id="rId3" Type="http://schemas.openxmlformats.org/officeDocument/2006/relationships/chart" Target="../charts/chart1.xml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chart" Target="../charts/chart3.xml"/><Relationship Id="rId10" Type="http://schemas.openxmlformats.org/officeDocument/2006/relationships/image" Target="../media/image20.png"/><Relationship Id="rId4" Type="http://schemas.openxmlformats.org/officeDocument/2006/relationships/chart" Target="../charts/chart2.xml"/><Relationship Id="rId9" Type="http://schemas.openxmlformats.org/officeDocument/2006/relationships/image" Target="../media/image19.png"/><Relationship Id="rId14" Type="http://schemas.openxmlformats.org/officeDocument/2006/relationships/chart" Target="../charts/char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image" Target="../media/image23.gif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5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4.png"/><Relationship Id="rId18" Type="http://schemas.microsoft.com/office/2007/relationships/hdphoto" Target="../media/hdphoto8.wdp"/><Relationship Id="rId26" Type="http://schemas.openxmlformats.org/officeDocument/2006/relationships/image" Target="../media/image42.jpeg"/><Relationship Id="rId3" Type="http://schemas.openxmlformats.org/officeDocument/2006/relationships/image" Target="../media/image28.png"/><Relationship Id="rId21" Type="http://schemas.openxmlformats.org/officeDocument/2006/relationships/image" Target="../media/image38.png"/><Relationship Id="rId7" Type="http://schemas.microsoft.com/office/2007/relationships/hdphoto" Target="../media/hdphoto3.wdp"/><Relationship Id="rId12" Type="http://schemas.microsoft.com/office/2007/relationships/hdphoto" Target="../media/hdphoto5.wdp"/><Relationship Id="rId17" Type="http://schemas.openxmlformats.org/officeDocument/2006/relationships/image" Target="../media/image36.png"/><Relationship Id="rId25" Type="http://schemas.openxmlformats.org/officeDocument/2006/relationships/image" Target="../media/image41.png"/><Relationship Id="rId3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6" Type="http://schemas.microsoft.com/office/2007/relationships/hdphoto" Target="../media/hdphoto7.wdp"/><Relationship Id="rId20" Type="http://schemas.microsoft.com/office/2007/relationships/hdphoto" Target="../media/hdphoto9.wdp"/><Relationship Id="rId29" Type="http://schemas.openxmlformats.org/officeDocument/2006/relationships/image" Target="../media/image45.jpe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0.png"/><Relationship Id="rId11" Type="http://schemas.openxmlformats.org/officeDocument/2006/relationships/image" Target="../media/image33.png"/><Relationship Id="rId24" Type="http://schemas.openxmlformats.org/officeDocument/2006/relationships/image" Target="../media/image40.jpeg"/><Relationship Id="rId32" Type="http://schemas.openxmlformats.org/officeDocument/2006/relationships/image" Target="../media/image22.png"/><Relationship Id="rId5" Type="http://schemas.microsoft.com/office/2007/relationships/hdphoto" Target="../media/hdphoto2.wdp"/><Relationship Id="rId15" Type="http://schemas.openxmlformats.org/officeDocument/2006/relationships/image" Target="../media/image35.png"/><Relationship Id="rId23" Type="http://schemas.openxmlformats.org/officeDocument/2006/relationships/image" Target="../media/image39.jpeg"/><Relationship Id="rId28" Type="http://schemas.openxmlformats.org/officeDocument/2006/relationships/image" Target="../media/image44.jpeg"/><Relationship Id="rId10" Type="http://schemas.microsoft.com/office/2007/relationships/hdphoto" Target="../media/hdphoto4.wdp"/><Relationship Id="rId19" Type="http://schemas.openxmlformats.org/officeDocument/2006/relationships/image" Target="../media/image37.png"/><Relationship Id="rId31" Type="http://schemas.openxmlformats.org/officeDocument/2006/relationships/chart" Target="../charts/chart6.xml"/><Relationship Id="rId4" Type="http://schemas.openxmlformats.org/officeDocument/2006/relationships/image" Target="../media/image29.png"/><Relationship Id="rId9" Type="http://schemas.openxmlformats.org/officeDocument/2006/relationships/image" Target="../media/image32.png"/><Relationship Id="rId14" Type="http://schemas.microsoft.com/office/2007/relationships/hdphoto" Target="../media/hdphoto6.wdp"/><Relationship Id="rId22" Type="http://schemas.microsoft.com/office/2007/relationships/hdphoto" Target="../media/hdphoto10.wdp"/><Relationship Id="rId27" Type="http://schemas.openxmlformats.org/officeDocument/2006/relationships/image" Target="../media/image43.jpeg"/><Relationship Id="rId30" Type="http://schemas.openxmlformats.org/officeDocument/2006/relationships/chart" Target="../charts/chart5.xml"/><Relationship Id="rId8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.xml"/><Relationship Id="rId7" Type="http://schemas.openxmlformats.org/officeDocument/2006/relationships/image" Target="../media/image4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6.jpg"/><Relationship Id="rId11" Type="http://schemas.openxmlformats.org/officeDocument/2006/relationships/image" Target="../media/image50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49.png"/><Relationship Id="rId4" Type="http://schemas.openxmlformats.org/officeDocument/2006/relationships/slideLayout" Target="../slideLayouts/slideLayout63.xml"/><Relationship Id="rId9" Type="http://schemas.openxmlformats.org/officeDocument/2006/relationships/image" Target="../media/image4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1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3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png"/><Relationship Id="rId3" Type="http://schemas.openxmlformats.org/officeDocument/2006/relationships/slideLayout" Target="../slideLayouts/slideLayout63.xml"/><Relationship Id="rId21" Type="http://schemas.openxmlformats.org/officeDocument/2006/relationships/image" Target="../media/image66.jpeg"/><Relationship Id="rId34" Type="http://schemas.openxmlformats.org/officeDocument/2006/relationships/image" Target="../media/image22.png"/><Relationship Id="rId7" Type="http://schemas.openxmlformats.org/officeDocument/2006/relationships/image" Target="../media/image53.png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png"/><Relationship Id="rId33" Type="http://schemas.openxmlformats.org/officeDocument/2006/relationships/image" Target="../media/image78.png"/><Relationship Id="rId2" Type="http://schemas.openxmlformats.org/officeDocument/2006/relationships/tags" Target="../tags/tag8.xml"/><Relationship Id="rId16" Type="http://schemas.openxmlformats.org/officeDocument/2006/relationships/image" Target="../media/image61.png"/><Relationship Id="rId20" Type="http://schemas.openxmlformats.org/officeDocument/2006/relationships/image" Target="../media/image65.png"/><Relationship Id="rId29" Type="http://schemas.openxmlformats.org/officeDocument/2006/relationships/image" Target="../media/image74.png"/><Relationship Id="rId1" Type="http://schemas.openxmlformats.org/officeDocument/2006/relationships/tags" Target="../tags/tag7.xml"/><Relationship Id="rId6" Type="http://schemas.microsoft.com/office/2007/relationships/hdphoto" Target="../media/hdphoto11.wdp"/><Relationship Id="rId11" Type="http://schemas.openxmlformats.org/officeDocument/2006/relationships/image" Target="../media/image56.png"/><Relationship Id="rId24" Type="http://schemas.openxmlformats.org/officeDocument/2006/relationships/image" Target="../media/image69.png"/><Relationship Id="rId32" Type="http://schemas.openxmlformats.org/officeDocument/2006/relationships/image" Target="../media/image77.png"/><Relationship Id="rId5" Type="http://schemas.openxmlformats.org/officeDocument/2006/relationships/image" Target="../media/image52.png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28" Type="http://schemas.openxmlformats.org/officeDocument/2006/relationships/image" Target="../media/image73.jpe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31" Type="http://schemas.openxmlformats.org/officeDocument/2006/relationships/image" Target="../media/image7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image" Target="../media/image67.png"/><Relationship Id="rId27" Type="http://schemas.openxmlformats.org/officeDocument/2006/relationships/image" Target="../media/image72.png"/><Relationship Id="rId30" Type="http://schemas.openxmlformats.org/officeDocument/2006/relationships/image" Target="../media/image75.png"/><Relationship Id="rId8" Type="http://schemas.openxmlformats.org/officeDocument/2006/relationships/image" Target="http://upload.wikimedia.org/wikipedia/ru/b/b3/Sedmoj_Continent.png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g"/><Relationship Id="rId13" Type="http://schemas.microsoft.com/office/2007/relationships/hdphoto" Target="../media/hdphoto13.wdp"/><Relationship Id="rId3" Type="http://schemas.openxmlformats.org/officeDocument/2006/relationships/chart" Target="../charts/chart8.xml"/><Relationship Id="rId7" Type="http://schemas.openxmlformats.org/officeDocument/2006/relationships/image" Target="../media/image28.png"/><Relationship Id="rId12" Type="http://schemas.openxmlformats.org/officeDocument/2006/relationships/image" Target="../media/image8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7.jpeg"/><Relationship Id="rId11" Type="http://schemas.microsoft.com/office/2007/relationships/hdphoto" Target="../media/hdphoto12.wdp"/><Relationship Id="rId5" Type="http://schemas.openxmlformats.org/officeDocument/2006/relationships/chart" Target="../charts/chart10.xml"/><Relationship Id="rId10" Type="http://schemas.openxmlformats.org/officeDocument/2006/relationships/image" Target="../media/image81.png"/><Relationship Id="rId4" Type="http://schemas.openxmlformats.org/officeDocument/2006/relationships/chart" Target="../charts/chart9.xml"/><Relationship Id="rId9" Type="http://schemas.openxmlformats.org/officeDocument/2006/relationships/image" Target="../media/image8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jpg"/><Relationship Id="rId13" Type="http://schemas.openxmlformats.org/officeDocument/2006/relationships/image" Target="../media/image92.gif"/><Relationship Id="rId3" Type="http://schemas.openxmlformats.org/officeDocument/2006/relationships/image" Target="../media/image83.jpg"/><Relationship Id="rId7" Type="http://schemas.openxmlformats.org/officeDocument/2006/relationships/image" Target="../media/image87.jpg"/><Relationship Id="rId12" Type="http://schemas.openxmlformats.org/officeDocument/2006/relationships/image" Target="../media/image9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86.jpg"/><Relationship Id="rId11" Type="http://schemas.microsoft.com/office/2007/relationships/hdphoto" Target="../media/hdphoto14.wdp"/><Relationship Id="rId5" Type="http://schemas.openxmlformats.org/officeDocument/2006/relationships/image" Target="../media/image85.jpeg"/><Relationship Id="rId15" Type="http://schemas.openxmlformats.org/officeDocument/2006/relationships/image" Target="../media/image94.png"/><Relationship Id="rId10" Type="http://schemas.openxmlformats.org/officeDocument/2006/relationships/image" Target="../media/image90.png"/><Relationship Id="rId4" Type="http://schemas.openxmlformats.org/officeDocument/2006/relationships/image" Target="../media/image84.png"/><Relationship Id="rId9" Type="http://schemas.openxmlformats.org/officeDocument/2006/relationships/image" Target="../media/image89.jpg"/><Relationship Id="rId14" Type="http://schemas.openxmlformats.org/officeDocument/2006/relationships/image" Target="../media/image9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55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81"/>
          <p:cNvSpPr/>
          <p:nvPr/>
        </p:nvSpPr>
        <p:spPr>
          <a:xfrm>
            <a:off x="550033" y="2581371"/>
            <a:ext cx="3574360" cy="3702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12" name="Shape 481"/>
          <p:cNvSpPr/>
          <p:nvPr/>
        </p:nvSpPr>
        <p:spPr>
          <a:xfrm>
            <a:off x="4188177" y="1880548"/>
            <a:ext cx="2951283" cy="3702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r>
              <a:rPr lang="en-US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pic>
        <p:nvPicPr>
          <p:cNvPr id="15" name="Image 25"/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4000856" y="1816153"/>
            <a:ext cx="183104" cy="4625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609600" y="576943"/>
            <a:ext cx="110314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accent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FM </a:t>
            </a: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OGISTIC </a:t>
            </a: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названа самым привлекательным работодателем в сфере логистики</a:t>
            </a:r>
            <a:endParaRPr lang="en-US" sz="2800" dirty="0">
              <a:solidFill>
                <a:schemeClr val="accent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Shape 481"/>
          <p:cNvSpPr/>
          <p:nvPr/>
        </p:nvSpPr>
        <p:spPr>
          <a:xfrm>
            <a:off x="7059296" y="1875876"/>
            <a:ext cx="3124675" cy="3702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413" y="1869341"/>
            <a:ext cx="3705225" cy="324802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4440471" y="1511689"/>
            <a:ext cx="7680747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Arial "/>
              </a:rPr>
              <a:t>Лауреат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премии </a:t>
            </a:r>
            <a:r>
              <a:rPr lang="ru-RU" sz="2400" dirty="0" err="1">
                <a:solidFill>
                  <a:schemeClr val="accent3">
                    <a:lumMod val="50000"/>
                  </a:schemeClr>
                </a:solidFill>
                <a:latin typeface="Arial "/>
              </a:rPr>
              <a:t>Randstad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 </a:t>
            </a:r>
            <a:r>
              <a:rPr lang="ru-RU" sz="2400" dirty="0" err="1">
                <a:solidFill>
                  <a:schemeClr val="accent3">
                    <a:lumMod val="50000"/>
                  </a:schemeClr>
                </a:solidFill>
                <a:latin typeface="Arial "/>
              </a:rPr>
              <a:t>Award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Arial "/>
              </a:rPr>
              <a:t>2017 года в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номинации «Самый привлекательный работодатель в логистической </a:t>
            </a:r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Arial "/>
              </a:rPr>
              <a:t>сфере». </a:t>
            </a:r>
          </a:p>
          <a:p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Arial "/>
              </a:rPr>
              <a:t>Премия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вручается по результатам независимого масштабного исследования привлекательности работодателей в России, проводимого кадровым холдингом АНКОР и международной корпорацией </a:t>
            </a:r>
            <a:r>
              <a:rPr lang="ru-RU" sz="2400" dirty="0" err="1">
                <a:solidFill>
                  <a:schemeClr val="accent3">
                    <a:lumMod val="50000"/>
                  </a:schemeClr>
                </a:solidFill>
                <a:latin typeface="Arial "/>
              </a:rPr>
              <a:t>Randstad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.</a:t>
            </a:r>
          </a:p>
          <a:p>
            <a:r>
              <a:rPr lang="ru-RU" sz="2400" dirty="0" smtClean="0">
                <a:solidFill>
                  <a:schemeClr val="accent3">
                    <a:lumMod val="50000"/>
                  </a:schemeClr>
                </a:solidFill>
                <a:latin typeface="Arial "/>
              </a:rPr>
              <a:t>В 2017 году 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среди лауреатов премии в России такие компании как «Газпром», «Яндекс», </a:t>
            </a:r>
            <a:r>
              <a:rPr lang="ru-RU" sz="2400" dirty="0" err="1">
                <a:solidFill>
                  <a:schemeClr val="accent3">
                    <a:lumMod val="50000"/>
                  </a:schemeClr>
                </a:solidFill>
                <a:latin typeface="Arial "/>
              </a:rPr>
              <a:t>Mercedes-Benz</a:t>
            </a:r>
            <a:r>
              <a:rPr lang="ru-RU" sz="2400" dirty="0">
                <a:solidFill>
                  <a:schemeClr val="accent3">
                    <a:lumMod val="50000"/>
                  </a:schemeClr>
                </a:solidFill>
                <a:latin typeface="Arial "/>
              </a:rPr>
              <a:t>, IKEA, «Аэрофлот» и другие.</a:t>
            </a:r>
            <a:endParaRPr lang="en-US" sz="2400" dirty="0">
              <a:solidFill>
                <a:schemeClr val="accent3">
                  <a:lumMod val="50000"/>
                </a:schemeClr>
              </a:solidFill>
              <a:latin typeface="Arial 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23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530"/>
          <p:cNvGrpSpPr/>
          <p:nvPr/>
        </p:nvGrpSpPr>
        <p:grpSpPr>
          <a:xfrm>
            <a:off x="0" y="563237"/>
            <a:ext cx="3883031" cy="1170029"/>
            <a:chOff x="0" y="0"/>
            <a:chExt cx="5437440" cy="1638399"/>
          </a:xfrm>
        </p:grpSpPr>
        <p:sp>
          <p:nvSpPr>
            <p:cNvPr id="11" name="Shape 528"/>
            <p:cNvSpPr/>
            <p:nvPr/>
          </p:nvSpPr>
          <p:spPr>
            <a:xfrm>
              <a:off x="0" y="-1"/>
              <a:ext cx="5437441" cy="1638401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642868">
                <a:defRPr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sz="1265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" name="image2.jpeg"/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9202" y="419849"/>
              <a:ext cx="4107222" cy="79870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8" name="Group 47"/>
          <p:cNvGrpSpPr>
            <a:grpSpLocks noChangeAspect="1"/>
          </p:cNvGrpSpPr>
          <p:nvPr/>
        </p:nvGrpSpPr>
        <p:grpSpPr bwMode="auto">
          <a:xfrm flipH="1">
            <a:off x="73505" y="3304231"/>
            <a:ext cx="1978053" cy="2159439"/>
            <a:chOff x="5824" y="785"/>
            <a:chExt cx="229" cy="250"/>
          </a:xfrm>
          <a:solidFill>
            <a:schemeClr val="bg1"/>
          </a:solidFill>
        </p:grpSpPr>
        <p:sp>
          <p:nvSpPr>
            <p:cNvPr id="9" name="Freeform 48"/>
            <p:cNvSpPr>
              <a:spLocks/>
            </p:cNvSpPr>
            <p:nvPr/>
          </p:nvSpPr>
          <p:spPr bwMode="auto">
            <a:xfrm>
              <a:off x="5824" y="785"/>
              <a:ext cx="171" cy="245"/>
            </a:xfrm>
            <a:custGeom>
              <a:avLst/>
              <a:gdLst>
                <a:gd name="T0" fmla="*/ 63 w 100"/>
                <a:gd name="T1" fmla="*/ 15 h 144"/>
                <a:gd name="T2" fmla="*/ 45 w 100"/>
                <a:gd name="T3" fmla="*/ 15 h 144"/>
                <a:gd name="T4" fmla="*/ 49 w 100"/>
                <a:gd name="T5" fmla="*/ 56 h 144"/>
                <a:gd name="T6" fmla="*/ 18 w 100"/>
                <a:gd name="T7" fmla="*/ 56 h 144"/>
                <a:gd name="T8" fmla="*/ 4 w 100"/>
                <a:gd name="T9" fmla="*/ 64 h 144"/>
                <a:gd name="T10" fmla="*/ 6 w 100"/>
                <a:gd name="T11" fmla="*/ 77 h 144"/>
                <a:gd name="T12" fmla="*/ 2 w 100"/>
                <a:gd name="T13" fmla="*/ 92 h 144"/>
                <a:gd name="T14" fmla="*/ 6 w 100"/>
                <a:gd name="T15" fmla="*/ 102 h 144"/>
                <a:gd name="T16" fmla="*/ 5 w 100"/>
                <a:gd name="T17" fmla="*/ 114 h 144"/>
                <a:gd name="T18" fmla="*/ 13 w 100"/>
                <a:gd name="T19" fmla="*/ 126 h 144"/>
                <a:gd name="T20" fmla="*/ 14 w 100"/>
                <a:gd name="T21" fmla="*/ 136 h 144"/>
                <a:gd name="T22" fmla="*/ 36 w 100"/>
                <a:gd name="T23" fmla="*/ 144 h 144"/>
                <a:gd name="T24" fmla="*/ 63 w 100"/>
                <a:gd name="T25" fmla="*/ 144 h 144"/>
                <a:gd name="T26" fmla="*/ 95 w 100"/>
                <a:gd name="T27" fmla="*/ 130 h 144"/>
                <a:gd name="T28" fmla="*/ 100 w 100"/>
                <a:gd name="T29" fmla="*/ 130 h 144"/>
                <a:gd name="T30" fmla="*/ 100 w 100"/>
                <a:gd name="T31" fmla="*/ 63 h 144"/>
                <a:gd name="T32" fmla="*/ 81 w 100"/>
                <a:gd name="T33" fmla="*/ 52 h 144"/>
                <a:gd name="T34" fmla="*/ 63 w 100"/>
                <a:gd name="T35" fmla="*/ 15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144">
                  <a:moveTo>
                    <a:pt x="63" y="15"/>
                  </a:moveTo>
                  <a:cubicBezTo>
                    <a:pt x="59" y="0"/>
                    <a:pt x="49" y="3"/>
                    <a:pt x="45" y="15"/>
                  </a:cubicBezTo>
                  <a:cubicBezTo>
                    <a:pt x="41" y="28"/>
                    <a:pt x="49" y="56"/>
                    <a:pt x="49" y="56"/>
                  </a:cubicBezTo>
                  <a:cubicBezTo>
                    <a:pt x="49" y="56"/>
                    <a:pt x="28" y="56"/>
                    <a:pt x="18" y="56"/>
                  </a:cubicBezTo>
                  <a:cubicBezTo>
                    <a:pt x="8" y="56"/>
                    <a:pt x="5" y="59"/>
                    <a:pt x="4" y="64"/>
                  </a:cubicBezTo>
                  <a:cubicBezTo>
                    <a:pt x="3" y="68"/>
                    <a:pt x="5" y="72"/>
                    <a:pt x="6" y="77"/>
                  </a:cubicBezTo>
                  <a:cubicBezTo>
                    <a:pt x="7" y="82"/>
                    <a:pt x="0" y="85"/>
                    <a:pt x="2" y="92"/>
                  </a:cubicBezTo>
                  <a:cubicBezTo>
                    <a:pt x="3" y="99"/>
                    <a:pt x="6" y="98"/>
                    <a:pt x="6" y="102"/>
                  </a:cubicBezTo>
                  <a:cubicBezTo>
                    <a:pt x="7" y="107"/>
                    <a:pt x="4" y="109"/>
                    <a:pt x="5" y="114"/>
                  </a:cubicBezTo>
                  <a:cubicBezTo>
                    <a:pt x="7" y="121"/>
                    <a:pt x="12" y="123"/>
                    <a:pt x="13" y="126"/>
                  </a:cubicBezTo>
                  <a:cubicBezTo>
                    <a:pt x="14" y="130"/>
                    <a:pt x="13" y="131"/>
                    <a:pt x="14" y="136"/>
                  </a:cubicBezTo>
                  <a:cubicBezTo>
                    <a:pt x="18" y="144"/>
                    <a:pt x="25" y="144"/>
                    <a:pt x="36" y="144"/>
                  </a:cubicBezTo>
                  <a:cubicBezTo>
                    <a:pt x="47" y="144"/>
                    <a:pt x="54" y="144"/>
                    <a:pt x="63" y="144"/>
                  </a:cubicBezTo>
                  <a:cubicBezTo>
                    <a:pt x="78" y="144"/>
                    <a:pt x="82" y="130"/>
                    <a:pt x="95" y="130"/>
                  </a:cubicBezTo>
                  <a:cubicBezTo>
                    <a:pt x="96" y="130"/>
                    <a:pt x="98" y="130"/>
                    <a:pt x="100" y="130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93" y="61"/>
                    <a:pt x="86" y="57"/>
                    <a:pt x="81" y="52"/>
                  </a:cubicBezTo>
                  <a:cubicBezTo>
                    <a:pt x="69" y="40"/>
                    <a:pt x="66" y="32"/>
                    <a:pt x="6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Rectangle 49"/>
            <p:cNvSpPr>
              <a:spLocks noChangeArrowheads="1"/>
            </p:cNvSpPr>
            <p:nvPr/>
          </p:nvSpPr>
          <p:spPr bwMode="auto">
            <a:xfrm>
              <a:off x="6017" y="892"/>
              <a:ext cx="36" cy="14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fr-FR" sz="135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4" name="Rectangle 3"/>
          <p:cNvSpPr/>
          <p:nvPr/>
        </p:nvSpPr>
        <p:spPr>
          <a:xfrm>
            <a:off x="1791600" y="4338238"/>
            <a:ext cx="537317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000" b="1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БЛАГОДАРИМ ЗА ВНИМАНИЕ</a:t>
            </a:r>
            <a:r>
              <a:rPr lang="ru-RU" sz="3000" b="1" dirty="0" smtClean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!</a:t>
            </a:r>
            <a:endParaRPr lang="ru-RU" sz="3000" b="1" dirty="0">
              <a:solidFill>
                <a:prstClr val="white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1620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0" name="Group 4"/>
          <p:cNvGrpSpPr>
            <a:grpSpLocks noChangeAspect="1"/>
          </p:cNvGrpSpPr>
          <p:nvPr/>
        </p:nvGrpSpPr>
        <p:grpSpPr bwMode="auto">
          <a:xfrm>
            <a:off x="4920349" y="1394215"/>
            <a:ext cx="6610018" cy="3927611"/>
            <a:chOff x="224" y="655"/>
            <a:chExt cx="3546" cy="2107"/>
          </a:xfrm>
          <a:solidFill>
            <a:schemeClr val="bg1">
              <a:lumMod val="85000"/>
            </a:schemeClr>
          </a:solidFill>
        </p:grpSpPr>
        <p:sp>
          <p:nvSpPr>
            <p:cNvPr id="205" name="Freeform 5"/>
            <p:cNvSpPr>
              <a:spLocks noEditPoints="1"/>
            </p:cNvSpPr>
            <p:nvPr/>
          </p:nvSpPr>
          <p:spPr bwMode="auto">
            <a:xfrm>
              <a:off x="224" y="698"/>
              <a:ext cx="445" cy="482"/>
            </a:xfrm>
            <a:custGeom>
              <a:avLst/>
              <a:gdLst>
                <a:gd name="T0" fmla="*/ 371 w 445"/>
                <a:gd name="T1" fmla="*/ 434 h 482"/>
                <a:gd name="T2" fmla="*/ 363 w 445"/>
                <a:gd name="T3" fmla="*/ 365 h 482"/>
                <a:gd name="T4" fmla="*/ 445 w 445"/>
                <a:gd name="T5" fmla="*/ 94 h 482"/>
                <a:gd name="T6" fmla="*/ 413 w 445"/>
                <a:gd name="T7" fmla="*/ 75 h 482"/>
                <a:gd name="T8" fmla="*/ 393 w 445"/>
                <a:gd name="T9" fmla="*/ 63 h 482"/>
                <a:gd name="T10" fmla="*/ 366 w 445"/>
                <a:gd name="T11" fmla="*/ 55 h 482"/>
                <a:gd name="T12" fmla="*/ 354 w 445"/>
                <a:gd name="T13" fmla="*/ 24 h 482"/>
                <a:gd name="T14" fmla="*/ 340 w 445"/>
                <a:gd name="T15" fmla="*/ 22 h 482"/>
                <a:gd name="T16" fmla="*/ 347 w 445"/>
                <a:gd name="T17" fmla="*/ 7 h 482"/>
                <a:gd name="T18" fmla="*/ 306 w 445"/>
                <a:gd name="T19" fmla="*/ 10 h 482"/>
                <a:gd name="T20" fmla="*/ 283 w 445"/>
                <a:gd name="T21" fmla="*/ 20 h 482"/>
                <a:gd name="T22" fmla="*/ 216 w 445"/>
                <a:gd name="T23" fmla="*/ 49 h 482"/>
                <a:gd name="T24" fmla="*/ 193 w 445"/>
                <a:gd name="T25" fmla="*/ 108 h 482"/>
                <a:gd name="T26" fmla="*/ 215 w 445"/>
                <a:gd name="T27" fmla="*/ 132 h 482"/>
                <a:gd name="T28" fmla="*/ 196 w 445"/>
                <a:gd name="T29" fmla="*/ 130 h 482"/>
                <a:gd name="T30" fmla="*/ 174 w 445"/>
                <a:gd name="T31" fmla="*/ 134 h 482"/>
                <a:gd name="T32" fmla="*/ 155 w 445"/>
                <a:gd name="T33" fmla="*/ 124 h 482"/>
                <a:gd name="T34" fmla="*/ 121 w 445"/>
                <a:gd name="T35" fmla="*/ 138 h 482"/>
                <a:gd name="T36" fmla="*/ 121 w 445"/>
                <a:gd name="T37" fmla="*/ 155 h 482"/>
                <a:gd name="T38" fmla="*/ 150 w 445"/>
                <a:gd name="T39" fmla="*/ 181 h 482"/>
                <a:gd name="T40" fmla="*/ 167 w 445"/>
                <a:gd name="T41" fmla="*/ 181 h 482"/>
                <a:gd name="T42" fmla="*/ 135 w 445"/>
                <a:gd name="T43" fmla="*/ 208 h 482"/>
                <a:gd name="T44" fmla="*/ 97 w 445"/>
                <a:gd name="T45" fmla="*/ 222 h 482"/>
                <a:gd name="T46" fmla="*/ 72 w 445"/>
                <a:gd name="T47" fmla="*/ 260 h 482"/>
                <a:gd name="T48" fmla="*/ 90 w 445"/>
                <a:gd name="T49" fmla="*/ 264 h 482"/>
                <a:gd name="T50" fmla="*/ 69 w 445"/>
                <a:gd name="T51" fmla="*/ 281 h 482"/>
                <a:gd name="T52" fmla="*/ 103 w 445"/>
                <a:gd name="T53" fmla="*/ 279 h 482"/>
                <a:gd name="T54" fmla="*/ 91 w 445"/>
                <a:gd name="T55" fmla="*/ 317 h 482"/>
                <a:gd name="T56" fmla="*/ 98 w 445"/>
                <a:gd name="T57" fmla="*/ 324 h 482"/>
                <a:gd name="T58" fmla="*/ 118 w 445"/>
                <a:gd name="T59" fmla="*/ 328 h 482"/>
                <a:gd name="T60" fmla="*/ 114 w 445"/>
                <a:gd name="T61" fmla="*/ 354 h 482"/>
                <a:gd name="T62" fmla="*/ 86 w 445"/>
                <a:gd name="T63" fmla="*/ 378 h 482"/>
                <a:gd name="T64" fmla="*/ 53 w 445"/>
                <a:gd name="T65" fmla="*/ 395 h 482"/>
                <a:gd name="T66" fmla="*/ 24 w 445"/>
                <a:gd name="T67" fmla="*/ 412 h 482"/>
                <a:gd name="T68" fmla="*/ 49 w 445"/>
                <a:gd name="T69" fmla="*/ 402 h 482"/>
                <a:gd name="T70" fmla="*/ 69 w 445"/>
                <a:gd name="T71" fmla="*/ 402 h 482"/>
                <a:gd name="T72" fmla="*/ 88 w 445"/>
                <a:gd name="T73" fmla="*/ 395 h 482"/>
                <a:gd name="T74" fmla="*/ 107 w 445"/>
                <a:gd name="T75" fmla="*/ 384 h 482"/>
                <a:gd name="T76" fmla="*/ 135 w 445"/>
                <a:gd name="T77" fmla="*/ 363 h 482"/>
                <a:gd name="T78" fmla="*/ 156 w 445"/>
                <a:gd name="T79" fmla="*/ 353 h 482"/>
                <a:gd name="T80" fmla="*/ 170 w 445"/>
                <a:gd name="T81" fmla="*/ 327 h 482"/>
                <a:gd name="T82" fmla="*/ 185 w 445"/>
                <a:gd name="T83" fmla="*/ 312 h 482"/>
                <a:gd name="T84" fmla="*/ 241 w 445"/>
                <a:gd name="T85" fmla="*/ 290 h 482"/>
                <a:gd name="T86" fmla="*/ 204 w 445"/>
                <a:gd name="T87" fmla="*/ 316 h 482"/>
                <a:gd name="T88" fmla="*/ 193 w 445"/>
                <a:gd name="T89" fmla="*/ 342 h 482"/>
                <a:gd name="T90" fmla="*/ 218 w 445"/>
                <a:gd name="T91" fmla="*/ 335 h 482"/>
                <a:gd name="T92" fmla="*/ 239 w 445"/>
                <a:gd name="T93" fmla="*/ 317 h 482"/>
                <a:gd name="T94" fmla="*/ 252 w 445"/>
                <a:gd name="T95" fmla="*/ 309 h 482"/>
                <a:gd name="T96" fmla="*/ 264 w 445"/>
                <a:gd name="T97" fmla="*/ 315 h 482"/>
                <a:gd name="T98" fmla="*/ 275 w 445"/>
                <a:gd name="T99" fmla="*/ 331 h 482"/>
                <a:gd name="T100" fmla="*/ 294 w 445"/>
                <a:gd name="T101" fmla="*/ 342 h 482"/>
                <a:gd name="T102" fmla="*/ 324 w 445"/>
                <a:gd name="T103" fmla="*/ 353 h 482"/>
                <a:gd name="T104" fmla="*/ 328 w 445"/>
                <a:gd name="T105" fmla="*/ 373 h 482"/>
                <a:gd name="T106" fmla="*/ 339 w 445"/>
                <a:gd name="T107" fmla="*/ 391 h 482"/>
                <a:gd name="T108" fmla="*/ 345 w 445"/>
                <a:gd name="T109" fmla="*/ 393 h 482"/>
                <a:gd name="T110" fmla="*/ 362 w 445"/>
                <a:gd name="T111" fmla="*/ 370 h 482"/>
                <a:gd name="T112" fmla="*/ 366 w 445"/>
                <a:gd name="T113" fmla="*/ 410 h 482"/>
                <a:gd name="T114" fmla="*/ 366 w 445"/>
                <a:gd name="T115" fmla="*/ 430 h 482"/>
                <a:gd name="T116" fmla="*/ 360 w 445"/>
                <a:gd name="T117" fmla="*/ 460 h 482"/>
                <a:gd name="T118" fmla="*/ 368 w 445"/>
                <a:gd name="T119" fmla="*/ 471 h 482"/>
                <a:gd name="T120" fmla="*/ 382 w 445"/>
                <a:gd name="T121" fmla="*/ 460 h 482"/>
                <a:gd name="T122" fmla="*/ 8 w 445"/>
                <a:gd name="T123" fmla="*/ 419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5" h="482">
                  <a:moveTo>
                    <a:pt x="382" y="460"/>
                  </a:moveTo>
                  <a:lnTo>
                    <a:pt x="383" y="460"/>
                  </a:lnTo>
                  <a:lnTo>
                    <a:pt x="383" y="459"/>
                  </a:lnTo>
                  <a:lnTo>
                    <a:pt x="383" y="457"/>
                  </a:lnTo>
                  <a:lnTo>
                    <a:pt x="383" y="456"/>
                  </a:lnTo>
                  <a:lnTo>
                    <a:pt x="383" y="456"/>
                  </a:lnTo>
                  <a:lnTo>
                    <a:pt x="383" y="455"/>
                  </a:lnTo>
                  <a:lnTo>
                    <a:pt x="382" y="453"/>
                  </a:lnTo>
                  <a:lnTo>
                    <a:pt x="382" y="452"/>
                  </a:lnTo>
                  <a:lnTo>
                    <a:pt x="381" y="449"/>
                  </a:lnTo>
                  <a:lnTo>
                    <a:pt x="378" y="448"/>
                  </a:lnTo>
                  <a:lnTo>
                    <a:pt x="377" y="446"/>
                  </a:lnTo>
                  <a:lnTo>
                    <a:pt x="377" y="445"/>
                  </a:lnTo>
                  <a:lnTo>
                    <a:pt x="374" y="442"/>
                  </a:lnTo>
                  <a:lnTo>
                    <a:pt x="373" y="441"/>
                  </a:lnTo>
                  <a:lnTo>
                    <a:pt x="371" y="441"/>
                  </a:lnTo>
                  <a:lnTo>
                    <a:pt x="371" y="440"/>
                  </a:lnTo>
                  <a:lnTo>
                    <a:pt x="371" y="440"/>
                  </a:lnTo>
                  <a:lnTo>
                    <a:pt x="371" y="437"/>
                  </a:lnTo>
                  <a:lnTo>
                    <a:pt x="370" y="437"/>
                  </a:lnTo>
                  <a:lnTo>
                    <a:pt x="370" y="435"/>
                  </a:lnTo>
                  <a:lnTo>
                    <a:pt x="371" y="434"/>
                  </a:lnTo>
                  <a:lnTo>
                    <a:pt x="371" y="434"/>
                  </a:lnTo>
                  <a:lnTo>
                    <a:pt x="371" y="433"/>
                  </a:lnTo>
                  <a:lnTo>
                    <a:pt x="370" y="431"/>
                  </a:lnTo>
                  <a:lnTo>
                    <a:pt x="368" y="431"/>
                  </a:lnTo>
                  <a:lnTo>
                    <a:pt x="368" y="430"/>
                  </a:lnTo>
                  <a:lnTo>
                    <a:pt x="371" y="429"/>
                  </a:lnTo>
                  <a:lnTo>
                    <a:pt x="370" y="421"/>
                  </a:lnTo>
                  <a:lnTo>
                    <a:pt x="370" y="412"/>
                  </a:lnTo>
                  <a:lnTo>
                    <a:pt x="371" y="406"/>
                  </a:lnTo>
                  <a:lnTo>
                    <a:pt x="370" y="403"/>
                  </a:lnTo>
                  <a:lnTo>
                    <a:pt x="370" y="402"/>
                  </a:lnTo>
                  <a:lnTo>
                    <a:pt x="371" y="399"/>
                  </a:lnTo>
                  <a:lnTo>
                    <a:pt x="371" y="397"/>
                  </a:lnTo>
                  <a:lnTo>
                    <a:pt x="370" y="395"/>
                  </a:lnTo>
                  <a:lnTo>
                    <a:pt x="370" y="391"/>
                  </a:lnTo>
                  <a:lnTo>
                    <a:pt x="367" y="388"/>
                  </a:lnTo>
                  <a:lnTo>
                    <a:pt x="366" y="384"/>
                  </a:lnTo>
                  <a:lnTo>
                    <a:pt x="367" y="381"/>
                  </a:lnTo>
                  <a:lnTo>
                    <a:pt x="364" y="374"/>
                  </a:lnTo>
                  <a:lnTo>
                    <a:pt x="364" y="373"/>
                  </a:lnTo>
                  <a:lnTo>
                    <a:pt x="366" y="370"/>
                  </a:lnTo>
                  <a:lnTo>
                    <a:pt x="366" y="369"/>
                  </a:lnTo>
                  <a:lnTo>
                    <a:pt x="366" y="366"/>
                  </a:lnTo>
                  <a:lnTo>
                    <a:pt x="363" y="365"/>
                  </a:lnTo>
                  <a:lnTo>
                    <a:pt x="360" y="365"/>
                  </a:lnTo>
                  <a:lnTo>
                    <a:pt x="356" y="366"/>
                  </a:lnTo>
                  <a:lnTo>
                    <a:pt x="355" y="366"/>
                  </a:lnTo>
                  <a:lnTo>
                    <a:pt x="351" y="368"/>
                  </a:lnTo>
                  <a:lnTo>
                    <a:pt x="348" y="370"/>
                  </a:lnTo>
                  <a:lnTo>
                    <a:pt x="344" y="376"/>
                  </a:lnTo>
                  <a:lnTo>
                    <a:pt x="341" y="377"/>
                  </a:lnTo>
                  <a:lnTo>
                    <a:pt x="339" y="377"/>
                  </a:lnTo>
                  <a:lnTo>
                    <a:pt x="333" y="378"/>
                  </a:lnTo>
                  <a:lnTo>
                    <a:pt x="333" y="378"/>
                  </a:lnTo>
                  <a:lnTo>
                    <a:pt x="333" y="376"/>
                  </a:lnTo>
                  <a:lnTo>
                    <a:pt x="335" y="373"/>
                  </a:lnTo>
                  <a:lnTo>
                    <a:pt x="333" y="370"/>
                  </a:lnTo>
                  <a:lnTo>
                    <a:pt x="330" y="357"/>
                  </a:lnTo>
                  <a:lnTo>
                    <a:pt x="328" y="351"/>
                  </a:lnTo>
                  <a:lnTo>
                    <a:pt x="328" y="347"/>
                  </a:lnTo>
                  <a:lnTo>
                    <a:pt x="329" y="343"/>
                  </a:lnTo>
                  <a:lnTo>
                    <a:pt x="324" y="342"/>
                  </a:lnTo>
                  <a:lnTo>
                    <a:pt x="320" y="344"/>
                  </a:lnTo>
                  <a:lnTo>
                    <a:pt x="317" y="343"/>
                  </a:lnTo>
                  <a:lnTo>
                    <a:pt x="309" y="343"/>
                  </a:lnTo>
                  <a:lnTo>
                    <a:pt x="445" y="96"/>
                  </a:lnTo>
                  <a:lnTo>
                    <a:pt x="445" y="94"/>
                  </a:lnTo>
                  <a:lnTo>
                    <a:pt x="442" y="94"/>
                  </a:lnTo>
                  <a:lnTo>
                    <a:pt x="441" y="94"/>
                  </a:lnTo>
                  <a:lnTo>
                    <a:pt x="439" y="93"/>
                  </a:lnTo>
                  <a:lnTo>
                    <a:pt x="438" y="87"/>
                  </a:lnTo>
                  <a:lnTo>
                    <a:pt x="436" y="86"/>
                  </a:lnTo>
                  <a:lnTo>
                    <a:pt x="435" y="85"/>
                  </a:lnTo>
                  <a:lnTo>
                    <a:pt x="435" y="82"/>
                  </a:lnTo>
                  <a:lnTo>
                    <a:pt x="434" y="79"/>
                  </a:lnTo>
                  <a:lnTo>
                    <a:pt x="432" y="78"/>
                  </a:lnTo>
                  <a:lnTo>
                    <a:pt x="428" y="78"/>
                  </a:lnTo>
                  <a:lnTo>
                    <a:pt x="427" y="78"/>
                  </a:lnTo>
                  <a:lnTo>
                    <a:pt x="424" y="78"/>
                  </a:lnTo>
                  <a:lnTo>
                    <a:pt x="422" y="79"/>
                  </a:lnTo>
                  <a:lnTo>
                    <a:pt x="420" y="78"/>
                  </a:lnTo>
                  <a:lnTo>
                    <a:pt x="419" y="78"/>
                  </a:lnTo>
                  <a:lnTo>
                    <a:pt x="417" y="78"/>
                  </a:lnTo>
                  <a:lnTo>
                    <a:pt x="417" y="78"/>
                  </a:lnTo>
                  <a:lnTo>
                    <a:pt x="416" y="78"/>
                  </a:lnTo>
                  <a:lnTo>
                    <a:pt x="416" y="78"/>
                  </a:lnTo>
                  <a:lnTo>
                    <a:pt x="417" y="77"/>
                  </a:lnTo>
                  <a:lnTo>
                    <a:pt x="417" y="77"/>
                  </a:lnTo>
                  <a:lnTo>
                    <a:pt x="415" y="75"/>
                  </a:lnTo>
                  <a:lnTo>
                    <a:pt x="413" y="75"/>
                  </a:lnTo>
                  <a:lnTo>
                    <a:pt x="412" y="75"/>
                  </a:lnTo>
                  <a:lnTo>
                    <a:pt x="412" y="74"/>
                  </a:lnTo>
                  <a:lnTo>
                    <a:pt x="413" y="74"/>
                  </a:lnTo>
                  <a:lnTo>
                    <a:pt x="412" y="73"/>
                  </a:lnTo>
                  <a:lnTo>
                    <a:pt x="411" y="73"/>
                  </a:lnTo>
                  <a:lnTo>
                    <a:pt x="409" y="73"/>
                  </a:lnTo>
                  <a:lnTo>
                    <a:pt x="409" y="71"/>
                  </a:lnTo>
                  <a:lnTo>
                    <a:pt x="408" y="70"/>
                  </a:lnTo>
                  <a:lnTo>
                    <a:pt x="404" y="67"/>
                  </a:lnTo>
                  <a:lnTo>
                    <a:pt x="404" y="67"/>
                  </a:lnTo>
                  <a:lnTo>
                    <a:pt x="402" y="66"/>
                  </a:lnTo>
                  <a:lnTo>
                    <a:pt x="401" y="66"/>
                  </a:lnTo>
                  <a:lnTo>
                    <a:pt x="401" y="67"/>
                  </a:lnTo>
                  <a:lnTo>
                    <a:pt x="401" y="67"/>
                  </a:lnTo>
                  <a:lnTo>
                    <a:pt x="401" y="66"/>
                  </a:lnTo>
                  <a:lnTo>
                    <a:pt x="398" y="64"/>
                  </a:lnTo>
                  <a:lnTo>
                    <a:pt x="397" y="67"/>
                  </a:lnTo>
                  <a:lnTo>
                    <a:pt x="397" y="66"/>
                  </a:lnTo>
                  <a:lnTo>
                    <a:pt x="397" y="64"/>
                  </a:lnTo>
                  <a:lnTo>
                    <a:pt x="397" y="64"/>
                  </a:lnTo>
                  <a:lnTo>
                    <a:pt x="397" y="63"/>
                  </a:lnTo>
                  <a:lnTo>
                    <a:pt x="394" y="62"/>
                  </a:lnTo>
                  <a:lnTo>
                    <a:pt x="393" y="63"/>
                  </a:lnTo>
                  <a:lnTo>
                    <a:pt x="394" y="62"/>
                  </a:lnTo>
                  <a:lnTo>
                    <a:pt x="393" y="60"/>
                  </a:lnTo>
                  <a:lnTo>
                    <a:pt x="392" y="59"/>
                  </a:lnTo>
                  <a:lnTo>
                    <a:pt x="390" y="58"/>
                  </a:lnTo>
                  <a:lnTo>
                    <a:pt x="390" y="56"/>
                  </a:lnTo>
                  <a:lnTo>
                    <a:pt x="390" y="56"/>
                  </a:lnTo>
                  <a:lnTo>
                    <a:pt x="388" y="55"/>
                  </a:lnTo>
                  <a:lnTo>
                    <a:pt x="388" y="56"/>
                  </a:lnTo>
                  <a:lnTo>
                    <a:pt x="382" y="60"/>
                  </a:lnTo>
                  <a:lnTo>
                    <a:pt x="378" y="63"/>
                  </a:lnTo>
                  <a:lnTo>
                    <a:pt x="382" y="60"/>
                  </a:lnTo>
                  <a:lnTo>
                    <a:pt x="385" y="56"/>
                  </a:lnTo>
                  <a:lnTo>
                    <a:pt x="388" y="54"/>
                  </a:lnTo>
                  <a:lnTo>
                    <a:pt x="388" y="51"/>
                  </a:lnTo>
                  <a:lnTo>
                    <a:pt x="386" y="49"/>
                  </a:lnTo>
                  <a:lnTo>
                    <a:pt x="383" y="47"/>
                  </a:lnTo>
                  <a:lnTo>
                    <a:pt x="381" y="47"/>
                  </a:lnTo>
                  <a:lnTo>
                    <a:pt x="377" y="48"/>
                  </a:lnTo>
                  <a:lnTo>
                    <a:pt x="375" y="48"/>
                  </a:lnTo>
                  <a:lnTo>
                    <a:pt x="374" y="49"/>
                  </a:lnTo>
                  <a:lnTo>
                    <a:pt x="371" y="49"/>
                  </a:lnTo>
                  <a:lnTo>
                    <a:pt x="368" y="54"/>
                  </a:lnTo>
                  <a:lnTo>
                    <a:pt x="366" y="55"/>
                  </a:lnTo>
                  <a:lnTo>
                    <a:pt x="367" y="52"/>
                  </a:lnTo>
                  <a:lnTo>
                    <a:pt x="367" y="49"/>
                  </a:lnTo>
                  <a:lnTo>
                    <a:pt x="367" y="47"/>
                  </a:lnTo>
                  <a:lnTo>
                    <a:pt x="367" y="45"/>
                  </a:lnTo>
                  <a:lnTo>
                    <a:pt x="364" y="43"/>
                  </a:lnTo>
                  <a:lnTo>
                    <a:pt x="364" y="41"/>
                  </a:lnTo>
                  <a:lnTo>
                    <a:pt x="366" y="41"/>
                  </a:lnTo>
                  <a:lnTo>
                    <a:pt x="368" y="41"/>
                  </a:lnTo>
                  <a:lnTo>
                    <a:pt x="367" y="40"/>
                  </a:lnTo>
                  <a:lnTo>
                    <a:pt x="362" y="37"/>
                  </a:lnTo>
                  <a:lnTo>
                    <a:pt x="362" y="36"/>
                  </a:lnTo>
                  <a:lnTo>
                    <a:pt x="363" y="33"/>
                  </a:lnTo>
                  <a:lnTo>
                    <a:pt x="366" y="32"/>
                  </a:lnTo>
                  <a:lnTo>
                    <a:pt x="367" y="30"/>
                  </a:lnTo>
                  <a:lnTo>
                    <a:pt x="366" y="29"/>
                  </a:lnTo>
                  <a:lnTo>
                    <a:pt x="364" y="26"/>
                  </a:lnTo>
                  <a:lnTo>
                    <a:pt x="364" y="26"/>
                  </a:lnTo>
                  <a:lnTo>
                    <a:pt x="363" y="26"/>
                  </a:lnTo>
                  <a:lnTo>
                    <a:pt x="362" y="25"/>
                  </a:lnTo>
                  <a:lnTo>
                    <a:pt x="360" y="25"/>
                  </a:lnTo>
                  <a:lnTo>
                    <a:pt x="358" y="25"/>
                  </a:lnTo>
                  <a:lnTo>
                    <a:pt x="355" y="24"/>
                  </a:lnTo>
                  <a:lnTo>
                    <a:pt x="354" y="24"/>
                  </a:lnTo>
                  <a:lnTo>
                    <a:pt x="352" y="24"/>
                  </a:lnTo>
                  <a:lnTo>
                    <a:pt x="349" y="24"/>
                  </a:lnTo>
                  <a:lnTo>
                    <a:pt x="348" y="25"/>
                  </a:lnTo>
                  <a:lnTo>
                    <a:pt x="348" y="26"/>
                  </a:lnTo>
                  <a:lnTo>
                    <a:pt x="347" y="25"/>
                  </a:lnTo>
                  <a:lnTo>
                    <a:pt x="348" y="22"/>
                  </a:lnTo>
                  <a:lnTo>
                    <a:pt x="348" y="22"/>
                  </a:lnTo>
                  <a:lnTo>
                    <a:pt x="348" y="20"/>
                  </a:lnTo>
                  <a:lnTo>
                    <a:pt x="349" y="18"/>
                  </a:lnTo>
                  <a:lnTo>
                    <a:pt x="351" y="18"/>
                  </a:lnTo>
                  <a:lnTo>
                    <a:pt x="351" y="15"/>
                  </a:lnTo>
                  <a:lnTo>
                    <a:pt x="351" y="14"/>
                  </a:lnTo>
                  <a:lnTo>
                    <a:pt x="351" y="13"/>
                  </a:lnTo>
                  <a:lnTo>
                    <a:pt x="349" y="13"/>
                  </a:lnTo>
                  <a:lnTo>
                    <a:pt x="347" y="15"/>
                  </a:lnTo>
                  <a:lnTo>
                    <a:pt x="347" y="17"/>
                  </a:lnTo>
                  <a:lnTo>
                    <a:pt x="347" y="17"/>
                  </a:lnTo>
                  <a:lnTo>
                    <a:pt x="344" y="15"/>
                  </a:lnTo>
                  <a:lnTo>
                    <a:pt x="343" y="17"/>
                  </a:lnTo>
                  <a:lnTo>
                    <a:pt x="341" y="18"/>
                  </a:lnTo>
                  <a:lnTo>
                    <a:pt x="343" y="21"/>
                  </a:lnTo>
                  <a:lnTo>
                    <a:pt x="341" y="22"/>
                  </a:lnTo>
                  <a:lnTo>
                    <a:pt x="340" y="22"/>
                  </a:lnTo>
                  <a:lnTo>
                    <a:pt x="339" y="21"/>
                  </a:lnTo>
                  <a:lnTo>
                    <a:pt x="337" y="24"/>
                  </a:lnTo>
                  <a:lnTo>
                    <a:pt x="337" y="26"/>
                  </a:lnTo>
                  <a:lnTo>
                    <a:pt x="337" y="24"/>
                  </a:lnTo>
                  <a:lnTo>
                    <a:pt x="337" y="22"/>
                  </a:lnTo>
                  <a:lnTo>
                    <a:pt x="337" y="20"/>
                  </a:lnTo>
                  <a:lnTo>
                    <a:pt x="337" y="20"/>
                  </a:lnTo>
                  <a:lnTo>
                    <a:pt x="336" y="21"/>
                  </a:lnTo>
                  <a:lnTo>
                    <a:pt x="335" y="22"/>
                  </a:lnTo>
                  <a:lnTo>
                    <a:pt x="333" y="22"/>
                  </a:lnTo>
                  <a:lnTo>
                    <a:pt x="335" y="20"/>
                  </a:lnTo>
                  <a:lnTo>
                    <a:pt x="333" y="17"/>
                  </a:lnTo>
                  <a:lnTo>
                    <a:pt x="330" y="17"/>
                  </a:lnTo>
                  <a:lnTo>
                    <a:pt x="330" y="15"/>
                  </a:lnTo>
                  <a:lnTo>
                    <a:pt x="333" y="14"/>
                  </a:lnTo>
                  <a:lnTo>
                    <a:pt x="336" y="13"/>
                  </a:lnTo>
                  <a:lnTo>
                    <a:pt x="339" y="15"/>
                  </a:lnTo>
                  <a:lnTo>
                    <a:pt x="341" y="14"/>
                  </a:lnTo>
                  <a:lnTo>
                    <a:pt x="344" y="13"/>
                  </a:lnTo>
                  <a:lnTo>
                    <a:pt x="347" y="11"/>
                  </a:lnTo>
                  <a:lnTo>
                    <a:pt x="347" y="10"/>
                  </a:lnTo>
                  <a:lnTo>
                    <a:pt x="347" y="9"/>
                  </a:lnTo>
                  <a:lnTo>
                    <a:pt x="347" y="7"/>
                  </a:lnTo>
                  <a:lnTo>
                    <a:pt x="344" y="7"/>
                  </a:lnTo>
                  <a:lnTo>
                    <a:pt x="343" y="7"/>
                  </a:lnTo>
                  <a:lnTo>
                    <a:pt x="343" y="5"/>
                  </a:lnTo>
                  <a:lnTo>
                    <a:pt x="343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3" y="2"/>
                  </a:lnTo>
                  <a:lnTo>
                    <a:pt x="343" y="2"/>
                  </a:lnTo>
                  <a:lnTo>
                    <a:pt x="343" y="0"/>
                  </a:lnTo>
                  <a:lnTo>
                    <a:pt x="337" y="3"/>
                  </a:lnTo>
                  <a:lnTo>
                    <a:pt x="337" y="5"/>
                  </a:lnTo>
                  <a:lnTo>
                    <a:pt x="333" y="5"/>
                  </a:lnTo>
                  <a:lnTo>
                    <a:pt x="332" y="6"/>
                  </a:lnTo>
                  <a:lnTo>
                    <a:pt x="326" y="10"/>
                  </a:lnTo>
                  <a:lnTo>
                    <a:pt x="324" y="11"/>
                  </a:lnTo>
                  <a:lnTo>
                    <a:pt x="318" y="11"/>
                  </a:lnTo>
                  <a:lnTo>
                    <a:pt x="314" y="9"/>
                  </a:lnTo>
                  <a:lnTo>
                    <a:pt x="314" y="9"/>
                  </a:lnTo>
                  <a:lnTo>
                    <a:pt x="313" y="10"/>
                  </a:lnTo>
                  <a:lnTo>
                    <a:pt x="311" y="9"/>
                  </a:lnTo>
                  <a:lnTo>
                    <a:pt x="309" y="7"/>
                  </a:lnTo>
                  <a:lnTo>
                    <a:pt x="307" y="9"/>
                  </a:lnTo>
                  <a:lnTo>
                    <a:pt x="306" y="10"/>
                  </a:lnTo>
                  <a:lnTo>
                    <a:pt x="306" y="10"/>
                  </a:lnTo>
                  <a:lnTo>
                    <a:pt x="305" y="9"/>
                  </a:lnTo>
                  <a:lnTo>
                    <a:pt x="306" y="7"/>
                  </a:lnTo>
                  <a:lnTo>
                    <a:pt x="307" y="6"/>
                  </a:lnTo>
                  <a:lnTo>
                    <a:pt x="306" y="5"/>
                  </a:lnTo>
                  <a:lnTo>
                    <a:pt x="303" y="6"/>
                  </a:lnTo>
                  <a:lnTo>
                    <a:pt x="299" y="9"/>
                  </a:lnTo>
                  <a:lnTo>
                    <a:pt x="296" y="10"/>
                  </a:lnTo>
                  <a:lnTo>
                    <a:pt x="295" y="13"/>
                  </a:lnTo>
                  <a:lnTo>
                    <a:pt x="295" y="14"/>
                  </a:lnTo>
                  <a:lnTo>
                    <a:pt x="298" y="15"/>
                  </a:lnTo>
                  <a:lnTo>
                    <a:pt x="296" y="17"/>
                  </a:lnTo>
                  <a:lnTo>
                    <a:pt x="294" y="17"/>
                  </a:lnTo>
                  <a:lnTo>
                    <a:pt x="291" y="20"/>
                  </a:lnTo>
                  <a:lnTo>
                    <a:pt x="288" y="24"/>
                  </a:lnTo>
                  <a:lnTo>
                    <a:pt x="287" y="28"/>
                  </a:lnTo>
                  <a:lnTo>
                    <a:pt x="286" y="28"/>
                  </a:lnTo>
                  <a:lnTo>
                    <a:pt x="286" y="28"/>
                  </a:lnTo>
                  <a:lnTo>
                    <a:pt x="286" y="24"/>
                  </a:lnTo>
                  <a:lnTo>
                    <a:pt x="290" y="18"/>
                  </a:lnTo>
                  <a:lnTo>
                    <a:pt x="290" y="17"/>
                  </a:lnTo>
                  <a:lnTo>
                    <a:pt x="288" y="17"/>
                  </a:lnTo>
                  <a:lnTo>
                    <a:pt x="283" y="20"/>
                  </a:lnTo>
                  <a:lnTo>
                    <a:pt x="280" y="20"/>
                  </a:lnTo>
                  <a:lnTo>
                    <a:pt x="279" y="18"/>
                  </a:lnTo>
                  <a:lnTo>
                    <a:pt x="277" y="15"/>
                  </a:lnTo>
                  <a:lnTo>
                    <a:pt x="275" y="15"/>
                  </a:lnTo>
                  <a:lnTo>
                    <a:pt x="272" y="15"/>
                  </a:lnTo>
                  <a:lnTo>
                    <a:pt x="273" y="17"/>
                  </a:lnTo>
                  <a:lnTo>
                    <a:pt x="276" y="18"/>
                  </a:lnTo>
                  <a:lnTo>
                    <a:pt x="277" y="20"/>
                  </a:lnTo>
                  <a:lnTo>
                    <a:pt x="276" y="20"/>
                  </a:lnTo>
                  <a:lnTo>
                    <a:pt x="273" y="20"/>
                  </a:lnTo>
                  <a:lnTo>
                    <a:pt x="269" y="18"/>
                  </a:lnTo>
                  <a:lnTo>
                    <a:pt x="264" y="21"/>
                  </a:lnTo>
                  <a:lnTo>
                    <a:pt x="258" y="26"/>
                  </a:lnTo>
                  <a:lnTo>
                    <a:pt x="252" y="29"/>
                  </a:lnTo>
                  <a:lnTo>
                    <a:pt x="246" y="33"/>
                  </a:lnTo>
                  <a:lnTo>
                    <a:pt x="242" y="37"/>
                  </a:lnTo>
                  <a:lnTo>
                    <a:pt x="237" y="43"/>
                  </a:lnTo>
                  <a:lnTo>
                    <a:pt x="233" y="44"/>
                  </a:lnTo>
                  <a:lnTo>
                    <a:pt x="230" y="44"/>
                  </a:lnTo>
                  <a:lnTo>
                    <a:pt x="227" y="47"/>
                  </a:lnTo>
                  <a:lnTo>
                    <a:pt x="224" y="47"/>
                  </a:lnTo>
                  <a:lnTo>
                    <a:pt x="220" y="49"/>
                  </a:lnTo>
                  <a:lnTo>
                    <a:pt x="216" y="49"/>
                  </a:lnTo>
                  <a:lnTo>
                    <a:pt x="215" y="48"/>
                  </a:lnTo>
                  <a:lnTo>
                    <a:pt x="212" y="47"/>
                  </a:lnTo>
                  <a:lnTo>
                    <a:pt x="208" y="45"/>
                  </a:lnTo>
                  <a:lnTo>
                    <a:pt x="205" y="44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5"/>
                  </a:lnTo>
                  <a:lnTo>
                    <a:pt x="194" y="49"/>
                  </a:lnTo>
                  <a:lnTo>
                    <a:pt x="193" y="52"/>
                  </a:lnTo>
                  <a:lnTo>
                    <a:pt x="190" y="55"/>
                  </a:lnTo>
                  <a:lnTo>
                    <a:pt x="189" y="58"/>
                  </a:lnTo>
                  <a:lnTo>
                    <a:pt x="188" y="58"/>
                  </a:lnTo>
                  <a:lnTo>
                    <a:pt x="186" y="56"/>
                  </a:lnTo>
                  <a:lnTo>
                    <a:pt x="185" y="58"/>
                  </a:lnTo>
                  <a:lnTo>
                    <a:pt x="188" y="62"/>
                  </a:lnTo>
                  <a:lnTo>
                    <a:pt x="190" y="73"/>
                  </a:lnTo>
                  <a:lnTo>
                    <a:pt x="193" y="81"/>
                  </a:lnTo>
                  <a:lnTo>
                    <a:pt x="194" y="87"/>
                  </a:lnTo>
                  <a:lnTo>
                    <a:pt x="193" y="94"/>
                  </a:lnTo>
                  <a:lnTo>
                    <a:pt x="190" y="98"/>
                  </a:lnTo>
                  <a:lnTo>
                    <a:pt x="189" y="101"/>
                  </a:lnTo>
                  <a:lnTo>
                    <a:pt x="189" y="102"/>
                  </a:lnTo>
                  <a:lnTo>
                    <a:pt x="193" y="108"/>
                  </a:lnTo>
                  <a:lnTo>
                    <a:pt x="196" y="109"/>
                  </a:lnTo>
                  <a:lnTo>
                    <a:pt x="196" y="107"/>
                  </a:lnTo>
                  <a:lnTo>
                    <a:pt x="196" y="108"/>
                  </a:lnTo>
                  <a:lnTo>
                    <a:pt x="199" y="107"/>
                  </a:lnTo>
                  <a:lnTo>
                    <a:pt x="200" y="107"/>
                  </a:lnTo>
                  <a:lnTo>
                    <a:pt x="199" y="108"/>
                  </a:lnTo>
                  <a:lnTo>
                    <a:pt x="199" y="109"/>
                  </a:lnTo>
                  <a:lnTo>
                    <a:pt x="204" y="115"/>
                  </a:lnTo>
                  <a:lnTo>
                    <a:pt x="203" y="115"/>
                  </a:lnTo>
                  <a:lnTo>
                    <a:pt x="200" y="115"/>
                  </a:lnTo>
                  <a:lnTo>
                    <a:pt x="200" y="116"/>
                  </a:lnTo>
                  <a:lnTo>
                    <a:pt x="199" y="123"/>
                  </a:lnTo>
                  <a:lnTo>
                    <a:pt x="200" y="126"/>
                  </a:lnTo>
                  <a:lnTo>
                    <a:pt x="200" y="126"/>
                  </a:lnTo>
                  <a:lnTo>
                    <a:pt x="203" y="124"/>
                  </a:lnTo>
                  <a:lnTo>
                    <a:pt x="205" y="124"/>
                  </a:lnTo>
                  <a:lnTo>
                    <a:pt x="207" y="124"/>
                  </a:lnTo>
                  <a:lnTo>
                    <a:pt x="208" y="127"/>
                  </a:lnTo>
                  <a:lnTo>
                    <a:pt x="211" y="126"/>
                  </a:lnTo>
                  <a:lnTo>
                    <a:pt x="215" y="127"/>
                  </a:lnTo>
                  <a:lnTo>
                    <a:pt x="218" y="128"/>
                  </a:lnTo>
                  <a:lnTo>
                    <a:pt x="215" y="130"/>
                  </a:lnTo>
                  <a:lnTo>
                    <a:pt x="215" y="132"/>
                  </a:lnTo>
                  <a:lnTo>
                    <a:pt x="215" y="135"/>
                  </a:lnTo>
                  <a:lnTo>
                    <a:pt x="211" y="135"/>
                  </a:lnTo>
                  <a:lnTo>
                    <a:pt x="211" y="134"/>
                  </a:lnTo>
                  <a:lnTo>
                    <a:pt x="208" y="132"/>
                  </a:lnTo>
                  <a:lnTo>
                    <a:pt x="207" y="134"/>
                  </a:lnTo>
                  <a:lnTo>
                    <a:pt x="204" y="132"/>
                  </a:lnTo>
                  <a:lnTo>
                    <a:pt x="203" y="131"/>
                  </a:lnTo>
                  <a:lnTo>
                    <a:pt x="201" y="128"/>
                  </a:lnTo>
                  <a:lnTo>
                    <a:pt x="200" y="127"/>
                  </a:lnTo>
                  <a:lnTo>
                    <a:pt x="199" y="128"/>
                  </a:lnTo>
                  <a:lnTo>
                    <a:pt x="196" y="126"/>
                  </a:lnTo>
                  <a:lnTo>
                    <a:pt x="196" y="121"/>
                  </a:lnTo>
                  <a:lnTo>
                    <a:pt x="199" y="115"/>
                  </a:lnTo>
                  <a:lnTo>
                    <a:pt x="199" y="113"/>
                  </a:lnTo>
                  <a:lnTo>
                    <a:pt x="197" y="113"/>
                  </a:lnTo>
                  <a:lnTo>
                    <a:pt x="196" y="115"/>
                  </a:lnTo>
                  <a:lnTo>
                    <a:pt x="194" y="121"/>
                  </a:lnTo>
                  <a:lnTo>
                    <a:pt x="194" y="126"/>
                  </a:lnTo>
                  <a:lnTo>
                    <a:pt x="192" y="128"/>
                  </a:lnTo>
                  <a:lnTo>
                    <a:pt x="192" y="131"/>
                  </a:lnTo>
                  <a:lnTo>
                    <a:pt x="193" y="128"/>
                  </a:lnTo>
                  <a:lnTo>
                    <a:pt x="194" y="128"/>
                  </a:lnTo>
                  <a:lnTo>
                    <a:pt x="196" y="130"/>
                  </a:lnTo>
                  <a:lnTo>
                    <a:pt x="199" y="130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7" y="139"/>
                  </a:lnTo>
                  <a:lnTo>
                    <a:pt x="194" y="139"/>
                  </a:lnTo>
                  <a:lnTo>
                    <a:pt x="197" y="136"/>
                  </a:lnTo>
                  <a:lnTo>
                    <a:pt x="197" y="135"/>
                  </a:lnTo>
                  <a:lnTo>
                    <a:pt x="196" y="134"/>
                  </a:lnTo>
                  <a:lnTo>
                    <a:pt x="194" y="132"/>
                  </a:lnTo>
                  <a:lnTo>
                    <a:pt x="193" y="134"/>
                  </a:lnTo>
                  <a:lnTo>
                    <a:pt x="189" y="136"/>
                  </a:lnTo>
                  <a:lnTo>
                    <a:pt x="189" y="139"/>
                  </a:lnTo>
                  <a:lnTo>
                    <a:pt x="188" y="139"/>
                  </a:lnTo>
                  <a:lnTo>
                    <a:pt x="185" y="141"/>
                  </a:lnTo>
                  <a:lnTo>
                    <a:pt x="185" y="139"/>
                  </a:lnTo>
                  <a:lnTo>
                    <a:pt x="184" y="138"/>
                  </a:lnTo>
                  <a:lnTo>
                    <a:pt x="181" y="138"/>
                  </a:lnTo>
                  <a:lnTo>
                    <a:pt x="179" y="138"/>
                  </a:lnTo>
                  <a:lnTo>
                    <a:pt x="178" y="135"/>
                  </a:lnTo>
                  <a:lnTo>
                    <a:pt x="177" y="135"/>
                  </a:lnTo>
                  <a:lnTo>
                    <a:pt x="175" y="135"/>
                  </a:lnTo>
                  <a:lnTo>
                    <a:pt x="174" y="135"/>
                  </a:lnTo>
                  <a:lnTo>
                    <a:pt x="174" y="134"/>
                  </a:lnTo>
                  <a:lnTo>
                    <a:pt x="173" y="132"/>
                  </a:lnTo>
                  <a:lnTo>
                    <a:pt x="170" y="132"/>
                  </a:lnTo>
                  <a:lnTo>
                    <a:pt x="170" y="132"/>
                  </a:lnTo>
                  <a:lnTo>
                    <a:pt x="169" y="130"/>
                  </a:lnTo>
                  <a:lnTo>
                    <a:pt x="169" y="128"/>
                  </a:lnTo>
                  <a:lnTo>
                    <a:pt x="169" y="127"/>
                  </a:lnTo>
                  <a:lnTo>
                    <a:pt x="170" y="127"/>
                  </a:lnTo>
                  <a:lnTo>
                    <a:pt x="173" y="123"/>
                  </a:lnTo>
                  <a:lnTo>
                    <a:pt x="174" y="123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3" y="116"/>
                  </a:lnTo>
                  <a:lnTo>
                    <a:pt x="171" y="116"/>
                  </a:lnTo>
                  <a:lnTo>
                    <a:pt x="169" y="115"/>
                  </a:lnTo>
                  <a:lnTo>
                    <a:pt x="165" y="117"/>
                  </a:lnTo>
                  <a:lnTo>
                    <a:pt x="163" y="117"/>
                  </a:lnTo>
                  <a:lnTo>
                    <a:pt x="160" y="116"/>
                  </a:lnTo>
                  <a:lnTo>
                    <a:pt x="159" y="116"/>
                  </a:lnTo>
                  <a:lnTo>
                    <a:pt x="151" y="119"/>
                  </a:lnTo>
                  <a:lnTo>
                    <a:pt x="151" y="120"/>
                  </a:lnTo>
                  <a:lnTo>
                    <a:pt x="152" y="121"/>
                  </a:lnTo>
                  <a:lnTo>
                    <a:pt x="155" y="124"/>
                  </a:lnTo>
                  <a:lnTo>
                    <a:pt x="155" y="124"/>
                  </a:lnTo>
                  <a:lnTo>
                    <a:pt x="152" y="124"/>
                  </a:lnTo>
                  <a:lnTo>
                    <a:pt x="151" y="124"/>
                  </a:lnTo>
                  <a:lnTo>
                    <a:pt x="150" y="123"/>
                  </a:lnTo>
                  <a:lnTo>
                    <a:pt x="147" y="123"/>
                  </a:lnTo>
                  <a:lnTo>
                    <a:pt x="143" y="121"/>
                  </a:lnTo>
                  <a:lnTo>
                    <a:pt x="139" y="123"/>
                  </a:lnTo>
                  <a:lnTo>
                    <a:pt x="137" y="123"/>
                  </a:lnTo>
                  <a:lnTo>
                    <a:pt x="137" y="124"/>
                  </a:lnTo>
                  <a:lnTo>
                    <a:pt x="135" y="124"/>
                  </a:lnTo>
                  <a:lnTo>
                    <a:pt x="135" y="124"/>
                  </a:lnTo>
                  <a:lnTo>
                    <a:pt x="132" y="124"/>
                  </a:lnTo>
                  <a:lnTo>
                    <a:pt x="129" y="126"/>
                  </a:lnTo>
                  <a:lnTo>
                    <a:pt x="129" y="127"/>
                  </a:lnTo>
                  <a:lnTo>
                    <a:pt x="128" y="128"/>
                  </a:lnTo>
                  <a:lnTo>
                    <a:pt x="124" y="130"/>
                  </a:lnTo>
                  <a:lnTo>
                    <a:pt x="121" y="131"/>
                  </a:lnTo>
                  <a:lnTo>
                    <a:pt x="120" y="131"/>
                  </a:lnTo>
                  <a:lnTo>
                    <a:pt x="121" y="131"/>
                  </a:lnTo>
                  <a:lnTo>
                    <a:pt x="121" y="130"/>
                  </a:lnTo>
                  <a:lnTo>
                    <a:pt x="120" y="130"/>
                  </a:lnTo>
                  <a:lnTo>
                    <a:pt x="117" y="132"/>
                  </a:lnTo>
                  <a:lnTo>
                    <a:pt x="117" y="134"/>
                  </a:lnTo>
                  <a:lnTo>
                    <a:pt x="121" y="138"/>
                  </a:lnTo>
                  <a:lnTo>
                    <a:pt x="124" y="142"/>
                  </a:lnTo>
                  <a:lnTo>
                    <a:pt x="126" y="143"/>
                  </a:lnTo>
                  <a:lnTo>
                    <a:pt x="129" y="146"/>
                  </a:lnTo>
                  <a:lnTo>
                    <a:pt x="132" y="147"/>
                  </a:lnTo>
                  <a:lnTo>
                    <a:pt x="133" y="150"/>
                  </a:lnTo>
                  <a:lnTo>
                    <a:pt x="135" y="151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3" y="153"/>
                  </a:lnTo>
                  <a:lnTo>
                    <a:pt x="133" y="151"/>
                  </a:lnTo>
                  <a:lnTo>
                    <a:pt x="131" y="149"/>
                  </a:lnTo>
                  <a:lnTo>
                    <a:pt x="128" y="147"/>
                  </a:lnTo>
                  <a:lnTo>
                    <a:pt x="128" y="149"/>
                  </a:lnTo>
                  <a:lnTo>
                    <a:pt x="125" y="151"/>
                  </a:lnTo>
                  <a:lnTo>
                    <a:pt x="124" y="151"/>
                  </a:lnTo>
                  <a:lnTo>
                    <a:pt x="121" y="149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2" y="146"/>
                  </a:lnTo>
                  <a:lnTo>
                    <a:pt x="120" y="147"/>
                  </a:lnTo>
                  <a:lnTo>
                    <a:pt x="121" y="153"/>
                  </a:lnTo>
                  <a:lnTo>
                    <a:pt x="121" y="154"/>
                  </a:lnTo>
                  <a:lnTo>
                    <a:pt x="121" y="155"/>
                  </a:lnTo>
                  <a:lnTo>
                    <a:pt x="118" y="158"/>
                  </a:lnTo>
                  <a:lnTo>
                    <a:pt x="117" y="161"/>
                  </a:lnTo>
                  <a:lnTo>
                    <a:pt x="116" y="164"/>
                  </a:lnTo>
                  <a:lnTo>
                    <a:pt x="117" y="166"/>
                  </a:lnTo>
                  <a:lnTo>
                    <a:pt x="121" y="172"/>
                  </a:lnTo>
                  <a:lnTo>
                    <a:pt x="125" y="173"/>
                  </a:lnTo>
                  <a:lnTo>
                    <a:pt x="126" y="176"/>
                  </a:lnTo>
                  <a:lnTo>
                    <a:pt x="129" y="176"/>
                  </a:lnTo>
                  <a:lnTo>
                    <a:pt x="132" y="173"/>
                  </a:lnTo>
                  <a:lnTo>
                    <a:pt x="135" y="173"/>
                  </a:lnTo>
                  <a:lnTo>
                    <a:pt x="137" y="174"/>
                  </a:lnTo>
                  <a:lnTo>
                    <a:pt x="143" y="174"/>
                  </a:lnTo>
                  <a:lnTo>
                    <a:pt x="144" y="176"/>
                  </a:lnTo>
                  <a:lnTo>
                    <a:pt x="145" y="179"/>
                  </a:lnTo>
                  <a:lnTo>
                    <a:pt x="147" y="180"/>
                  </a:lnTo>
                  <a:lnTo>
                    <a:pt x="148" y="179"/>
                  </a:lnTo>
                  <a:lnTo>
                    <a:pt x="148" y="176"/>
                  </a:lnTo>
                  <a:lnTo>
                    <a:pt x="148" y="174"/>
                  </a:lnTo>
                  <a:lnTo>
                    <a:pt x="151" y="174"/>
                  </a:lnTo>
                  <a:lnTo>
                    <a:pt x="151" y="176"/>
                  </a:lnTo>
                  <a:lnTo>
                    <a:pt x="148" y="180"/>
                  </a:lnTo>
                  <a:lnTo>
                    <a:pt x="148" y="181"/>
                  </a:lnTo>
                  <a:lnTo>
                    <a:pt x="150" y="181"/>
                  </a:lnTo>
                  <a:lnTo>
                    <a:pt x="152" y="179"/>
                  </a:lnTo>
                  <a:lnTo>
                    <a:pt x="154" y="177"/>
                  </a:lnTo>
                  <a:lnTo>
                    <a:pt x="158" y="177"/>
                  </a:lnTo>
                  <a:lnTo>
                    <a:pt x="162" y="174"/>
                  </a:lnTo>
                  <a:lnTo>
                    <a:pt x="166" y="173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9" y="173"/>
                  </a:lnTo>
                  <a:lnTo>
                    <a:pt x="170" y="173"/>
                  </a:lnTo>
                  <a:lnTo>
                    <a:pt x="174" y="170"/>
                  </a:lnTo>
                  <a:lnTo>
                    <a:pt x="177" y="170"/>
                  </a:lnTo>
                  <a:lnTo>
                    <a:pt x="178" y="169"/>
                  </a:lnTo>
                  <a:lnTo>
                    <a:pt x="177" y="172"/>
                  </a:lnTo>
                  <a:lnTo>
                    <a:pt x="174" y="173"/>
                  </a:lnTo>
                  <a:lnTo>
                    <a:pt x="174" y="174"/>
                  </a:lnTo>
                  <a:lnTo>
                    <a:pt x="175" y="174"/>
                  </a:lnTo>
                  <a:lnTo>
                    <a:pt x="173" y="179"/>
                  </a:lnTo>
                  <a:lnTo>
                    <a:pt x="170" y="179"/>
                  </a:lnTo>
                  <a:lnTo>
                    <a:pt x="169" y="179"/>
                  </a:lnTo>
                  <a:lnTo>
                    <a:pt x="167" y="177"/>
                  </a:lnTo>
                  <a:lnTo>
                    <a:pt x="165" y="180"/>
                  </a:lnTo>
                  <a:lnTo>
                    <a:pt x="165" y="181"/>
                  </a:lnTo>
                  <a:lnTo>
                    <a:pt x="167" y="181"/>
                  </a:lnTo>
                  <a:lnTo>
                    <a:pt x="169" y="183"/>
                  </a:lnTo>
                  <a:lnTo>
                    <a:pt x="169" y="185"/>
                  </a:lnTo>
                  <a:lnTo>
                    <a:pt x="165" y="189"/>
                  </a:lnTo>
                  <a:lnTo>
                    <a:pt x="165" y="194"/>
                  </a:lnTo>
                  <a:lnTo>
                    <a:pt x="163" y="195"/>
                  </a:lnTo>
                  <a:lnTo>
                    <a:pt x="162" y="196"/>
                  </a:lnTo>
                  <a:lnTo>
                    <a:pt x="163" y="198"/>
                  </a:lnTo>
                  <a:lnTo>
                    <a:pt x="163" y="199"/>
                  </a:lnTo>
                  <a:lnTo>
                    <a:pt x="163" y="202"/>
                  </a:lnTo>
                  <a:lnTo>
                    <a:pt x="160" y="204"/>
                  </a:lnTo>
                  <a:lnTo>
                    <a:pt x="158" y="206"/>
                  </a:lnTo>
                  <a:lnTo>
                    <a:pt x="156" y="206"/>
                  </a:lnTo>
                  <a:lnTo>
                    <a:pt x="155" y="206"/>
                  </a:lnTo>
                  <a:lnTo>
                    <a:pt x="152" y="208"/>
                  </a:lnTo>
                  <a:lnTo>
                    <a:pt x="151" y="208"/>
                  </a:lnTo>
                  <a:lnTo>
                    <a:pt x="148" y="208"/>
                  </a:lnTo>
                  <a:lnTo>
                    <a:pt x="144" y="207"/>
                  </a:lnTo>
                  <a:lnTo>
                    <a:pt x="143" y="207"/>
                  </a:lnTo>
                  <a:lnTo>
                    <a:pt x="143" y="206"/>
                  </a:lnTo>
                  <a:lnTo>
                    <a:pt x="140" y="204"/>
                  </a:lnTo>
                  <a:lnTo>
                    <a:pt x="140" y="204"/>
                  </a:lnTo>
                  <a:lnTo>
                    <a:pt x="137" y="207"/>
                  </a:lnTo>
                  <a:lnTo>
                    <a:pt x="135" y="208"/>
                  </a:lnTo>
                  <a:lnTo>
                    <a:pt x="133" y="211"/>
                  </a:lnTo>
                  <a:lnTo>
                    <a:pt x="129" y="213"/>
                  </a:lnTo>
                  <a:lnTo>
                    <a:pt x="128" y="214"/>
                  </a:lnTo>
                  <a:lnTo>
                    <a:pt x="125" y="214"/>
                  </a:lnTo>
                  <a:lnTo>
                    <a:pt x="122" y="214"/>
                  </a:lnTo>
                  <a:lnTo>
                    <a:pt x="120" y="214"/>
                  </a:lnTo>
                  <a:lnTo>
                    <a:pt x="117" y="215"/>
                  </a:lnTo>
                  <a:lnTo>
                    <a:pt x="114" y="215"/>
                  </a:lnTo>
                  <a:lnTo>
                    <a:pt x="113" y="217"/>
                  </a:lnTo>
                  <a:lnTo>
                    <a:pt x="112" y="219"/>
                  </a:lnTo>
                  <a:lnTo>
                    <a:pt x="110" y="223"/>
                  </a:lnTo>
                  <a:lnTo>
                    <a:pt x="109" y="226"/>
                  </a:lnTo>
                  <a:lnTo>
                    <a:pt x="109" y="225"/>
                  </a:lnTo>
                  <a:lnTo>
                    <a:pt x="106" y="221"/>
                  </a:lnTo>
                  <a:lnTo>
                    <a:pt x="102" y="221"/>
                  </a:lnTo>
                  <a:lnTo>
                    <a:pt x="101" y="222"/>
                  </a:lnTo>
                  <a:lnTo>
                    <a:pt x="102" y="223"/>
                  </a:lnTo>
                  <a:lnTo>
                    <a:pt x="103" y="225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99" y="225"/>
                  </a:lnTo>
                  <a:lnTo>
                    <a:pt x="98" y="222"/>
                  </a:lnTo>
                  <a:lnTo>
                    <a:pt x="97" y="222"/>
                  </a:lnTo>
                  <a:lnTo>
                    <a:pt x="94" y="226"/>
                  </a:lnTo>
                  <a:lnTo>
                    <a:pt x="92" y="229"/>
                  </a:lnTo>
                  <a:lnTo>
                    <a:pt x="91" y="229"/>
                  </a:lnTo>
                  <a:lnTo>
                    <a:pt x="90" y="229"/>
                  </a:lnTo>
                  <a:lnTo>
                    <a:pt x="84" y="234"/>
                  </a:lnTo>
                  <a:lnTo>
                    <a:pt x="83" y="237"/>
                  </a:lnTo>
                  <a:lnTo>
                    <a:pt x="83" y="238"/>
                  </a:lnTo>
                  <a:lnTo>
                    <a:pt x="80" y="238"/>
                  </a:lnTo>
                  <a:lnTo>
                    <a:pt x="78" y="238"/>
                  </a:lnTo>
                  <a:lnTo>
                    <a:pt x="78" y="238"/>
                  </a:lnTo>
                  <a:lnTo>
                    <a:pt x="79" y="241"/>
                  </a:lnTo>
                  <a:lnTo>
                    <a:pt x="79" y="242"/>
                  </a:lnTo>
                  <a:lnTo>
                    <a:pt x="78" y="242"/>
                  </a:lnTo>
                  <a:lnTo>
                    <a:pt x="76" y="241"/>
                  </a:lnTo>
                  <a:lnTo>
                    <a:pt x="75" y="241"/>
                  </a:lnTo>
                  <a:lnTo>
                    <a:pt x="75" y="244"/>
                  </a:lnTo>
                  <a:lnTo>
                    <a:pt x="71" y="247"/>
                  </a:lnTo>
                  <a:lnTo>
                    <a:pt x="71" y="248"/>
                  </a:lnTo>
                  <a:lnTo>
                    <a:pt x="73" y="251"/>
                  </a:lnTo>
                  <a:lnTo>
                    <a:pt x="73" y="255"/>
                  </a:lnTo>
                  <a:lnTo>
                    <a:pt x="73" y="256"/>
                  </a:lnTo>
                  <a:lnTo>
                    <a:pt x="72" y="257"/>
                  </a:lnTo>
                  <a:lnTo>
                    <a:pt x="72" y="260"/>
                  </a:lnTo>
                  <a:lnTo>
                    <a:pt x="75" y="260"/>
                  </a:lnTo>
                  <a:lnTo>
                    <a:pt x="76" y="257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5" y="263"/>
                  </a:lnTo>
                  <a:lnTo>
                    <a:pt x="75" y="264"/>
                  </a:lnTo>
                  <a:lnTo>
                    <a:pt x="75" y="266"/>
                  </a:lnTo>
                  <a:lnTo>
                    <a:pt x="76" y="264"/>
                  </a:lnTo>
                  <a:lnTo>
                    <a:pt x="78" y="264"/>
                  </a:lnTo>
                  <a:lnTo>
                    <a:pt x="79" y="264"/>
                  </a:lnTo>
                  <a:lnTo>
                    <a:pt x="80" y="264"/>
                  </a:lnTo>
                  <a:lnTo>
                    <a:pt x="80" y="266"/>
                  </a:lnTo>
                  <a:lnTo>
                    <a:pt x="83" y="266"/>
                  </a:lnTo>
                  <a:lnTo>
                    <a:pt x="84" y="267"/>
                  </a:lnTo>
                  <a:lnTo>
                    <a:pt x="87" y="267"/>
                  </a:lnTo>
                  <a:lnTo>
                    <a:pt x="88" y="266"/>
                  </a:lnTo>
                  <a:lnTo>
                    <a:pt x="90" y="261"/>
                  </a:lnTo>
                  <a:lnTo>
                    <a:pt x="91" y="260"/>
                  </a:lnTo>
                  <a:lnTo>
                    <a:pt x="95" y="260"/>
                  </a:lnTo>
                  <a:lnTo>
                    <a:pt x="98" y="259"/>
                  </a:lnTo>
                  <a:lnTo>
                    <a:pt x="95" y="261"/>
                  </a:lnTo>
                  <a:lnTo>
                    <a:pt x="94" y="261"/>
                  </a:lnTo>
                  <a:lnTo>
                    <a:pt x="90" y="264"/>
                  </a:lnTo>
                  <a:lnTo>
                    <a:pt x="90" y="267"/>
                  </a:lnTo>
                  <a:lnTo>
                    <a:pt x="87" y="268"/>
                  </a:lnTo>
                  <a:lnTo>
                    <a:pt x="90" y="271"/>
                  </a:lnTo>
                  <a:lnTo>
                    <a:pt x="90" y="272"/>
                  </a:lnTo>
                  <a:lnTo>
                    <a:pt x="87" y="274"/>
                  </a:lnTo>
                  <a:lnTo>
                    <a:pt x="86" y="272"/>
                  </a:lnTo>
                  <a:lnTo>
                    <a:pt x="86" y="271"/>
                  </a:lnTo>
                  <a:lnTo>
                    <a:pt x="84" y="270"/>
                  </a:lnTo>
                  <a:lnTo>
                    <a:pt x="83" y="270"/>
                  </a:lnTo>
                  <a:lnTo>
                    <a:pt x="82" y="268"/>
                  </a:lnTo>
                  <a:lnTo>
                    <a:pt x="79" y="267"/>
                  </a:lnTo>
                  <a:lnTo>
                    <a:pt x="78" y="266"/>
                  </a:lnTo>
                  <a:lnTo>
                    <a:pt x="75" y="267"/>
                  </a:lnTo>
                  <a:lnTo>
                    <a:pt x="73" y="268"/>
                  </a:lnTo>
                  <a:lnTo>
                    <a:pt x="73" y="270"/>
                  </a:lnTo>
                  <a:lnTo>
                    <a:pt x="71" y="271"/>
                  </a:lnTo>
                  <a:lnTo>
                    <a:pt x="69" y="270"/>
                  </a:lnTo>
                  <a:lnTo>
                    <a:pt x="68" y="272"/>
                  </a:lnTo>
                  <a:lnTo>
                    <a:pt x="69" y="274"/>
                  </a:lnTo>
                  <a:lnTo>
                    <a:pt x="71" y="274"/>
                  </a:lnTo>
                  <a:lnTo>
                    <a:pt x="69" y="275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71" y="281"/>
                  </a:lnTo>
                  <a:lnTo>
                    <a:pt x="71" y="285"/>
                  </a:lnTo>
                  <a:lnTo>
                    <a:pt x="72" y="286"/>
                  </a:lnTo>
                  <a:lnTo>
                    <a:pt x="72" y="289"/>
                  </a:lnTo>
                  <a:lnTo>
                    <a:pt x="73" y="290"/>
                  </a:lnTo>
                  <a:lnTo>
                    <a:pt x="73" y="291"/>
                  </a:lnTo>
                  <a:lnTo>
                    <a:pt x="71" y="291"/>
                  </a:lnTo>
                  <a:lnTo>
                    <a:pt x="71" y="293"/>
                  </a:lnTo>
                  <a:lnTo>
                    <a:pt x="79" y="295"/>
                  </a:lnTo>
                  <a:lnTo>
                    <a:pt x="82" y="295"/>
                  </a:lnTo>
                  <a:lnTo>
                    <a:pt x="84" y="294"/>
                  </a:lnTo>
                  <a:lnTo>
                    <a:pt x="87" y="294"/>
                  </a:lnTo>
                  <a:lnTo>
                    <a:pt x="88" y="294"/>
                  </a:lnTo>
                  <a:lnTo>
                    <a:pt x="90" y="294"/>
                  </a:lnTo>
                  <a:lnTo>
                    <a:pt x="92" y="290"/>
                  </a:lnTo>
                  <a:lnTo>
                    <a:pt x="92" y="289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94" y="283"/>
                  </a:lnTo>
                  <a:lnTo>
                    <a:pt x="98" y="282"/>
                  </a:lnTo>
                  <a:lnTo>
                    <a:pt x="103" y="278"/>
                  </a:lnTo>
                  <a:lnTo>
                    <a:pt x="105" y="278"/>
                  </a:lnTo>
                  <a:lnTo>
                    <a:pt x="103" y="279"/>
                  </a:lnTo>
                  <a:lnTo>
                    <a:pt x="98" y="283"/>
                  </a:lnTo>
                  <a:lnTo>
                    <a:pt x="95" y="285"/>
                  </a:lnTo>
                  <a:lnTo>
                    <a:pt x="95" y="286"/>
                  </a:lnTo>
                  <a:lnTo>
                    <a:pt x="97" y="289"/>
                  </a:lnTo>
                  <a:lnTo>
                    <a:pt x="97" y="290"/>
                  </a:lnTo>
                  <a:lnTo>
                    <a:pt x="95" y="293"/>
                  </a:lnTo>
                  <a:lnTo>
                    <a:pt x="92" y="294"/>
                  </a:lnTo>
                  <a:lnTo>
                    <a:pt x="91" y="297"/>
                  </a:lnTo>
                  <a:lnTo>
                    <a:pt x="92" y="300"/>
                  </a:lnTo>
                  <a:lnTo>
                    <a:pt x="91" y="302"/>
                  </a:lnTo>
                  <a:lnTo>
                    <a:pt x="92" y="304"/>
                  </a:lnTo>
                  <a:lnTo>
                    <a:pt x="91" y="305"/>
                  </a:lnTo>
                  <a:lnTo>
                    <a:pt x="92" y="308"/>
                  </a:lnTo>
                  <a:lnTo>
                    <a:pt x="88" y="309"/>
                  </a:lnTo>
                  <a:lnTo>
                    <a:pt x="87" y="310"/>
                  </a:lnTo>
                  <a:lnTo>
                    <a:pt x="87" y="312"/>
                  </a:lnTo>
                  <a:lnTo>
                    <a:pt x="86" y="312"/>
                  </a:lnTo>
                  <a:lnTo>
                    <a:pt x="84" y="312"/>
                  </a:lnTo>
                  <a:lnTo>
                    <a:pt x="86" y="315"/>
                  </a:lnTo>
                  <a:lnTo>
                    <a:pt x="86" y="317"/>
                  </a:lnTo>
                  <a:lnTo>
                    <a:pt x="87" y="317"/>
                  </a:lnTo>
                  <a:lnTo>
                    <a:pt x="88" y="317"/>
                  </a:lnTo>
                  <a:lnTo>
                    <a:pt x="91" y="317"/>
                  </a:lnTo>
                  <a:lnTo>
                    <a:pt x="91" y="317"/>
                  </a:lnTo>
                  <a:lnTo>
                    <a:pt x="90" y="320"/>
                  </a:lnTo>
                  <a:lnTo>
                    <a:pt x="87" y="319"/>
                  </a:lnTo>
                  <a:lnTo>
                    <a:pt x="86" y="320"/>
                  </a:lnTo>
                  <a:lnTo>
                    <a:pt x="87" y="321"/>
                  </a:lnTo>
                  <a:lnTo>
                    <a:pt x="86" y="323"/>
                  </a:lnTo>
                  <a:lnTo>
                    <a:pt x="87" y="324"/>
                  </a:lnTo>
                  <a:lnTo>
                    <a:pt x="86" y="325"/>
                  </a:lnTo>
                  <a:lnTo>
                    <a:pt x="84" y="325"/>
                  </a:lnTo>
                  <a:lnTo>
                    <a:pt x="82" y="327"/>
                  </a:lnTo>
                  <a:lnTo>
                    <a:pt x="80" y="327"/>
                  </a:lnTo>
                  <a:lnTo>
                    <a:pt x="79" y="327"/>
                  </a:lnTo>
                  <a:lnTo>
                    <a:pt x="80" y="328"/>
                  </a:lnTo>
                  <a:lnTo>
                    <a:pt x="83" y="328"/>
                  </a:lnTo>
                  <a:lnTo>
                    <a:pt x="84" y="329"/>
                  </a:lnTo>
                  <a:lnTo>
                    <a:pt x="87" y="327"/>
                  </a:lnTo>
                  <a:lnTo>
                    <a:pt x="91" y="324"/>
                  </a:lnTo>
                  <a:lnTo>
                    <a:pt x="92" y="324"/>
                  </a:lnTo>
                  <a:lnTo>
                    <a:pt x="94" y="324"/>
                  </a:lnTo>
                  <a:lnTo>
                    <a:pt x="97" y="323"/>
                  </a:lnTo>
                  <a:lnTo>
                    <a:pt x="99" y="321"/>
                  </a:lnTo>
                  <a:lnTo>
                    <a:pt x="99" y="323"/>
                  </a:lnTo>
                  <a:lnTo>
                    <a:pt x="98" y="324"/>
                  </a:lnTo>
                  <a:lnTo>
                    <a:pt x="98" y="325"/>
                  </a:lnTo>
                  <a:lnTo>
                    <a:pt x="99" y="325"/>
                  </a:lnTo>
                  <a:lnTo>
                    <a:pt x="99" y="328"/>
                  </a:lnTo>
                  <a:lnTo>
                    <a:pt x="99" y="329"/>
                  </a:lnTo>
                  <a:lnTo>
                    <a:pt x="101" y="329"/>
                  </a:lnTo>
                  <a:lnTo>
                    <a:pt x="103" y="328"/>
                  </a:lnTo>
                  <a:lnTo>
                    <a:pt x="105" y="327"/>
                  </a:lnTo>
                  <a:lnTo>
                    <a:pt x="105" y="328"/>
                  </a:lnTo>
                  <a:lnTo>
                    <a:pt x="105" y="329"/>
                  </a:lnTo>
                  <a:lnTo>
                    <a:pt x="106" y="332"/>
                  </a:lnTo>
                  <a:lnTo>
                    <a:pt x="106" y="335"/>
                  </a:lnTo>
                  <a:lnTo>
                    <a:pt x="106" y="338"/>
                  </a:lnTo>
                  <a:lnTo>
                    <a:pt x="107" y="340"/>
                  </a:lnTo>
                  <a:lnTo>
                    <a:pt x="109" y="340"/>
                  </a:lnTo>
                  <a:lnTo>
                    <a:pt x="109" y="338"/>
                  </a:lnTo>
                  <a:lnTo>
                    <a:pt x="109" y="336"/>
                  </a:lnTo>
                  <a:lnTo>
                    <a:pt x="112" y="332"/>
                  </a:lnTo>
                  <a:lnTo>
                    <a:pt x="112" y="331"/>
                  </a:lnTo>
                  <a:lnTo>
                    <a:pt x="114" y="328"/>
                  </a:lnTo>
                  <a:lnTo>
                    <a:pt x="116" y="328"/>
                  </a:lnTo>
                  <a:lnTo>
                    <a:pt x="117" y="327"/>
                  </a:lnTo>
                  <a:lnTo>
                    <a:pt x="121" y="327"/>
                  </a:lnTo>
                  <a:lnTo>
                    <a:pt x="118" y="328"/>
                  </a:lnTo>
                  <a:lnTo>
                    <a:pt x="114" y="331"/>
                  </a:lnTo>
                  <a:lnTo>
                    <a:pt x="114" y="332"/>
                  </a:lnTo>
                  <a:lnTo>
                    <a:pt x="117" y="336"/>
                  </a:lnTo>
                  <a:lnTo>
                    <a:pt x="118" y="336"/>
                  </a:lnTo>
                  <a:lnTo>
                    <a:pt x="122" y="335"/>
                  </a:lnTo>
                  <a:lnTo>
                    <a:pt x="126" y="334"/>
                  </a:lnTo>
                  <a:lnTo>
                    <a:pt x="129" y="332"/>
                  </a:lnTo>
                  <a:lnTo>
                    <a:pt x="131" y="332"/>
                  </a:lnTo>
                  <a:lnTo>
                    <a:pt x="135" y="329"/>
                  </a:lnTo>
                  <a:lnTo>
                    <a:pt x="136" y="329"/>
                  </a:lnTo>
                  <a:lnTo>
                    <a:pt x="135" y="331"/>
                  </a:lnTo>
                  <a:lnTo>
                    <a:pt x="132" y="334"/>
                  </a:lnTo>
                  <a:lnTo>
                    <a:pt x="132" y="335"/>
                  </a:lnTo>
                  <a:lnTo>
                    <a:pt x="131" y="336"/>
                  </a:lnTo>
                  <a:lnTo>
                    <a:pt x="124" y="340"/>
                  </a:lnTo>
                  <a:lnTo>
                    <a:pt x="121" y="342"/>
                  </a:lnTo>
                  <a:lnTo>
                    <a:pt x="118" y="346"/>
                  </a:lnTo>
                  <a:lnTo>
                    <a:pt x="118" y="348"/>
                  </a:lnTo>
                  <a:lnTo>
                    <a:pt x="120" y="350"/>
                  </a:lnTo>
                  <a:lnTo>
                    <a:pt x="121" y="351"/>
                  </a:lnTo>
                  <a:lnTo>
                    <a:pt x="118" y="351"/>
                  </a:lnTo>
                  <a:lnTo>
                    <a:pt x="116" y="351"/>
                  </a:lnTo>
                  <a:lnTo>
                    <a:pt x="114" y="354"/>
                  </a:lnTo>
                  <a:lnTo>
                    <a:pt x="113" y="357"/>
                  </a:lnTo>
                  <a:lnTo>
                    <a:pt x="110" y="361"/>
                  </a:lnTo>
                  <a:lnTo>
                    <a:pt x="109" y="362"/>
                  </a:lnTo>
                  <a:lnTo>
                    <a:pt x="110" y="363"/>
                  </a:lnTo>
                  <a:lnTo>
                    <a:pt x="110" y="365"/>
                  </a:lnTo>
                  <a:lnTo>
                    <a:pt x="110" y="366"/>
                  </a:lnTo>
                  <a:lnTo>
                    <a:pt x="109" y="366"/>
                  </a:lnTo>
                  <a:lnTo>
                    <a:pt x="107" y="365"/>
                  </a:lnTo>
                  <a:lnTo>
                    <a:pt x="106" y="365"/>
                  </a:lnTo>
                  <a:lnTo>
                    <a:pt x="105" y="366"/>
                  </a:lnTo>
                  <a:lnTo>
                    <a:pt x="102" y="369"/>
                  </a:lnTo>
                  <a:lnTo>
                    <a:pt x="102" y="370"/>
                  </a:lnTo>
                  <a:lnTo>
                    <a:pt x="102" y="372"/>
                  </a:lnTo>
                  <a:lnTo>
                    <a:pt x="99" y="372"/>
                  </a:lnTo>
                  <a:lnTo>
                    <a:pt x="99" y="370"/>
                  </a:lnTo>
                  <a:lnTo>
                    <a:pt x="98" y="370"/>
                  </a:lnTo>
                  <a:lnTo>
                    <a:pt x="92" y="374"/>
                  </a:lnTo>
                  <a:lnTo>
                    <a:pt x="91" y="377"/>
                  </a:lnTo>
                  <a:lnTo>
                    <a:pt x="92" y="378"/>
                  </a:lnTo>
                  <a:lnTo>
                    <a:pt x="91" y="380"/>
                  </a:lnTo>
                  <a:lnTo>
                    <a:pt x="90" y="378"/>
                  </a:lnTo>
                  <a:lnTo>
                    <a:pt x="90" y="377"/>
                  </a:lnTo>
                  <a:lnTo>
                    <a:pt x="86" y="378"/>
                  </a:lnTo>
                  <a:lnTo>
                    <a:pt x="83" y="380"/>
                  </a:lnTo>
                  <a:lnTo>
                    <a:pt x="82" y="381"/>
                  </a:lnTo>
                  <a:lnTo>
                    <a:pt x="80" y="382"/>
                  </a:lnTo>
                  <a:lnTo>
                    <a:pt x="79" y="384"/>
                  </a:lnTo>
                  <a:lnTo>
                    <a:pt x="76" y="384"/>
                  </a:lnTo>
                  <a:lnTo>
                    <a:pt x="72" y="387"/>
                  </a:lnTo>
                  <a:lnTo>
                    <a:pt x="67" y="388"/>
                  </a:lnTo>
                  <a:lnTo>
                    <a:pt x="64" y="391"/>
                  </a:lnTo>
                  <a:lnTo>
                    <a:pt x="63" y="395"/>
                  </a:lnTo>
                  <a:lnTo>
                    <a:pt x="61" y="396"/>
                  </a:lnTo>
                  <a:lnTo>
                    <a:pt x="63" y="397"/>
                  </a:lnTo>
                  <a:lnTo>
                    <a:pt x="63" y="399"/>
                  </a:lnTo>
                  <a:lnTo>
                    <a:pt x="61" y="400"/>
                  </a:lnTo>
                  <a:lnTo>
                    <a:pt x="60" y="397"/>
                  </a:lnTo>
                  <a:lnTo>
                    <a:pt x="60" y="397"/>
                  </a:lnTo>
                  <a:lnTo>
                    <a:pt x="58" y="399"/>
                  </a:lnTo>
                  <a:lnTo>
                    <a:pt x="58" y="400"/>
                  </a:lnTo>
                  <a:lnTo>
                    <a:pt x="58" y="402"/>
                  </a:lnTo>
                  <a:lnTo>
                    <a:pt x="57" y="399"/>
                  </a:lnTo>
                  <a:lnTo>
                    <a:pt x="57" y="397"/>
                  </a:lnTo>
                  <a:lnTo>
                    <a:pt x="57" y="396"/>
                  </a:lnTo>
                  <a:lnTo>
                    <a:pt x="56" y="395"/>
                  </a:lnTo>
                  <a:lnTo>
                    <a:pt x="53" y="395"/>
                  </a:lnTo>
                  <a:lnTo>
                    <a:pt x="53" y="395"/>
                  </a:lnTo>
                  <a:lnTo>
                    <a:pt x="50" y="395"/>
                  </a:lnTo>
                  <a:lnTo>
                    <a:pt x="46" y="396"/>
                  </a:lnTo>
                  <a:lnTo>
                    <a:pt x="45" y="396"/>
                  </a:lnTo>
                  <a:lnTo>
                    <a:pt x="44" y="399"/>
                  </a:lnTo>
                  <a:lnTo>
                    <a:pt x="41" y="400"/>
                  </a:lnTo>
                  <a:lnTo>
                    <a:pt x="38" y="402"/>
                  </a:lnTo>
                  <a:lnTo>
                    <a:pt x="34" y="404"/>
                  </a:lnTo>
                  <a:lnTo>
                    <a:pt x="35" y="406"/>
                  </a:lnTo>
                  <a:lnTo>
                    <a:pt x="34" y="407"/>
                  </a:lnTo>
                  <a:lnTo>
                    <a:pt x="33" y="407"/>
                  </a:lnTo>
                  <a:lnTo>
                    <a:pt x="30" y="407"/>
                  </a:lnTo>
                  <a:lnTo>
                    <a:pt x="29" y="408"/>
                  </a:lnTo>
                  <a:lnTo>
                    <a:pt x="29" y="410"/>
                  </a:lnTo>
                  <a:lnTo>
                    <a:pt x="27" y="410"/>
                  </a:lnTo>
                  <a:lnTo>
                    <a:pt x="26" y="410"/>
                  </a:lnTo>
                  <a:lnTo>
                    <a:pt x="23" y="410"/>
                  </a:lnTo>
                  <a:lnTo>
                    <a:pt x="23" y="412"/>
                  </a:lnTo>
                  <a:lnTo>
                    <a:pt x="22" y="414"/>
                  </a:lnTo>
                  <a:lnTo>
                    <a:pt x="23" y="415"/>
                  </a:lnTo>
                  <a:lnTo>
                    <a:pt x="24" y="415"/>
                  </a:lnTo>
                  <a:lnTo>
                    <a:pt x="24" y="414"/>
                  </a:lnTo>
                  <a:lnTo>
                    <a:pt x="24" y="412"/>
                  </a:lnTo>
                  <a:lnTo>
                    <a:pt x="26" y="411"/>
                  </a:lnTo>
                  <a:lnTo>
                    <a:pt x="27" y="412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9" y="414"/>
                  </a:lnTo>
                  <a:lnTo>
                    <a:pt x="31" y="411"/>
                  </a:lnTo>
                  <a:lnTo>
                    <a:pt x="31" y="410"/>
                  </a:lnTo>
                  <a:lnTo>
                    <a:pt x="33" y="411"/>
                  </a:lnTo>
                  <a:lnTo>
                    <a:pt x="33" y="412"/>
                  </a:lnTo>
                  <a:lnTo>
                    <a:pt x="33" y="414"/>
                  </a:lnTo>
                  <a:lnTo>
                    <a:pt x="34" y="414"/>
                  </a:lnTo>
                  <a:lnTo>
                    <a:pt x="35" y="411"/>
                  </a:lnTo>
                  <a:lnTo>
                    <a:pt x="37" y="414"/>
                  </a:lnTo>
                  <a:lnTo>
                    <a:pt x="37" y="414"/>
                  </a:lnTo>
                  <a:lnTo>
                    <a:pt x="37" y="411"/>
                  </a:lnTo>
                  <a:lnTo>
                    <a:pt x="38" y="411"/>
                  </a:lnTo>
                  <a:lnTo>
                    <a:pt x="41" y="411"/>
                  </a:lnTo>
                  <a:lnTo>
                    <a:pt x="44" y="410"/>
                  </a:lnTo>
                  <a:lnTo>
                    <a:pt x="45" y="407"/>
                  </a:lnTo>
                  <a:lnTo>
                    <a:pt x="44" y="406"/>
                  </a:lnTo>
                  <a:lnTo>
                    <a:pt x="46" y="404"/>
                  </a:lnTo>
                  <a:lnTo>
                    <a:pt x="48" y="402"/>
                  </a:lnTo>
                  <a:lnTo>
                    <a:pt x="49" y="402"/>
                  </a:lnTo>
                  <a:lnTo>
                    <a:pt x="52" y="403"/>
                  </a:lnTo>
                  <a:lnTo>
                    <a:pt x="50" y="404"/>
                  </a:lnTo>
                  <a:lnTo>
                    <a:pt x="49" y="404"/>
                  </a:lnTo>
                  <a:lnTo>
                    <a:pt x="48" y="407"/>
                  </a:lnTo>
                  <a:lnTo>
                    <a:pt x="48" y="408"/>
                  </a:lnTo>
                  <a:lnTo>
                    <a:pt x="49" y="410"/>
                  </a:lnTo>
                  <a:lnTo>
                    <a:pt x="52" y="407"/>
                  </a:lnTo>
                  <a:lnTo>
                    <a:pt x="53" y="406"/>
                  </a:lnTo>
                  <a:lnTo>
                    <a:pt x="54" y="404"/>
                  </a:lnTo>
                  <a:lnTo>
                    <a:pt x="54" y="406"/>
                  </a:lnTo>
                  <a:lnTo>
                    <a:pt x="54" y="404"/>
                  </a:lnTo>
                  <a:lnTo>
                    <a:pt x="56" y="404"/>
                  </a:lnTo>
                  <a:lnTo>
                    <a:pt x="57" y="406"/>
                  </a:lnTo>
                  <a:lnTo>
                    <a:pt x="56" y="407"/>
                  </a:lnTo>
                  <a:lnTo>
                    <a:pt x="57" y="408"/>
                  </a:lnTo>
                  <a:lnTo>
                    <a:pt x="58" y="406"/>
                  </a:lnTo>
                  <a:lnTo>
                    <a:pt x="60" y="406"/>
                  </a:lnTo>
                  <a:lnTo>
                    <a:pt x="61" y="404"/>
                  </a:lnTo>
                  <a:lnTo>
                    <a:pt x="64" y="404"/>
                  </a:lnTo>
                  <a:lnTo>
                    <a:pt x="65" y="402"/>
                  </a:lnTo>
                  <a:lnTo>
                    <a:pt x="68" y="400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8" y="404"/>
                  </a:lnTo>
                  <a:lnTo>
                    <a:pt x="67" y="407"/>
                  </a:lnTo>
                  <a:lnTo>
                    <a:pt x="67" y="407"/>
                  </a:lnTo>
                  <a:lnTo>
                    <a:pt x="68" y="407"/>
                  </a:lnTo>
                  <a:lnTo>
                    <a:pt x="71" y="404"/>
                  </a:lnTo>
                  <a:lnTo>
                    <a:pt x="71" y="400"/>
                  </a:lnTo>
                  <a:lnTo>
                    <a:pt x="72" y="400"/>
                  </a:lnTo>
                  <a:lnTo>
                    <a:pt x="72" y="402"/>
                  </a:lnTo>
                  <a:lnTo>
                    <a:pt x="75" y="400"/>
                  </a:lnTo>
                  <a:lnTo>
                    <a:pt x="76" y="400"/>
                  </a:lnTo>
                  <a:lnTo>
                    <a:pt x="78" y="400"/>
                  </a:lnTo>
                  <a:lnTo>
                    <a:pt x="80" y="399"/>
                  </a:lnTo>
                  <a:lnTo>
                    <a:pt x="82" y="397"/>
                  </a:lnTo>
                  <a:lnTo>
                    <a:pt x="82" y="399"/>
                  </a:lnTo>
                  <a:lnTo>
                    <a:pt x="83" y="396"/>
                  </a:lnTo>
                  <a:lnTo>
                    <a:pt x="84" y="395"/>
                  </a:lnTo>
                  <a:lnTo>
                    <a:pt x="84" y="396"/>
                  </a:lnTo>
                  <a:lnTo>
                    <a:pt x="84" y="397"/>
                  </a:lnTo>
                  <a:lnTo>
                    <a:pt x="84" y="399"/>
                  </a:lnTo>
                  <a:lnTo>
                    <a:pt x="86" y="399"/>
                  </a:lnTo>
                  <a:lnTo>
                    <a:pt x="87" y="396"/>
                  </a:lnTo>
                  <a:lnTo>
                    <a:pt x="87" y="396"/>
                  </a:lnTo>
                  <a:lnTo>
                    <a:pt x="88" y="395"/>
                  </a:lnTo>
                  <a:lnTo>
                    <a:pt x="88" y="393"/>
                  </a:lnTo>
                  <a:lnTo>
                    <a:pt x="84" y="393"/>
                  </a:lnTo>
                  <a:lnTo>
                    <a:pt x="84" y="393"/>
                  </a:lnTo>
                  <a:lnTo>
                    <a:pt x="87" y="392"/>
                  </a:lnTo>
                  <a:lnTo>
                    <a:pt x="90" y="391"/>
                  </a:lnTo>
                  <a:lnTo>
                    <a:pt x="95" y="391"/>
                  </a:lnTo>
                  <a:lnTo>
                    <a:pt x="97" y="389"/>
                  </a:lnTo>
                  <a:lnTo>
                    <a:pt x="95" y="388"/>
                  </a:lnTo>
                  <a:lnTo>
                    <a:pt x="95" y="388"/>
                  </a:lnTo>
                  <a:lnTo>
                    <a:pt x="95" y="387"/>
                  </a:lnTo>
                  <a:lnTo>
                    <a:pt x="98" y="387"/>
                  </a:lnTo>
                  <a:lnTo>
                    <a:pt x="99" y="385"/>
                  </a:lnTo>
                  <a:lnTo>
                    <a:pt x="101" y="385"/>
                  </a:lnTo>
                  <a:lnTo>
                    <a:pt x="101" y="388"/>
                  </a:lnTo>
                  <a:lnTo>
                    <a:pt x="102" y="388"/>
                  </a:lnTo>
                  <a:lnTo>
                    <a:pt x="103" y="385"/>
                  </a:lnTo>
                  <a:lnTo>
                    <a:pt x="102" y="385"/>
                  </a:lnTo>
                  <a:lnTo>
                    <a:pt x="103" y="384"/>
                  </a:lnTo>
                  <a:lnTo>
                    <a:pt x="105" y="381"/>
                  </a:lnTo>
                  <a:lnTo>
                    <a:pt x="105" y="381"/>
                  </a:lnTo>
                  <a:lnTo>
                    <a:pt x="106" y="382"/>
                  </a:lnTo>
                  <a:lnTo>
                    <a:pt x="106" y="384"/>
                  </a:lnTo>
                  <a:lnTo>
                    <a:pt x="107" y="384"/>
                  </a:lnTo>
                  <a:lnTo>
                    <a:pt x="110" y="382"/>
                  </a:lnTo>
                  <a:lnTo>
                    <a:pt x="112" y="381"/>
                  </a:lnTo>
                  <a:lnTo>
                    <a:pt x="113" y="381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16" y="380"/>
                  </a:lnTo>
                  <a:lnTo>
                    <a:pt x="118" y="378"/>
                  </a:lnTo>
                  <a:lnTo>
                    <a:pt x="120" y="376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18" y="374"/>
                  </a:lnTo>
                  <a:lnTo>
                    <a:pt x="117" y="374"/>
                  </a:lnTo>
                  <a:lnTo>
                    <a:pt x="121" y="372"/>
                  </a:lnTo>
                  <a:lnTo>
                    <a:pt x="122" y="370"/>
                  </a:lnTo>
                  <a:lnTo>
                    <a:pt x="125" y="369"/>
                  </a:lnTo>
                  <a:lnTo>
                    <a:pt x="125" y="369"/>
                  </a:lnTo>
                  <a:lnTo>
                    <a:pt x="126" y="370"/>
                  </a:lnTo>
                  <a:lnTo>
                    <a:pt x="129" y="368"/>
                  </a:lnTo>
                  <a:lnTo>
                    <a:pt x="131" y="366"/>
                  </a:lnTo>
                  <a:lnTo>
                    <a:pt x="132" y="365"/>
                  </a:lnTo>
                  <a:lnTo>
                    <a:pt x="133" y="365"/>
                  </a:lnTo>
                  <a:lnTo>
                    <a:pt x="133" y="363"/>
                  </a:lnTo>
                  <a:lnTo>
                    <a:pt x="135" y="363"/>
                  </a:lnTo>
                  <a:lnTo>
                    <a:pt x="136" y="365"/>
                  </a:lnTo>
                  <a:lnTo>
                    <a:pt x="137" y="365"/>
                  </a:lnTo>
                  <a:lnTo>
                    <a:pt x="137" y="363"/>
                  </a:lnTo>
                  <a:lnTo>
                    <a:pt x="139" y="363"/>
                  </a:lnTo>
                  <a:lnTo>
                    <a:pt x="140" y="362"/>
                  </a:lnTo>
                  <a:lnTo>
                    <a:pt x="140" y="361"/>
                  </a:lnTo>
                  <a:lnTo>
                    <a:pt x="143" y="361"/>
                  </a:lnTo>
                  <a:lnTo>
                    <a:pt x="143" y="359"/>
                  </a:lnTo>
                  <a:lnTo>
                    <a:pt x="144" y="359"/>
                  </a:lnTo>
                  <a:lnTo>
                    <a:pt x="147" y="361"/>
                  </a:lnTo>
                  <a:lnTo>
                    <a:pt x="148" y="358"/>
                  </a:lnTo>
                  <a:lnTo>
                    <a:pt x="148" y="358"/>
                  </a:lnTo>
                  <a:lnTo>
                    <a:pt x="148" y="359"/>
                  </a:lnTo>
                  <a:lnTo>
                    <a:pt x="150" y="359"/>
                  </a:lnTo>
                  <a:lnTo>
                    <a:pt x="151" y="358"/>
                  </a:lnTo>
                  <a:lnTo>
                    <a:pt x="152" y="359"/>
                  </a:lnTo>
                  <a:lnTo>
                    <a:pt x="152" y="358"/>
                  </a:lnTo>
                  <a:lnTo>
                    <a:pt x="154" y="355"/>
                  </a:lnTo>
                  <a:lnTo>
                    <a:pt x="152" y="355"/>
                  </a:lnTo>
                  <a:lnTo>
                    <a:pt x="151" y="355"/>
                  </a:lnTo>
                  <a:lnTo>
                    <a:pt x="152" y="354"/>
                  </a:lnTo>
                  <a:lnTo>
                    <a:pt x="155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3"/>
                  </a:lnTo>
                  <a:lnTo>
                    <a:pt x="156" y="351"/>
                  </a:lnTo>
                  <a:lnTo>
                    <a:pt x="155" y="350"/>
                  </a:lnTo>
                  <a:lnTo>
                    <a:pt x="156" y="350"/>
                  </a:lnTo>
                  <a:lnTo>
                    <a:pt x="158" y="350"/>
                  </a:lnTo>
                  <a:lnTo>
                    <a:pt x="160" y="348"/>
                  </a:lnTo>
                  <a:lnTo>
                    <a:pt x="163" y="348"/>
                  </a:lnTo>
                  <a:lnTo>
                    <a:pt x="166" y="346"/>
                  </a:lnTo>
                  <a:lnTo>
                    <a:pt x="167" y="346"/>
                  </a:lnTo>
                  <a:lnTo>
                    <a:pt x="170" y="343"/>
                  </a:lnTo>
                  <a:lnTo>
                    <a:pt x="170" y="340"/>
                  </a:lnTo>
                  <a:lnTo>
                    <a:pt x="169" y="339"/>
                  </a:lnTo>
                  <a:lnTo>
                    <a:pt x="169" y="339"/>
                  </a:lnTo>
                  <a:lnTo>
                    <a:pt x="167" y="336"/>
                  </a:lnTo>
                  <a:lnTo>
                    <a:pt x="166" y="335"/>
                  </a:lnTo>
                  <a:lnTo>
                    <a:pt x="163" y="336"/>
                  </a:lnTo>
                  <a:lnTo>
                    <a:pt x="165" y="334"/>
                  </a:lnTo>
                  <a:lnTo>
                    <a:pt x="163" y="331"/>
                  </a:lnTo>
                  <a:lnTo>
                    <a:pt x="167" y="329"/>
                  </a:lnTo>
                  <a:lnTo>
                    <a:pt x="167" y="329"/>
                  </a:lnTo>
                  <a:lnTo>
                    <a:pt x="169" y="328"/>
                  </a:lnTo>
                  <a:lnTo>
                    <a:pt x="170" y="327"/>
                  </a:lnTo>
                  <a:lnTo>
                    <a:pt x="169" y="327"/>
                  </a:lnTo>
                  <a:lnTo>
                    <a:pt x="170" y="325"/>
                  </a:lnTo>
                  <a:lnTo>
                    <a:pt x="173" y="327"/>
                  </a:lnTo>
                  <a:lnTo>
                    <a:pt x="175" y="324"/>
                  </a:lnTo>
                  <a:lnTo>
                    <a:pt x="178" y="327"/>
                  </a:lnTo>
                  <a:lnTo>
                    <a:pt x="181" y="324"/>
                  </a:lnTo>
                  <a:lnTo>
                    <a:pt x="181" y="327"/>
                  </a:lnTo>
                  <a:lnTo>
                    <a:pt x="181" y="328"/>
                  </a:lnTo>
                  <a:lnTo>
                    <a:pt x="182" y="327"/>
                  </a:lnTo>
                  <a:lnTo>
                    <a:pt x="185" y="324"/>
                  </a:lnTo>
                  <a:lnTo>
                    <a:pt x="184" y="324"/>
                  </a:lnTo>
                  <a:lnTo>
                    <a:pt x="184" y="323"/>
                  </a:lnTo>
                  <a:lnTo>
                    <a:pt x="182" y="321"/>
                  </a:lnTo>
                  <a:lnTo>
                    <a:pt x="184" y="321"/>
                  </a:lnTo>
                  <a:lnTo>
                    <a:pt x="186" y="323"/>
                  </a:lnTo>
                  <a:lnTo>
                    <a:pt x="190" y="321"/>
                  </a:lnTo>
                  <a:lnTo>
                    <a:pt x="190" y="319"/>
                  </a:lnTo>
                  <a:lnTo>
                    <a:pt x="190" y="316"/>
                  </a:lnTo>
                  <a:lnTo>
                    <a:pt x="186" y="313"/>
                  </a:lnTo>
                  <a:lnTo>
                    <a:pt x="185" y="313"/>
                  </a:lnTo>
                  <a:lnTo>
                    <a:pt x="184" y="315"/>
                  </a:lnTo>
                  <a:lnTo>
                    <a:pt x="184" y="313"/>
                  </a:lnTo>
                  <a:lnTo>
                    <a:pt x="185" y="312"/>
                  </a:lnTo>
                  <a:lnTo>
                    <a:pt x="189" y="312"/>
                  </a:lnTo>
                  <a:lnTo>
                    <a:pt x="190" y="313"/>
                  </a:lnTo>
                  <a:lnTo>
                    <a:pt x="193" y="313"/>
                  </a:lnTo>
                  <a:lnTo>
                    <a:pt x="196" y="312"/>
                  </a:lnTo>
                  <a:lnTo>
                    <a:pt x="196" y="310"/>
                  </a:lnTo>
                  <a:lnTo>
                    <a:pt x="201" y="308"/>
                  </a:lnTo>
                  <a:lnTo>
                    <a:pt x="204" y="305"/>
                  </a:lnTo>
                  <a:lnTo>
                    <a:pt x="207" y="305"/>
                  </a:lnTo>
                  <a:lnTo>
                    <a:pt x="207" y="304"/>
                  </a:lnTo>
                  <a:lnTo>
                    <a:pt x="207" y="302"/>
                  </a:lnTo>
                  <a:lnTo>
                    <a:pt x="212" y="298"/>
                  </a:lnTo>
                  <a:lnTo>
                    <a:pt x="216" y="298"/>
                  </a:lnTo>
                  <a:lnTo>
                    <a:pt x="220" y="294"/>
                  </a:lnTo>
                  <a:lnTo>
                    <a:pt x="224" y="294"/>
                  </a:lnTo>
                  <a:lnTo>
                    <a:pt x="228" y="289"/>
                  </a:lnTo>
                  <a:lnTo>
                    <a:pt x="227" y="291"/>
                  </a:lnTo>
                  <a:lnTo>
                    <a:pt x="227" y="294"/>
                  </a:lnTo>
                  <a:lnTo>
                    <a:pt x="228" y="295"/>
                  </a:lnTo>
                  <a:lnTo>
                    <a:pt x="230" y="295"/>
                  </a:lnTo>
                  <a:lnTo>
                    <a:pt x="231" y="295"/>
                  </a:lnTo>
                  <a:lnTo>
                    <a:pt x="234" y="293"/>
                  </a:lnTo>
                  <a:lnTo>
                    <a:pt x="237" y="291"/>
                  </a:lnTo>
                  <a:lnTo>
                    <a:pt x="241" y="290"/>
                  </a:lnTo>
                  <a:lnTo>
                    <a:pt x="242" y="289"/>
                  </a:lnTo>
                  <a:lnTo>
                    <a:pt x="242" y="291"/>
                  </a:lnTo>
                  <a:lnTo>
                    <a:pt x="238" y="294"/>
                  </a:lnTo>
                  <a:lnTo>
                    <a:pt x="235" y="294"/>
                  </a:lnTo>
                  <a:lnTo>
                    <a:pt x="230" y="300"/>
                  </a:lnTo>
                  <a:lnTo>
                    <a:pt x="230" y="301"/>
                  </a:lnTo>
                  <a:lnTo>
                    <a:pt x="233" y="305"/>
                  </a:lnTo>
                  <a:lnTo>
                    <a:pt x="233" y="308"/>
                  </a:lnTo>
                  <a:lnTo>
                    <a:pt x="230" y="305"/>
                  </a:lnTo>
                  <a:lnTo>
                    <a:pt x="228" y="305"/>
                  </a:lnTo>
                  <a:lnTo>
                    <a:pt x="227" y="306"/>
                  </a:lnTo>
                  <a:lnTo>
                    <a:pt x="226" y="306"/>
                  </a:lnTo>
                  <a:lnTo>
                    <a:pt x="223" y="304"/>
                  </a:lnTo>
                  <a:lnTo>
                    <a:pt x="223" y="301"/>
                  </a:lnTo>
                  <a:lnTo>
                    <a:pt x="219" y="302"/>
                  </a:lnTo>
                  <a:lnTo>
                    <a:pt x="218" y="304"/>
                  </a:lnTo>
                  <a:lnTo>
                    <a:pt x="213" y="305"/>
                  </a:lnTo>
                  <a:lnTo>
                    <a:pt x="211" y="305"/>
                  </a:lnTo>
                  <a:lnTo>
                    <a:pt x="208" y="308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07" y="315"/>
                  </a:lnTo>
                  <a:lnTo>
                    <a:pt x="204" y="316"/>
                  </a:lnTo>
                  <a:lnTo>
                    <a:pt x="203" y="320"/>
                  </a:lnTo>
                  <a:lnTo>
                    <a:pt x="196" y="325"/>
                  </a:lnTo>
                  <a:lnTo>
                    <a:pt x="194" y="328"/>
                  </a:lnTo>
                  <a:lnTo>
                    <a:pt x="194" y="329"/>
                  </a:lnTo>
                  <a:lnTo>
                    <a:pt x="197" y="332"/>
                  </a:lnTo>
                  <a:lnTo>
                    <a:pt x="199" y="331"/>
                  </a:lnTo>
                  <a:lnTo>
                    <a:pt x="200" y="331"/>
                  </a:lnTo>
                  <a:lnTo>
                    <a:pt x="201" y="329"/>
                  </a:lnTo>
                  <a:lnTo>
                    <a:pt x="203" y="329"/>
                  </a:lnTo>
                  <a:lnTo>
                    <a:pt x="203" y="331"/>
                  </a:lnTo>
                  <a:lnTo>
                    <a:pt x="199" y="334"/>
                  </a:lnTo>
                  <a:lnTo>
                    <a:pt x="197" y="334"/>
                  </a:lnTo>
                  <a:lnTo>
                    <a:pt x="196" y="336"/>
                  </a:lnTo>
                  <a:lnTo>
                    <a:pt x="194" y="335"/>
                  </a:lnTo>
                  <a:lnTo>
                    <a:pt x="192" y="335"/>
                  </a:lnTo>
                  <a:lnTo>
                    <a:pt x="190" y="336"/>
                  </a:lnTo>
                  <a:lnTo>
                    <a:pt x="190" y="338"/>
                  </a:lnTo>
                  <a:lnTo>
                    <a:pt x="189" y="338"/>
                  </a:lnTo>
                  <a:lnTo>
                    <a:pt x="188" y="338"/>
                  </a:lnTo>
                  <a:lnTo>
                    <a:pt x="188" y="340"/>
                  </a:lnTo>
                  <a:lnTo>
                    <a:pt x="190" y="344"/>
                  </a:lnTo>
                  <a:lnTo>
                    <a:pt x="192" y="344"/>
                  </a:lnTo>
                  <a:lnTo>
                    <a:pt x="193" y="342"/>
                  </a:lnTo>
                  <a:lnTo>
                    <a:pt x="194" y="343"/>
                  </a:lnTo>
                  <a:lnTo>
                    <a:pt x="194" y="342"/>
                  </a:lnTo>
                  <a:lnTo>
                    <a:pt x="196" y="342"/>
                  </a:lnTo>
                  <a:lnTo>
                    <a:pt x="196" y="343"/>
                  </a:lnTo>
                  <a:lnTo>
                    <a:pt x="197" y="342"/>
                  </a:lnTo>
                  <a:lnTo>
                    <a:pt x="199" y="340"/>
                  </a:lnTo>
                  <a:lnTo>
                    <a:pt x="200" y="340"/>
                  </a:lnTo>
                  <a:lnTo>
                    <a:pt x="203" y="339"/>
                  </a:lnTo>
                  <a:lnTo>
                    <a:pt x="203" y="336"/>
                  </a:lnTo>
                  <a:lnTo>
                    <a:pt x="204" y="335"/>
                  </a:lnTo>
                  <a:lnTo>
                    <a:pt x="204" y="335"/>
                  </a:lnTo>
                  <a:lnTo>
                    <a:pt x="204" y="336"/>
                  </a:lnTo>
                  <a:lnTo>
                    <a:pt x="204" y="338"/>
                  </a:lnTo>
                  <a:lnTo>
                    <a:pt x="207" y="338"/>
                  </a:lnTo>
                  <a:lnTo>
                    <a:pt x="211" y="335"/>
                  </a:lnTo>
                  <a:lnTo>
                    <a:pt x="213" y="335"/>
                  </a:lnTo>
                  <a:lnTo>
                    <a:pt x="213" y="336"/>
                  </a:lnTo>
                  <a:lnTo>
                    <a:pt x="215" y="335"/>
                  </a:lnTo>
                  <a:lnTo>
                    <a:pt x="216" y="331"/>
                  </a:lnTo>
                  <a:lnTo>
                    <a:pt x="219" y="329"/>
                  </a:lnTo>
                  <a:lnTo>
                    <a:pt x="220" y="329"/>
                  </a:lnTo>
                  <a:lnTo>
                    <a:pt x="218" y="332"/>
                  </a:lnTo>
                  <a:lnTo>
                    <a:pt x="218" y="335"/>
                  </a:lnTo>
                  <a:lnTo>
                    <a:pt x="219" y="334"/>
                  </a:lnTo>
                  <a:lnTo>
                    <a:pt x="222" y="331"/>
                  </a:lnTo>
                  <a:lnTo>
                    <a:pt x="223" y="327"/>
                  </a:lnTo>
                  <a:lnTo>
                    <a:pt x="224" y="325"/>
                  </a:lnTo>
                  <a:lnTo>
                    <a:pt x="224" y="327"/>
                  </a:lnTo>
                  <a:lnTo>
                    <a:pt x="223" y="329"/>
                  </a:lnTo>
                  <a:lnTo>
                    <a:pt x="223" y="331"/>
                  </a:lnTo>
                  <a:lnTo>
                    <a:pt x="226" y="328"/>
                  </a:lnTo>
                  <a:lnTo>
                    <a:pt x="227" y="329"/>
                  </a:lnTo>
                  <a:lnTo>
                    <a:pt x="226" y="331"/>
                  </a:lnTo>
                  <a:lnTo>
                    <a:pt x="228" y="331"/>
                  </a:lnTo>
                  <a:lnTo>
                    <a:pt x="230" y="332"/>
                  </a:lnTo>
                  <a:lnTo>
                    <a:pt x="231" y="331"/>
                  </a:lnTo>
                  <a:lnTo>
                    <a:pt x="233" y="328"/>
                  </a:lnTo>
                  <a:lnTo>
                    <a:pt x="235" y="328"/>
                  </a:lnTo>
                  <a:lnTo>
                    <a:pt x="238" y="327"/>
                  </a:lnTo>
                  <a:lnTo>
                    <a:pt x="237" y="325"/>
                  </a:lnTo>
                  <a:lnTo>
                    <a:pt x="237" y="323"/>
                  </a:lnTo>
                  <a:lnTo>
                    <a:pt x="242" y="321"/>
                  </a:lnTo>
                  <a:lnTo>
                    <a:pt x="242" y="320"/>
                  </a:lnTo>
                  <a:lnTo>
                    <a:pt x="242" y="317"/>
                  </a:lnTo>
                  <a:lnTo>
                    <a:pt x="241" y="319"/>
                  </a:lnTo>
                  <a:lnTo>
                    <a:pt x="239" y="317"/>
                  </a:lnTo>
                  <a:lnTo>
                    <a:pt x="237" y="317"/>
                  </a:lnTo>
                  <a:lnTo>
                    <a:pt x="237" y="315"/>
                  </a:lnTo>
                  <a:lnTo>
                    <a:pt x="239" y="315"/>
                  </a:lnTo>
                  <a:lnTo>
                    <a:pt x="241" y="316"/>
                  </a:lnTo>
                  <a:lnTo>
                    <a:pt x="242" y="315"/>
                  </a:lnTo>
                  <a:lnTo>
                    <a:pt x="242" y="312"/>
                  </a:lnTo>
                  <a:lnTo>
                    <a:pt x="239" y="313"/>
                  </a:lnTo>
                  <a:lnTo>
                    <a:pt x="238" y="312"/>
                  </a:lnTo>
                  <a:lnTo>
                    <a:pt x="238" y="309"/>
                  </a:lnTo>
                  <a:lnTo>
                    <a:pt x="241" y="309"/>
                  </a:lnTo>
                  <a:lnTo>
                    <a:pt x="242" y="309"/>
                  </a:lnTo>
                  <a:lnTo>
                    <a:pt x="243" y="309"/>
                  </a:lnTo>
                  <a:lnTo>
                    <a:pt x="243" y="308"/>
                  </a:lnTo>
                  <a:lnTo>
                    <a:pt x="242" y="305"/>
                  </a:lnTo>
                  <a:lnTo>
                    <a:pt x="246" y="304"/>
                  </a:lnTo>
                  <a:lnTo>
                    <a:pt x="249" y="305"/>
                  </a:lnTo>
                  <a:lnTo>
                    <a:pt x="250" y="305"/>
                  </a:lnTo>
                  <a:lnTo>
                    <a:pt x="253" y="305"/>
                  </a:lnTo>
                  <a:lnTo>
                    <a:pt x="249" y="308"/>
                  </a:lnTo>
                  <a:lnTo>
                    <a:pt x="249" y="310"/>
                  </a:lnTo>
                  <a:lnTo>
                    <a:pt x="249" y="313"/>
                  </a:lnTo>
                  <a:lnTo>
                    <a:pt x="250" y="313"/>
                  </a:lnTo>
                  <a:lnTo>
                    <a:pt x="252" y="309"/>
                  </a:lnTo>
                  <a:lnTo>
                    <a:pt x="254" y="308"/>
                  </a:lnTo>
                  <a:lnTo>
                    <a:pt x="254" y="308"/>
                  </a:lnTo>
                  <a:lnTo>
                    <a:pt x="254" y="309"/>
                  </a:lnTo>
                  <a:lnTo>
                    <a:pt x="253" y="310"/>
                  </a:lnTo>
                  <a:lnTo>
                    <a:pt x="253" y="313"/>
                  </a:lnTo>
                  <a:lnTo>
                    <a:pt x="256" y="310"/>
                  </a:lnTo>
                  <a:lnTo>
                    <a:pt x="257" y="309"/>
                  </a:lnTo>
                  <a:lnTo>
                    <a:pt x="258" y="310"/>
                  </a:lnTo>
                  <a:lnTo>
                    <a:pt x="261" y="309"/>
                  </a:lnTo>
                  <a:lnTo>
                    <a:pt x="261" y="309"/>
                  </a:lnTo>
                  <a:lnTo>
                    <a:pt x="264" y="308"/>
                  </a:lnTo>
                  <a:lnTo>
                    <a:pt x="267" y="306"/>
                  </a:lnTo>
                  <a:lnTo>
                    <a:pt x="268" y="308"/>
                  </a:lnTo>
                  <a:lnTo>
                    <a:pt x="268" y="308"/>
                  </a:lnTo>
                  <a:lnTo>
                    <a:pt x="265" y="308"/>
                  </a:lnTo>
                  <a:lnTo>
                    <a:pt x="262" y="310"/>
                  </a:lnTo>
                  <a:lnTo>
                    <a:pt x="261" y="310"/>
                  </a:lnTo>
                  <a:lnTo>
                    <a:pt x="260" y="312"/>
                  </a:lnTo>
                  <a:lnTo>
                    <a:pt x="261" y="313"/>
                  </a:lnTo>
                  <a:lnTo>
                    <a:pt x="265" y="315"/>
                  </a:lnTo>
                  <a:lnTo>
                    <a:pt x="267" y="316"/>
                  </a:lnTo>
                  <a:lnTo>
                    <a:pt x="267" y="317"/>
                  </a:lnTo>
                  <a:lnTo>
                    <a:pt x="264" y="315"/>
                  </a:lnTo>
                  <a:lnTo>
                    <a:pt x="261" y="315"/>
                  </a:lnTo>
                  <a:lnTo>
                    <a:pt x="260" y="316"/>
                  </a:lnTo>
                  <a:lnTo>
                    <a:pt x="258" y="317"/>
                  </a:lnTo>
                  <a:lnTo>
                    <a:pt x="261" y="319"/>
                  </a:lnTo>
                  <a:lnTo>
                    <a:pt x="262" y="317"/>
                  </a:lnTo>
                  <a:lnTo>
                    <a:pt x="265" y="319"/>
                  </a:lnTo>
                  <a:lnTo>
                    <a:pt x="264" y="319"/>
                  </a:lnTo>
                  <a:lnTo>
                    <a:pt x="261" y="319"/>
                  </a:lnTo>
                  <a:lnTo>
                    <a:pt x="261" y="321"/>
                  </a:lnTo>
                  <a:lnTo>
                    <a:pt x="264" y="321"/>
                  </a:lnTo>
                  <a:lnTo>
                    <a:pt x="265" y="323"/>
                  </a:lnTo>
                  <a:lnTo>
                    <a:pt x="264" y="324"/>
                  </a:lnTo>
                  <a:lnTo>
                    <a:pt x="262" y="324"/>
                  </a:lnTo>
                  <a:lnTo>
                    <a:pt x="262" y="325"/>
                  </a:lnTo>
                  <a:lnTo>
                    <a:pt x="264" y="325"/>
                  </a:lnTo>
                  <a:lnTo>
                    <a:pt x="267" y="325"/>
                  </a:lnTo>
                  <a:lnTo>
                    <a:pt x="269" y="327"/>
                  </a:lnTo>
                  <a:lnTo>
                    <a:pt x="271" y="328"/>
                  </a:lnTo>
                  <a:lnTo>
                    <a:pt x="275" y="327"/>
                  </a:lnTo>
                  <a:lnTo>
                    <a:pt x="275" y="328"/>
                  </a:lnTo>
                  <a:lnTo>
                    <a:pt x="275" y="328"/>
                  </a:lnTo>
                  <a:lnTo>
                    <a:pt x="273" y="329"/>
                  </a:lnTo>
                  <a:lnTo>
                    <a:pt x="275" y="331"/>
                  </a:lnTo>
                  <a:lnTo>
                    <a:pt x="275" y="331"/>
                  </a:lnTo>
                  <a:lnTo>
                    <a:pt x="276" y="332"/>
                  </a:lnTo>
                  <a:lnTo>
                    <a:pt x="277" y="334"/>
                  </a:lnTo>
                  <a:lnTo>
                    <a:pt x="279" y="331"/>
                  </a:lnTo>
                  <a:lnTo>
                    <a:pt x="279" y="331"/>
                  </a:lnTo>
                  <a:lnTo>
                    <a:pt x="279" y="329"/>
                  </a:lnTo>
                  <a:lnTo>
                    <a:pt x="281" y="329"/>
                  </a:lnTo>
                  <a:lnTo>
                    <a:pt x="280" y="331"/>
                  </a:lnTo>
                  <a:lnTo>
                    <a:pt x="280" y="332"/>
                  </a:lnTo>
                  <a:lnTo>
                    <a:pt x="277" y="336"/>
                  </a:lnTo>
                  <a:lnTo>
                    <a:pt x="279" y="338"/>
                  </a:lnTo>
                  <a:lnTo>
                    <a:pt x="279" y="339"/>
                  </a:lnTo>
                  <a:lnTo>
                    <a:pt x="277" y="338"/>
                  </a:lnTo>
                  <a:lnTo>
                    <a:pt x="276" y="339"/>
                  </a:lnTo>
                  <a:lnTo>
                    <a:pt x="276" y="340"/>
                  </a:lnTo>
                  <a:lnTo>
                    <a:pt x="281" y="342"/>
                  </a:lnTo>
                  <a:lnTo>
                    <a:pt x="284" y="340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91" y="340"/>
                  </a:lnTo>
                  <a:lnTo>
                    <a:pt x="294" y="340"/>
                  </a:lnTo>
                  <a:lnTo>
                    <a:pt x="295" y="340"/>
                  </a:lnTo>
                  <a:lnTo>
                    <a:pt x="294" y="342"/>
                  </a:lnTo>
                  <a:lnTo>
                    <a:pt x="296" y="343"/>
                  </a:lnTo>
                  <a:lnTo>
                    <a:pt x="298" y="344"/>
                  </a:lnTo>
                  <a:lnTo>
                    <a:pt x="299" y="346"/>
                  </a:lnTo>
                  <a:lnTo>
                    <a:pt x="299" y="347"/>
                  </a:lnTo>
                  <a:lnTo>
                    <a:pt x="302" y="347"/>
                  </a:lnTo>
                  <a:lnTo>
                    <a:pt x="305" y="346"/>
                  </a:lnTo>
                  <a:lnTo>
                    <a:pt x="306" y="344"/>
                  </a:lnTo>
                  <a:lnTo>
                    <a:pt x="307" y="346"/>
                  </a:lnTo>
                  <a:lnTo>
                    <a:pt x="306" y="347"/>
                  </a:lnTo>
                  <a:lnTo>
                    <a:pt x="305" y="348"/>
                  </a:lnTo>
                  <a:lnTo>
                    <a:pt x="303" y="348"/>
                  </a:lnTo>
                  <a:lnTo>
                    <a:pt x="303" y="350"/>
                  </a:lnTo>
                  <a:lnTo>
                    <a:pt x="306" y="351"/>
                  </a:lnTo>
                  <a:lnTo>
                    <a:pt x="307" y="353"/>
                  </a:lnTo>
                  <a:lnTo>
                    <a:pt x="309" y="354"/>
                  </a:lnTo>
                  <a:lnTo>
                    <a:pt x="311" y="355"/>
                  </a:lnTo>
                  <a:lnTo>
                    <a:pt x="317" y="354"/>
                  </a:lnTo>
                  <a:lnTo>
                    <a:pt x="318" y="354"/>
                  </a:lnTo>
                  <a:lnTo>
                    <a:pt x="318" y="355"/>
                  </a:lnTo>
                  <a:lnTo>
                    <a:pt x="320" y="353"/>
                  </a:lnTo>
                  <a:lnTo>
                    <a:pt x="324" y="351"/>
                  </a:lnTo>
                  <a:lnTo>
                    <a:pt x="324" y="351"/>
                  </a:lnTo>
                  <a:lnTo>
                    <a:pt x="324" y="353"/>
                  </a:lnTo>
                  <a:lnTo>
                    <a:pt x="321" y="354"/>
                  </a:lnTo>
                  <a:lnTo>
                    <a:pt x="321" y="358"/>
                  </a:lnTo>
                  <a:lnTo>
                    <a:pt x="320" y="361"/>
                  </a:lnTo>
                  <a:lnTo>
                    <a:pt x="318" y="361"/>
                  </a:lnTo>
                  <a:lnTo>
                    <a:pt x="315" y="359"/>
                  </a:lnTo>
                  <a:lnTo>
                    <a:pt x="315" y="359"/>
                  </a:lnTo>
                  <a:lnTo>
                    <a:pt x="317" y="362"/>
                  </a:lnTo>
                  <a:lnTo>
                    <a:pt x="317" y="365"/>
                  </a:lnTo>
                  <a:lnTo>
                    <a:pt x="318" y="366"/>
                  </a:lnTo>
                  <a:lnTo>
                    <a:pt x="321" y="366"/>
                  </a:lnTo>
                  <a:lnTo>
                    <a:pt x="322" y="366"/>
                  </a:lnTo>
                  <a:lnTo>
                    <a:pt x="321" y="368"/>
                  </a:lnTo>
                  <a:lnTo>
                    <a:pt x="320" y="368"/>
                  </a:lnTo>
                  <a:lnTo>
                    <a:pt x="320" y="369"/>
                  </a:lnTo>
                  <a:lnTo>
                    <a:pt x="324" y="372"/>
                  </a:lnTo>
                  <a:lnTo>
                    <a:pt x="324" y="372"/>
                  </a:lnTo>
                  <a:lnTo>
                    <a:pt x="326" y="372"/>
                  </a:lnTo>
                  <a:lnTo>
                    <a:pt x="328" y="369"/>
                  </a:lnTo>
                  <a:lnTo>
                    <a:pt x="330" y="365"/>
                  </a:lnTo>
                  <a:lnTo>
                    <a:pt x="329" y="368"/>
                  </a:lnTo>
                  <a:lnTo>
                    <a:pt x="329" y="370"/>
                  </a:lnTo>
                  <a:lnTo>
                    <a:pt x="329" y="373"/>
                  </a:lnTo>
                  <a:lnTo>
                    <a:pt x="328" y="373"/>
                  </a:lnTo>
                  <a:lnTo>
                    <a:pt x="326" y="374"/>
                  </a:lnTo>
                  <a:lnTo>
                    <a:pt x="326" y="376"/>
                  </a:lnTo>
                  <a:lnTo>
                    <a:pt x="328" y="377"/>
                  </a:lnTo>
                  <a:lnTo>
                    <a:pt x="328" y="378"/>
                  </a:lnTo>
                  <a:lnTo>
                    <a:pt x="328" y="384"/>
                  </a:lnTo>
                  <a:lnTo>
                    <a:pt x="328" y="385"/>
                  </a:lnTo>
                  <a:lnTo>
                    <a:pt x="330" y="385"/>
                  </a:lnTo>
                  <a:lnTo>
                    <a:pt x="329" y="388"/>
                  </a:lnTo>
                  <a:lnTo>
                    <a:pt x="330" y="389"/>
                  </a:lnTo>
                  <a:lnTo>
                    <a:pt x="333" y="393"/>
                  </a:lnTo>
                  <a:lnTo>
                    <a:pt x="335" y="393"/>
                  </a:lnTo>
                  <a:lnTo>
                    <a:pt x="335" y="395"/>
                  </a:lnTo>
                  <a:lnTo>
                    <a:pt x="336" y="395"/>
                  </a:lnTo>
                  <a:lnTo>
                    <a:pt x="337" y="396"/>
                  </a:lnTo>
                  <a:lnTo>
                    <a:pt x="339" y="395"/>
                  </a:lnTo>
                  <a:lnTo>
                    <a:pt x="339" y="395"/>
                  </a:lnTo>
                  <a:lnTo>
                    <a:pt x="339" y="393"/>
                  </a:lnTo>
                  <a:lnTo>
                    <a:pt x="340" y="395"/>
                  </a:lnTo>
                  <a:lnTo>
                    <a:pt x="341" y="395"/>
                  </a:lnTo>
                  <a:lnTo>
                    <a:pt x="343" y="393"/>
                  </a:lnTo>
                  <a:lnTo>
                    <a:pt x="341" y="389"/>
                  </a:lnTo>
                  <a:lnTo>
                    <a:pt x="340" y="389"/>
                  </a:lnTo>
                  <a:lnTo>
                    <a:pt x="339" y="391"/>
                  </a:lnTo>
                  <a:lnTo>
                    <a:pt x="339" y="389"/>
                  </a:lnTo>
                  <a:lnTo>
                    <a:pt x="340" y="387"/>
                  </a:lnTo>
                  <a:lnTo>
                    <a:pt x="340" y="385"/>
                  </a:lnTo>
                  <a:lnTo>
                    <a:pt x="339" y="384"/>
                  </a:lnTo>
                  <a:lnTo>
                    <a:pt x="337" y="384"/>
                  </a:lnTo>
                  <a:lnTo>
                    <a:pt x="337" y="382"/>
                  </a:lnTo>
                  <a:lnTo>
                    <a:pt x="337" y="381"/>
                  </a:lnTo>
                  <a:lnTo>
                    <a:pt x="339" y="378"/>
                  </a:lnTo>
                  <a:lnTo>
                    <a:pt x="340" y="378"/>
                  </a:lnTo>
                  <a:lnTo>
                    <a:pt x="340" y="381"/>
                  </a:lnTo>
                  <a:lnTo>
                    <a:pt x="340" y="382"/>
                  </a:lnTo>
                  <a:lnTo>
                    <a:pt x="341" y="380"/>
                  </a:lnTo>
                  <a:lnTo>
                    <a:pt x="343" y="381"/>
                  </a:lnTo>
                  <a:lnTo>
                    <a:pt x="344" y="384"/>
                  </a:lnTo>
                  <a:lnTo>
                    <a:pt x="343" y="385"/>
                  </a:lnTo>
                  <a:lnTo>
                    <a:pt x="343" y="388"/>
                  </a:lnTo>
                  <a:lnTo>
                    <a:pt x="344" y="388"/>
                  </a:lnTo>
                  <a:lnTo>
                    <a:pt x="347" y="385"/>
                  </a:lnTo>
                  <a:lnTo>
                    <a:pt x="347" y="385"/>
                  </a:lnTo>
                  <a:lnTo>
                    <a:pt x="347" y="388"/>
                  </a:lnTo>
                  <a:lnTo>
                    <a:pt x="345" y="389"/>
                  </a:lnTo>
                  <a:lnTo>
                    <a:pt x="345" y="391"/>
                  </a:lnTo>
                  <a:lnTo>
                    <a:pt x="345" y="393"/>
                  </a:lnTo>
                  <a:lnTo>
                    <a:pt x="345" y="395"/>
                  </a:lnTo>
                  <a:lnTo>
                    <a:pt x="345" y="396"/>
                  </a:lnTo>
                  <a:lnTo>
                    <a:pt x="348" y="397"/>
                  </a:lnTo>
                  <a:lnTo>
                    <a:pt x="348" y="396"/>
                  </a:lnTo>
                  <a:lnTo>
                    <a:pt x="349" y="395"/>
                  </a:lnTo>
                  <a:lnTo>
                    <a:pt x="349" y="396"/>
                  </a:lnTo>
                  <a:lnTo>
                    <a:pt x="349" y="396"/>
                  </a:lnTo>
                  <a:lnTo>
                    <a:pt x="349" y="400"/>
                  </a:lnTo>
                  <a:lnTo>
                    <a:pt x="351" y="400"/>
                  </a:lnTo>
                  <a:lnTo>
                    <a:pt x="354" y="397"/>
                  </a:lnTo>
                  <a:lnTo>
                    <a:pt x="354" y="393"/>
                  </a:lnTo>
                  <a:lnTo>
                    <a:pt x="355" y="392"/>
                  </a:lnTo>
                  <a:lnTo>
                    <a:pt x="355" y="387"/>
                  </a:lnTo>
                  <a:lnTo>
                    <a:pt x="356" y="381"/>
                  </a:lnTo>
                  <a:lnTo>
                    <a:pt x="356" y="377"/>
                  </a:lnTo>
                  <a:lnTo>
                    <a:pt x="356" y="373"/>
                  </a:lnTo>
                  <a:lnTo>
                    <a:pt x="355" y="372"/>
                  </a:lnTo>
                  <a:lnTo>
                    <a:pt x="355" y="372"/>
                  </a:lnTo>
                  <a:lnTo>
                    <a:pt x="356" y="372"/>
                  </a:lnTo>
                  <a:lnTo>
                    <a:pt x="358" y="374"/>
                  </a:lnTo>
                  <a:lnTo>
                    <a:pt x="359" y="376"/>
                  </a:lnTo>
                  <a:lnTo>
                    <a:pt x="360" y="372"/>
                  </a:lnTo>
                  <a:lnTo>
                    <a:pt x="362" y="370"/>
                  </a:lnTo>
                  <a:lnTo>
                    <a:pt x="360" y="373"/>
                  </a:lnTo>
                  <a:lnTo>
                    <a:pt x="359" y="377"/>
                  </a:lnTo>
                  <a:lnTo>
                    <a:pt x="360" y="381"/>
                  </a:lnTo>
                  <a:lnTo>
                    <a:pt x="358" y="385"/>
                  </a:lnTo>
                  <a:lnTo>
                    <a:pt x="358" y="388"/>
                  </a:lnTo>
                  <a:lnTo>
                    <a:pt x="359" y="389"/>
                  </a:lnTo>
                  <a:lnTo>
                    <a:pt x="358" y="391"/>
                  </a:lnTo>
                  <a:lnTo>
                    <a:pt x="356" y="395"/>
                  </a:lnTo>
                  <a:lnTo>
                    <a:pt x="358" y="396"/>
                  </a:lnTo>
                  <a:lnTo>
                    <a:pt x="358" y="399"/>
                  </a:lnTo>
                  <a:lnTo>
                    <a:pt x="360" y="400"/>
                  </a:lnTo>
                  <a:lnTo>
                    <a:pt x="360" y="403"/>
                  </a:lnTo>
                  <a:lnTo>
                    <a:pt x="362" y="403"/>
                  </a:lnTo>
                  <a:lnTo>
                    <a:pt x="362" y="406"/>
                  </a:lnTo>
                  <a:lnTo>
                    <a:pt x="363" y="407"/>
                  </a:lnTo>
                  <a:lnTo>
                    <a:pt x="364" y="406"/>
                  </a:lnTo>
                  <a:lnTo>
                    <a:pt x="366" y="407"/>
                  </a:lnTo>
                  <a:lnTo>
                    <a:pt x="367" y="406"/>
                  </a:lnTo>
                  <a:lnTo>
                    <a:pt x="370" y="406"/>
                  </a:lnTo>
                  <a:lnTo>
                    <a:pt x="370" y="407"/>
                  </a:lnTo>
                  <a:lnTo>
                    <a:pt x="367" y="408"/>
                  </a:lnTo>
                  <a:lnTo>
                    <a:pt x="366" y="410"/>
                  </a:lnTo>
                  <a:lnTo>
                    <a:pt x="366" y="410"/>
                  </a:lnTo>
                  <a:lnTo>
                    <a:pt x="367" y="411"/>
                  </a:lnTo>
                  <a:lnTo>
                    <a:pt x="367" y="412"/>
                  </a:lnTo>
                  <a:lnTo>
                    <a:pt x="364" y="412"/>
                  </a:lnTo>
                  <a:lnTo>
                    <a:pt x="364" y="414"/>
                  </a:lnTo>
                  <a:lnTo>
                    <a:pt x="367" y="416"/>
                  </a:lnTo>
                  <a:lnTo>
                    <a:pt x="367" y="419"/>
                  </a:lnTo>
                  <a:lnTo>
                    <a:pt x="366" y="419"/>
                  </a:lnTo>
                  <a:lnTo>
                    <a:pt x="364" y="418"/>
                  </a:lnTo>
                  <a:lnTo>
                    <a:pt x="363" y="416"/>
                  </a:lnTo>
                  <a:lnTo>
                    <a:pt x="363" y="416"/>
                  </a:lnTo>
                  <a:lnTo>
                    <a:pt x="363" y="418"/>
                  </a:lnTo>
                  <a:lnTo>
                    <a:pt x="362" y="421"/>
                  </a:lnTo>
                  <a:lnTo>
                    <a:pt x="362" y="422"/>
                  </a:lnTo>
                  <a:lnTo>
                    <a:pt x="363" y="423"/>
                  </a:lnTo>
                  <a:lnTo>
                    <a:pt x="362" y="425"/>
                  </a:lnTo>
                  <a:lnTo>
                    <a:pt x="360" y="425"/>
                  </a:lnTo>
                  <a:lnTo>
                    <a:pt x="359" y="426"/>
                  </a:lnTo>
                  <a:lnTo>
                    <a:pt x="359" y="427"/>
                  </a:lnTo>
                  <a:lnTo>
                    <a:pt x="360" y="427"/>
                  </a:lnTo>
                  <a:lnTo>
                    <a:pt x="362" y="427"/>
                  </a:lnTo>
                  <a:lnTo>
                    <a:pt x="363" y="429"/>
                  </a:lnTo>
                  <a:lnTo>
                    <a:pt x="364" y="431"/>
                  </a:lnTo>
                  <a:lnTo>
                    <a:pt x="366" y="430"/>
                  </a:lnTo>
                  <a:lnTo>
                    <a:pt x="367" y="431"/>
                  </a:lnTo>
                  <a:lnTo>
                    <a:pt x="367" y="433"/>
                  </a:lnTo>
                  <a:lnTo>
                    <a:pt x="366" y="433"/>
                  </a:lnTo>
                  <a:lnTo>
                    <a:pt x="364" y="433"/>
                  </a:lnTo>
                  <a:lnTo>
                    <a:pt x="364" y="434"/>
                  </a:lnTo>
                  <a:lnTo>
                    <a:pt x="367" y="435"/>
                  </a:lnTo>
                  <a:lnTo>
                    <a:pt x="367" y="437"/>
                  </a:lnTo>
                  <a:lnTo>
                    <a:pt x="368" y="438"/>
                  </a:lnTo>
                  <a:lnTo>
                    <a:pt x="370" y="438"/>
                  </a:lnTo>
                  <a:lnTo>
                    <a:pt x="368" y="440"/>
                  </a:lnTo>
                  <a:lnTo>
                    <a:pt x="367" y="440"/>
                  </a:lnTo>
                  <a:lnTo>
                    <a:pt x="366" y="441"/>
                  </a:lnTo>
                  <a:lnTo>
                    <a:pt x="366" y="444"/>
                  </a:lnTo>
                  <a:lnTo>
                    <a:pt x="368" y="448"/>
                  </a:lnTo>
                  <a:lnTo>
                    <a:pt x="370" y="449"/>
                  </a:lnTo>
                  <a:lnTo>
                    <a:pt x="373" y="449"/>
                  </a:lnTo>
                  <a:lnTo>
                    <a:pt x="374" y="449"/>
                  </a:lnTo>
                  <a:lnTo>
                    <a:pt x="371" y="450"/>
                  </a:lnTo>
                  <a:lnTo>
                    <a:pt x="368" y="450"/>
                  </a:lnTo>
                  <a:lnTo>
                    <a:pt x="367" y="450"/>
                  </a:lnTo>
                  <a:lnTo>
                    <a:pt x="366" y="453"/>
                  </a:lnTo>
                  <a:lnTo>
                    <a:pt x="363" y="457"/>
                  </a:lnTo>
                  <a:lnTo>
                    <a:pt x="360" y="460"/>
                  </a:lnTo>
                  <a:lnTo>
                    <a:pt x="360" y="461"/>
                  </a:lnTo>
                  <a:lnTo>
                    <a:pt x="360" y="464"/>
                  </a:lnTo>
                  <a:lnTo>
                    <a:pt x="363" y="461"/>
                  </a:lnTo>
                  <a:lnTo>
                    <a:pt x="364" y="459"/>
                  </a:lnTo>
                  <a:lnTo>
                    <a:pt x="364" y="457"/>
                  </a:lnTo>
                  <a:lnTo>
                    <a:pt x="367" y="457"/>
                  </a:lnTo>
                  <a:lnTo>
                    <a:pt x="370" y="455"/>
                  </a:lnTo>
                  <a:lnTo>
                    <a:pt x="370" y="455"/>
                  </a:lnTo>
                  <a:lnTo>
                    <a:pt x="371" y="455"/>
                  </a:lnTo>
                  <a:lnTo>
                    <a:pt x="374" y="455"/>
                  </a:lnTo>
                  <a:lnTo>
                    <a:pt x="373" y="457"/>
                  </a:lnTo>
                  <a:lnTo>
                    <a:pt x="373" y="457"/>
                  </a:lnTo>
                  <a:lnTo>
                    <a:pt x="375" y="457"/>
                  </a:lnTo>
                  <a:lnTo>
                    <a:pt x="375" y="459"/>
                  </a:lnTo>
                  <a:lnTo>
                    <a:pt x="374" y="461"/>
                  </a:lnTo>
                  <a:lnTo>
                    <a:pt x="374" y="463"/>
                  </a:lnTo>
                  <a:lnTo>
                    <a:pt x="374" y="464"/>
                  </a:lnTo>
                  <a:lnTo>
                    <a:pt x="373" y="467"/>
                  </a:lnTo>
                  <a:lnTo>
                    <a:pt x="371" y="468"/>
                  </a:lnTo>
                  <a:lnTo>
                    <a:pt x="373" y="469"/>
                  </a:lnTo>
                  <a:lnTo>
                    <a:pt x="373" y="471"/>
                  </a:lnTo>
                  <a:lnTo>
                    <a:pt x="371" y="471"/>
                  </a:lnTo>
                  <a:lnTo>
                    <a:pt x="368" y="471"/>
                  </a:lnTo>
                  <a:lnTo>
                    <a:pt x="367" y="472"/>
                  </a:lnTo>
                  <a:lnTo>
                    <a:pt x="367" y="474"/>
                  </a:lnTo>
                  <a:lnTo>
                    <a:pt x="368" y="474"/>
                  </a:lnTo>
                  <a:lnTo>
                    <a:pt x="370" y="474"/>
                  </a:lnTo>
                  <a:lnTo>
                    <a:pt x="373" y="474"/>
                  </a:lnTo>
                  <a:lnTo>
                    <a:pt x="373" y="474"/>
                  </a:lnTo>
                  <a:lnTo>
                    <a:pt x="371" y="476"/>
                  </a:lnTo>
                  <a:lnTo>
                    <a:pt x="368" y="475"/>
                  </a:lnTo>
                  <a:lnTo>
                    <a:pt x="368" y="476"/>
                  </a:lnTo>
                  <a:lnTo>
                    <a:pt x="367" y="476"/>
                  </a:lnTo>
                  <a:lnTo>
                    <a:pt x="366" y="479"/>
                  </a:lnTo>
                  <a:lnTo>
                    <a:pt x="367" y="482"/>
                  </a:lnTo>
                  <a:lnTo>
                    <a:pt x="368" y="480"/>
                  </a:lnTo>
                  <a:lnTo>
                    <a:pt x="368" y="479"/>
                  </a:lnTo>
                  <a:lnTo>
                    <a:pt x="371" y="479"/>
                  </a:lnTo>
                  <a:lnTo>
                    <a:pt x="373" y="479"/>
                  </a:lnTo>
                  <a:lnTo>
                    <a:pt x="375" y="475"/>
                  </a:lnTo>
                  <a:lnTo>
                    <a:pt x="378" y="472"/>
                  </a:lnTo>
                  <a:lnTo>
                    <a:pt x="379" y="467"/>
                  </a:lnTo>
                  <a:lnTo>
                    <a:pt x="382" y="461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2" y="460"/>
                  </a:lnTo>
                  <a:close/>
                  <a:moveTo>
                    <a:pt x="0" y="421"/>
                  </a:moveTo>
                  <a:lnTo>
                    <a:pt x="1" y="418"/>
                  </a:lnTo>
                  <a:lnTo>
                    <a:pt x="1" y="416"/>
                  </a:lnTo>
                  <a:lnTo>
                    <a:pt x="3" y="416"/>
                  </a:lnTo>
                  <a:lnTo>
                    <a:pt x="5" y="415"/>
                  </a:lnTo>
                  <a:lnTo>
                    <a:pt x="5" y="415"/>
                  </a:lnTo>
                  <a:lnTo>
                    <a:pt x="8" y="411"/>
                  </a:lnTo>
                  <a:lnTo>
                    <a:pt x="8" y="411"/>
                  </a:lnTo>
                  <a:lnTo>
                    <a:pt x="11" y="414"/>
                  </a:lnTo>
                  <a:lnTo>
                    <a:pt x="12" y="412"/>
                  </a:lnTo>
                  <a:lnTo>
                    <a:pt x="14" y="412"/>
                  </a:lnTo>
                  <a:lnTo>
                    <a:pt x="16" y="411"/>
                  </a:lnTo>
                  <a:lnTo>
                    <a:pt x="16" y="411"/>
                  </a:lnTo>
                  <a:lnTo>
                    <a:pt x="19" y="411"/>
                  </a:lnTo>
                  <a:lnTo>
                    <a:pt x="22" y="412"/>
                  </a:lnTo>
                  <a:lnTo>
                    <a:pt x="20" y="415"/>
                  </a:lnTo>
                  <a:lnTo>
                    <a:pt x="23" y="418"/>
                  </a:lnTo>
                  <a:lnTo>
                    <a:pt x="23" y="419"/>
                  </a:lnTo>
                  <a:lnTo>
                    <a:pt x="20" y="418"/>
                  </a:lnTo>
                  <a:lnTo>
                    <a:pt x="18" y="421"/>
                  </a:lnTo>
                  <a:lnTo>
                    <a:pt x="15" y="421"/>
                  </a:lnTo>
                  <a:lnTo>
                    <a:pt x="12" y="419"/>
                  </a:lnTo>
                  <a:lnTo>
                    <a:pt x="8" y="419"/>
                  </a:lnTo>
                  <a:lnTo>
                    <a:pt x="5" y="422"/>
                  </a:lnTo>
                  <a:lnTo>
                    <a:pt x="4" y="422"/>
                  </a:lnTo>
                  <a:lnTo>
                    <a:pt x="3" y="423"/>
                  </a:lnTo>
                  <a:lnTo>
                    <a:pt x="0" y="422"/>
                  </a:lnTo>
                  <a:lnTo>
                    <a:pt x="0" y="4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06" name="Freeform 6"/>
            <p:cNvSpPr>
              <a:spLocks noEditPoints="1"/>
            </p:cNvSpPr>
            <p:nvPr/>
          </p:nvSpPr>
          <p:spPr bwMode="auto">
            <a:xfrm>
              <a:off x="2226" y="655"/>
              <a:ext cx="1544" cy="828"/>
            </a:xfrm>
            <a:custGeom>
              <a:avLst/>
              <a:gdLst>
                <a:gd name="T0" fmla="*/ 1215 w 1544"/>
                <a:gd name="T1" fmla="*/ 658 h 828"/>
                <a:gd name="T2" fmla="*/ 1142 w 1544"/>
                <a:gd name="T3" fmla="*/ 629 h 828"/>
                <a:gd name="T4" fmla="*/ 1066 w 1544"/>
                <a:gd name="T5" fmla="*/ 563 h 828"/>
                <a:gd name="T6" fmla="*/ 1004 w 1544"/>
                <a:gd name="T7" fmla="*/ 638 h 828"/>
                <a:gd name="T8" fmla="*/ 833 w 1544"/>
                <a:gd name="T9" fmla="*/ 628 h 828"/>
                <a:gd name="T10" fmla="*/ 715 w 1544"/>
                <a:gd name="T11" fmla="*/ 659 h 828"/>
                <a:gd name="T12" fmla="*/ 550 w 1544"/>
                <a:gd name="T13" fmla="*/ 599 h 828"/>
                <a:gd name="T14" fmla="*/ 439 w 1544"/>
                <a:gd name="T15" fmla="*/ 602 h 828"/>
                <a:gd name="T16" fmla="*/ 383 w 1544"/>
                <a:gd name="T17" fmla="*/ 677 h 828"/>
                <a:gd name="T18" fmla="*/ 262 w 1544"/>
                <a:gd name="T19" fmla="*/ 692 h 828"/>
                <a:gd name="T20" fmla="*/ 265 w 1544"/>
                <a:gd name="T21" fmla="*/ 786 h 828"/>
                <a:gd name="T22" fmla="*/ 145 w 1544"/>
                <a:gd name="T23" fmla="*/ 771 h 828"/>
                <a:gd name="T24" fmla="*/ 110 w 1544"/>
                <a:gd name="T25" fmla="*/ 676 h 828"/>
                <a:gd name="T26" fmla="*/ 23 w 1544"/>
                <a:gd name="T27" fmla="*/ 540 h 828"/>
                <a:gd name="T28" fmla="*/ 6 w 1544"/>
                <a:gd name="T29" fmla="*/ 351 h 828"/>
                <a:gd name="T30" fmla="*/ 61 w 1544"/>
                <a:gd name="T31" fmla="*/ 341 h 828"/>
                <a:gd name="T32" fmla="*/ 44 w 1544"/>
                <a:gd name="T33" fmla="*/ 390 h 828"/>
                <a:gd name="T34" fmla="*/ 92 w 1544"/>
                <a:gd name="T35" fmla="*/ 432 h 828"/>
                <a:gd name="T36" fmla="*/ 171 w 1544"/>
                <a:gd name="T37" fmla="*/ 358 h 828"/>
                <a:gd name="T38" fmla="*/ 239 w 1544"/>
                <a:gd name="T39" fmla="*/ 337 h 828"/>
                <a:gd name="T40" fmla="*/ 295 w 1544"/>
                <a:gd name="T41" fmla="*/ 310 h 828"/>
                <a:gd name="T42" fmla="*/ 346 w 1544"/>
                <a:gd name="T43" fmla="*/ 253 h 828"/>
                <a:gd name="T44" fmla="*/ 424 w 1544"/>
                <a:gd name="T45" fmla="*/ 340 h 828"/>
                <a:gd name="T46" fmla="*/ 465 w 1544"/>
                <a:gd name="T47" fmla="*/ 333 h 828"/>
                <a:gd name="T48" fmla="*/ 406 w 1544"/>
                <a:gd name="T49" fmla="*/ 237 h 828"/>
                <a:gd name="T50" fmla="*/ 482 w 1544"/>
                <a:gd name="T51" fmla="*/ 249 h 828"/>
                <a:gd name="T52" fmla="*/ 443 w 1544"/>
                <a:gd name="T53" fmla="*/ 193 h 828"/>
                <a:gd name="T54" fmla="*/ 475 w 1544"/>
                <a:gd name="T55" fmla="*/ 124 h 828"/>
                <a:gd name="T56" fmla="*/ 548 w 1544"/>
                <a:gd name="T57" fmla="*/ 67 h 828"/>
                <a:gd name="T58" fmla="*/ 577 w 1544"/>
                <a:gd name="T59" fmla="*/ 22 h 828"/>
                <a:gd name="T60" fmla="*/ 674 w 1544"/>
                <a:gd name="T61" fmla="*/ 35 h 828"/>
                <a:gd name="T62" fmla="*/ 659 w 1544"/>
                <a:gd name="T63" fmla="*/ 154 h 828"/>
                <a:gd name="T64" fmla="*/ 732 w 1544"/>
                <a:gd name="T65" fmla="*/ 99 h 828"/>
                <a:gd name="T66" fmla="*/ 845 w 1544"/>
                <a:gd name="T67" fmla="*/ 79 h 828"/>
                <a:gd name="T68" fmla="*/ 920 w 1544"/>
                <a:gd name="T69" fmla="*/ 128 h 828"/>
                <a:gd name="T70" fmla="*/ 965 w 1544"/>
                <a:gd name="T71" fmla="*/ 65 h 828"/>
                <a:gd name="T72" fmla="*/ 1070 w 1544"/>
                <a:gd name="T73" fmla="*/ 61 h 828"/>
                <a:gd name="T74" fmla="*/ 1229 w 1544"/>
                <a:gd name="T75" fmla="*/ 97 h 828"/>
                <a:gd name="T76" fmla="*/ 1310 w 1544"/>
                <a:gd name="T77" fmla="*/ 31 h 828"/>
                <a:gd name="T78" fmla="*/ 1450 w 1544"/>
                <a:gd name="T79" fmla="*/ 37 h 828"/>
                <a:gd name="T80" fmla="*/ 1517 w 1544"/>
                <a:gd name="T81" fmla="*/ 37 h 828"/>
                <a:gd name="T82" fmla="*/ 1523 w 1544"/>
                <a:gd name="T83" fmla="*/ 110 h 828"/>
                <a:gd name="T84" fmla="*/ 1480 w 1544"/>
                <a:gd name="T85" fmla="*/ 170 h 828"/>
                <a:gd name="T86" fmla="*/ 1521 w 1544"/>
                <a:gd name="T87" fmla="*/ 215 h 828"/>
                <a:gd name="T88" fmla="*/ 1465 w 1544"/>
                <a:gd name="T89" fmla="*/ 313 h 828"/>
                <a:gd name="T90" fmla="*/ 1423 w 1544"/>
                <a:gd name="T91" fmla="*/ 389 h 828"/>
                <a:gd name="T92" fmla="*/ 1435 w 1544"/>
                <a:gd name="T93" fmla="*/ 508 h 828"/>
                <a:gd name="T94" fmla="*/ 1381 w 1544"/>
                <a:gd name="T95" fmla="*/ 364 h 828"/>
                <a:gd name="T96" fmla="*/ 1374 w 1544"/>
                <a:gd name="T97" fmla="*/ 287 h 828"/>
                <a:gd name="T98" fmla="*/ 1314 w 1544"/>
                <a:gd name="T99" fmla="*/ 318 h 828"/>
                <a:gd name="T100" fmla="*/ 1294 w 1544"/>
                <a:gd name="T101" fmla="*/ 378 h 828"/>
                <a:gd name="T102" fmla="*/ 1185 w 1544"/>
                <a:gd name="T103" fmla="*/ 458 h 828"/>
                <a:gd name="T104" fmla="*/ 1230 w 1544"/>
                <a:gd name="T105" fmla="*/ 526 h 828"/>
                <a:gd name="T106" fmla="*/ 1256 w 1544"/>
                <a:gd name="T107" fmla="*/ 688 h 828"/>
                <a:gd name="T108" fmla="*/ 231 w 1544"/>
                <a:gd name="T109" fmla="*/ 204 h 828"/>
                <a:gd name="T110" fmla="*/ 293 w 1544"/>
                <a:gd name="T111" fmla="*/ 105 h 828"/>
                <a:gd name="T112" fmla="*/ 220 w 1544"/>
                <a:gd name="T113" fmla="*/ 162 h 828"/>
                <a:gd name="T114" fmla="*/ 198 w 1544"/>
                <a:gd name="T115" fmla="*/ 212 h 828"/>
                <a:gd name="T116" fmla="*/ 204 w 1544"/>
                <a:gd name="T117" fmla="*/ 243 h 828"/>
                <a:gd name="T118" fmla="*/ 236 w 1544"/>
                <a:gd name="T119" fmla="*/ 288 h 828"/>
                <a:gd name="T120" fmla="*/ 1312 w 1544"/>
                <a:gd name="T121" fmla="*/ 666 h 828"/>
                <a:gd name="T122" fmla="*/ 1274 w 1544"/>
                <a:gd name="T123" fmla="*/ 551 h 828"/>
                <a:gd name="T124" fmla="*/ 1285 w 1544"/>
                <a:gd name="T125" fmla="*/ 617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4" h="828">
                  <a:moveTo>
                    <a:pt x="1198" y="752"/>
                  </a:moveTo>
                  <a:lnTo>
                    <a:pt x="1198" y="752"/>
                  </a:lnTo>
                  <a:lnTo>
                    <a:pt x="1195" y="750"/>
                  </a:lnTo>
                  <a:lnTo>
                    <a:pt x="1195" y="750"/>
                  </a:lnTo>
                  <a:lnTo>
                    <a:pt x="1196" y="749"/>
                  </a:lnTo>
                  <a:lnTo>
                    <a:pt x="1196" y="748"/>
                  </a:lnTo>
                  <a:lnTo>
                    <a:pt x="1195" y="746"/>
                  </a:lnTo>
                  <a:lnTo>
                    <a:pt x="1195" y="745"/>
                  </a:lnTo>
                  <a:lnTo>
                    <a:pt x="1195" y="744"/>
                  </a:lnTo>
                  <a:lnTo>
                    <a:pt x="1196" y="744"/>
                  </a:lnTo>
                  <a:lnTo>
                    <a:pt x="1199" y="744"/>
                  </a:lnTo>
                  <a:lnTo>
                    <a:pt x="1199" y="744"/>
                  </a:lnTo>
                  <a:lnTo>
                    <a:pt x="1200" y="741"/>
                  </a:lnTo>
                  <a:lnTo>
                    <a:pt x="1199" y="739"/>
                  </a:lnTo>
                  <a:lnTo>
                    <a:pt x="1199" y="738"/>
                  </a:lnTo>
                  <a:lnTo>
                    <a:pt x="1200" y="737"/>
                  </a:lnTo>
                  <a:lnTo>
                    <a:pt x="1200" y="735"/>
                  </a:lnTo>
                  <a:lnTo>
                    <a:pt x="1200" y="733"/>
                  </a:lnTo>
                  <a:lnTo>
                    <a:pt x="1199" y="733"/>
                  </a:lnTo>
                  <a:lnTo>
                    <a:pt x="1199" y="729"/>
                  </a:lnTo>
                  <a:lnTo>
                    <a:pt x="1198" y="726"/>
                  </a:lnTo>
                  <a:lnTo>
                    <a:pt x="1198" y="723"/>
                  </a:lnTo>
                  <a:lnTo>
                    <a:pt x="1198" y="722"/>
                  </a:lnTo>
                  <a:lnTo>
                    <a:pt x="1196" y="719"/>
                  </a:lnTo>
                  <a:lnTo>
                    <a:pt x="1196" y="718"/>
                  </a:lnTo>
                  <a:lnTo>
                    <a:pt x="1195" y="716"/>
                  </a:lnTo>
                  <a:lnTo>
                    <a:pt x="1192" y="712"/>
                  </a:lnTo>
                  <a:lnTo>
                    <a:pt x="1192" y="710"/>
                  </a:lnTo>
                  <a:lnTo>
                    <a:pt x="1192" y="708"/>
                  </a:lnTo>
                  <a:lnTo>
                    <a:pt x="1193" y="708"/>
                  </a:lnTo>
                  <a:lnTo>
                    <a:pt x="1195" y="708"/>
                  </a:lnTo>
                  <a:lnTo>
                    <a:pt x="1196" y="707"/>
                  </a:lnTo>
                  <a:lnTo>
                    <a:pt x="1196" y="704"/>
                  </a:lnTo>
                  <a:lnTo>
                    <a:pt x="1199" y="701"/>
                  </a:lnTo>
                  <a:lnTo>
                    <a:pt x="1199" y="701"/>
                  </a:lnTo>
                  <a:lnTo>
                    <a:pt x="1202" y="701"/>
                  </a:lnTo>
                  <a:lnTo>
                    <a:pt x="1203" y="703"/>
                  </a:lnTo>
                  <a:lnTo>
                    <a:pt x="1210" y="704"/>
                  </a:lnTo>
                  <a:lnTo>
                    <a:pt x="1211" y="704"/>
                  </a:lnTo>
                  <a:lnTo>
                    <a:pt x="1212" y="704"/>
                  </a:lnTo>
                  <a:lnTo>
                    <a:pt x="1214" y="703"/>
                  </a:lnTo>
                  <a:lnTo>
                    <a:pt x="1214" y="701"/>
                  </a:lnTo>
                  <a:lnTo>
                    <a:pt x="1212" y="700"/>
                  </a:lnTo>
                  <a:lnTo>
                    <a:pt x="1212" y="699"/>
                  </a:lnTo>
                  <a:lnTo>
                    <a:pt x="1212" y="697"/>
                  </a:lnTo>
                  <a:lnTo>
                    <a:pt x="1212" y="696"/>
                  </a:lnTo>
                  <a:lnTo>
                    <a:pt x="1212" y="695"/>
                  </a:lnTo>
                  <a:lnTo>
                    <a:pt x="1212" y="693"/>
                  </a:lnTo>
                  <a:lnTo>
                    <a:pt x="1214" y="692"/>
                  </a:lnTo>
                  <a:lnTo>
                    <a:pt x="1214" y="691"/>
                  </a:lnTo>
                  <a:lnTo>
                    <a:pt x="1212" y="689"/>
                  </a:lnTo>
                  <a:lnTo>
                    <a:pt x="1214" y="688"/>
                  </a:lnTo>
                  <a:lnTo>
                    <a:pt x="1215" y="688"/>
                  </a:lnTo>
                  <a:lnTo>
                    <a:pt x="1214" y="686"/>
                  </a:lnTo>
                  <a:lnTo>
                    <a:pt x="1214" y="685"/>
                  </a:lnTo>
                  <a:lnTo>
                    <a:pt x="1214" y="684"/>
                  </a:lnTo>
                  <a:lnTo>
                    <a:pt x="1214" y="682"/>
                  </a:lnTo>
                  <a:lnTo>
                    <a:pt x="1215" y="681"/>
                  </a:lnTo>
                  <a:lnTo>
                    <a:pt x="1215" y="681"/>
                  </a:lnTo>
                  <a:lnTo>
                    <a:pt x="1214" y="680"/>
                  </a:lnTo>
                  <a:lnTo>
                    <a:pt x="1214" y="677"/>
                  </a:lnTo>
                  <a:lnTo>
                    <a:pt x="1214" y="674"/>
                  </a:lnTo>
                  <a:lnTo>
                    <a:pt x="1214" y="674"/>
                  </a:lnTo>
                  <a:lnTo>
                    <a:pt x="1215" y="673"/>
                  </a:lnTo>
                  <a:lnTo>
                    <a:pt x="1215" y="673"/>
                  </a:lnTo>
                  <a:lnTo>
                    <a:pt x="1214" y="672"/>
                  </a:lnTo>
                  <a:lnTo>
                    <a:pt x="1214" y="670"/>
                  </a:lnTo>
                  <a:lnTo>
                    <a:pt x="1212" y="670"/>
                  </a:lnTo>
                  <a:lnTo>
                    <a:pt x="1212" y="669"/>
                  </a:lnTo>
                  <a:lnTo>
                    <a:pt x="1212" y="667"/>
                  </a:lnTo>
                  <a:lnTo>
                    <a:pt x="1214" y="665"/>
                  </a:lnTo>
                  <a:lnTo>
                    <a:pt x="1212" y="665"/>
                  </a:lnTo>
                  <a:lnTo>
                    <a:pt x="1211" y="663"/>
                  </a:lnTo>
                  <a:lnTo>
                    <a:pt x="1211" y="662"/>
                  </a:lnTo>
                  <a:lnTo>
                    <a:pt x="1214" y="659"/>
                  </a:lnTo>
                  <a:lnTo>
                    <a:pt x="1215" y="659"/>
                  </a:lnTo>
                  <a:lnTo>
                    <a:pt x="1215" y="658"/>
                  </a:lnTo>
                  <a:lnTo>
                    <a:pt x="1215" y="657"/>
                  </a:lnTo>
                  <a:lnTo>
                    <a:pt x="1217" y="654"/>
                  </a:lnTo>
                  <a:lnTo>
                    <a:pt x="1215" y="654"/>
                  </a:lnTo>
                  <a:lnTo>
                    <a:pt x="1214" y="652"/>
                  </a:lnTo>
                  <a:lnTo>
                    <a:pt x="1214" y="650"/>
                  </a:lnTo>
                  <a:lnTo>
                    <a:pt x="1211" y="648"/>
                  </a:lnTo>
                  <a:lnTo>
                    <a:pt x="1211" y="647"/>
                  </a:lnTo>
                  <a:lnTo>
                    <a:pt x="1212" y="646"/>
                  </a:lnTo>
                  <a:lnTo>
                    <a:pt x="1211" y="644"/>
                  </a:lnTo>
                  <a:lnTo>
                    <a:pt x="1210" y="643"/>
                  </a:lnTo>
                  <a:lnTo>
                    <a:pt x="1208" y="643"/>
                  </a:lnTo>
                  <a:lnTo>
                    <a:pt x="1207" y="642"/>
                  </a:lnTo>
                  <a:lnTo>
                    <a:pt x="1204" y="640"/>
                  </a:lnTo>
                  <a:lnTo>
                    <a:pt x="1204" y="642"/>
                  </a:lnTo>
                  <a:lnTo>
                    <a:pt x="1202" y="642"/>
                  </a:lnTo>
                  <a:lnTo>
                    <a:pt x="1200" y="643"/>
                  </a:lnTo>
                  <a:lnTo>
                    <a:pt x="1200" y="646"/>
                  </a:lnTo>
                  <a:lnTo>
                    <a:pt x="1199" y="646"/>
                  </a:lnTo>
                  <a:lnTo>
                    <a:pt x="1198" y="646"/>
                  </a:lnTo>
                  <a:lnTo>
                    <a:pt x="1198" y="648"/>
                  </a:lnTo>
                  <a:lnTo>
                    <a:pt x="1195" y="648"/>
                  </a:lnTo>
                  <a:lnTo>
                    <a:pt x="1193" y="648"/>
                  </a:lnTo>
                  <a:lnTo>
                    <a:pt x="1192" y="650"/>
                  </a:lnTo>
                  <a:lnTo>
                    <a:pt x="1192" y="651"/>
                  </a:lnTo>
                  <a:lnTo>
                    <a:pt x="1191" y="652"/>
                  </a:lnTo>
                  <a:lnTo>
                    <a:pt x="1191" y="655"/>
                  </a:lnTo>
                  <a:lnTo>
                    <a:pt x="1191" y="657"/>
                  </a:lnTo>
                  <a:lnTo>
                    <a:pt x="1189" y="657"/>
                  </a:lnTo>
                  <a:lnTo>
                    <a:pt x="1188" y="658"/>
                  </a:lnTo>
                  <a:lnTo>
                    <a:pt x="1185" y="658"/>
                  </a:lnTo>
                  <a:lnTo>
                    <a:pt x="1184" y="659"/>
                  </a:lnTo>
                  <a:lnTo>
                    <a:pt x="1181" y="658"/>
                  </a:lnTo>
                  <a:lnTo>
                    <a:pt x="1181" y="659"/>
                  </a:lnTo>
                  <a:lnTo>
                    <a:pt x="1180" y="661"/>
                  </a:lnTo>
                  <a:lnTo>
                    <a:pt x="1179" y="658"/>
                  </a:lnTo>
                  <a:lnTo>
                    <a:pt x="1177" y="657"/>
                  </a:lnTo>
                  <a:lnTo>
                    <a:pt x="1176" y="657"/>
                  </a:lnTo>
                  <a:lnTo>
                    <a:pt x="1174" y="658"/>
                  </a:lnTo>
                  <a:lnTo>
                    <a:pt x="1173" y="658"/>
                  </a:lnTo>
                  <a:lnTo>
                    <a:pt x="1172" y="658"/>
                  </a:lnTo>
                  <a:lnTo>
                    <a:pt x="1170" y="655"/>
                  </a:lnTo>
                  <a:lnTo>
                    <a:pt x="1169" y="654"/>
                  </a:lnTo>
                  <a:lnTo>
                    <a:pt x="1168" y="651"/>
                  </a:lnTo>
                  <a:lnTo>
                    <a:pt x="1168" y="650"/>
                  </a:lnTo>
                  <a:lnTo>
                    <a:pt x="1168" y="650"/>
                  </a:lnTo>
                  <a:lnTo>
                    <a:pt x="1168" y="647"/>
                  </a:lnTo>
                  <a:lnTo>
                    <a:pt x="1168" y="646"/>
                  </a:lnTo>
                  <a:lnTo>
                    <a:pt x="1166" y="643"/>
                  </a:lnTo>
                  <a:lnTo>
                    <a:pt x="1165" y="643"/>
                  </a:lnTo>
                  <a:lnTo>
                    <a:pt x="1165" y="642"/>
                  </a:lnTo>
                  <a:lnTo>
                    <a:pt x="1165" y="640"/>
                  </a:lnTo>
                  <a:lnTo>
                    <a:pt x="1166" y="639"/>
                  </a:lnTo>
                  <a:lnTo>
                    <a:pt x="1166" y="638"/>
                  </a:lnTo>
                  <a:lnTo>
                    <a:pt x="1165" y="636"/>
                  </a:lnTo>
                  <a:lnTo>
                    <a:pt x="1164" y="638"/>
                  </a:lnTo>
                  <a:lnTo>
                    <a:pt x="1162" y="638"/>
                  </a:lnTo>
                  <a:lnTo>
                    <a:pt x="1161" y="638"/>
                  </a:lnTo>
                  <a:lnTo>
                    <a:pt x="1161" y="639"/>
                  </a:lnTo>
                  <a:lnTo>
                    <a:pt x="1158" y="638"/>
                  </a:lnTo>
                  <a:lnTo>
                    <a:pt x="1157" y="638"/>
                  </a:lnTo>
                  <a:lnTo>
                    <a:pt x="1157" y="638"/>
                  </a:lnTo>
                  <a:lnTo>
                    <a:pt x="1155" y="636"/>
                  </a:lnTo>
                  <a:lnTo>
                    <a:pt x="1153" y="635"/>
                  </a:lnTo>
                  <a:lnTo>
                    <a:pt x="1153" y="635"/>
                  </a:lnTo>
                  <a:lnTo>
                    <a:pt x="1151" y="633"/>
                  </a:lnTo>
                  <a:lnTo>
                    <a:pt x="1151" y="633"/>
                  </a:lnTo>
                  <a:lnTo>
                    <a:pt x="1150" y="632"/>
                  </a:lnTo>
                  <a:lnTo>
                    <a:pt x="1150" y="631"/>
                  </a:lnTo>
                  <a:lnTo>
                    <a:pt x="1149" y="631"/>
                  </a:lnTo>
                  <a:lnTo>
                    <a:pt x="1147" y="629"/>
                  </a:lnTo>
                  <a:lnTo>
                    <a:pt x="1147" y="628"/>
                  </a:lnTo>
                  <a:lnTo>
                    <a:pt x="1146" y="627"/>
                  </a:lnTo>
                  <a:lnTo>
                    <a:pt x="1145" y="628"/>
                  </a:lnTo>
                  <a:lnTo>
                    <a:pt x="1145" y="629"/>
                  </a:lnTo>
                  <a:lnTo>
                    <a:pt x="1143" y="628"/>
                  </a:lnTo>
                  <a:lnTo>
                    <a:pt x="1142" y="629"/>
                  </a:lnTo>
                  <a:lnTo>
                    <a:pt x="1142" y="629"/>
                  </a:lnTo>
                  <a:lnTo>
                    <a:pt x="1140" y="629"/>
                  </a:lnTo>
                  <a:lnTo>
                    <a:pt x="1139" y="628"/>
                  </a:lnTo>
                  <a:lnTo>
                    <a:pt x="1138" y="628"/>
                  </a:lnTo>
                  <a:lnTo>
                    <a:pt x="1135" y="627"/>
                  </a:lnTo>
                  <a:lnTo>
                    <a:pt x="1135" y="627"/>
                  </a:lnTo>
                  <a:lnTo>
                    <a:pt x="1135" y="625"/>
                  </a:lnTo>
                  <a:lnTo>
                    <a:pt x="1135" y="625"/>
                  </a:lnTo>
                  <a:lnTo>
                    <a:pt x="1134" y="625"/>
                  </a:lnTo>
                  <a:lnTo>
                    <a:pt x="1132" y="627"/>
                  </a:lnTo>
                  <a:lnTo>
                    <a:pt x="1130" y="625"/>
                  </a:lnTo>
                  <a:lnTo>
                    <a:pt x="1130" y="627"/>
                  </a:lnTo>
                  <a:lnTo>
                    <a:pt x="1128" y="625"/>
                  </a:lnTo>
                  <a:lnTo>
                    <a:pt x="1127" y="625"/>
                  </a:lnTo>
                  <a:lnTo>
                    <a:pt x="1125" y="625"/>
                  </a:lnTo>
                  <a:lnTo>
                    <a:pt x="1124" y="624"/>
                  </a:lnTo>
                  <a:lnTo>
                    <a:pt x="1123" y="624"/>
                  </a:lnTo>
                  <a:lnTo>
                    <a:pt x="1120" y="621"/>
                  </a:lnTo>
                  <a:lnTo>
                    <a:pt x="1119" y="619"/>
                  </a:lnTo>
                  <a:lnTo>
                    <a:pt x="1119" y="617"/>
                  </a:lnTo>
                  <a:lnTo>
                    <a:pt x="1119" y="614"/>
                  </a:lnTo>
                  <a:lnTo>
                    <a:pt x="1117" y="614"/>
                  </a:lnTo>
                  <a:lnTo>
                    <a:pt x="1116" y="614"/>
                  </a:lnTo>
                  <a:lnTo>
                    <a:pt x="1116" y="612"/>
                  </a:lnTo>
                  <a:lnTo>
                    <a:pt x="1115" y="610"/>
                  </a:lnTo>
                  <a:lnTo>
                    <a:pt x="1115" y="609"/>
                  </a:lnTo>
                  <a:lnTo>
                    <a:pt x="1113" y="606"/>
                  </a:lnTo>
                  <a:lnTo>
                    <a:pt x="1109" y="604"/>
                  </a:lnTo>
                  <a:lnTo>
                    <a:pt x="1108" y="601"/>
                  </a:lnTo>
                  <a:lnTo>
                    <a:pt x="1106" y="599"/>
                  </a:lnTo>
                  <a:lnTo>
                    <a:pt x="1106" y="597"/>
                  </a:lnTo>
                  <a:lnTo>
                    <a:pt x="1105" y="598"/>
                  </a:lnTo>
                  <a:lnTo>
                    <a:pt x="1104" y="597"/>
                  </a:lnTo>
                  <a:lnTo>
                    <a:pt x="1104" y="595"/>
                  </a:lnTo>
                  <a:lnTo>
                    <a:pt x="1105" y="595"/>
                  </a:lnTo>
                  <a:lnTo>
                    <a:pt x="1102" y="594"/>
                  </a:lnTo>
                  <a:lnTo>
                    <a:pt x="1102" y="591"/>
                  </a:lnTo>
                  <a:lnTo>
                    <a:pt x="1101" y="591"/>
                  </a:lnTo>
                  <a:lnTo>
                    <a:pt x="1101" y="590"/>
                  </a:lnTo>
                  <a:lnTo>
                    <a:pt x="1100" y="587"/>
                  </a:lnTo>
                  <a:lnTo>
                    <a:pt x="1098" y="586"/>
                  </a:lnTo>
                  <a:lnTo>
                    <a:pt x="1096" y="585"/>
                  </a:lnTo>
                  <a:lnTo>
                    <a:pt x="1096" y="583"/>
                  </a:lnTo>
                  <a:lnTo>
                    <a:pt x="1096" y="582"/>
                  </a:lnTo>
                  <a:lnTo>
                    <a:pt x="1096" y="580"/>
                  </a:lnTo>
                  <a:lnTo>
                    <a:pt x="1093" y="580"/>
                  </a:lnTo>
                  <a:lnTo>
                    <a:pt x="1091" y="579"/>
                  </a:lnTo>
                  <a:lnTo>
                    <a:pt x="1091" y="578"/>
                  </a:lnTo>
                  <a:lnTo>
                    <a:pt x="1091" y="576"/>
                  </a:lnTo>
                  <a:lnTo>
                    <a:pt x="1091" y="575"/>
                  </a:lnTo>
                  <a:lnTo>
                    <a:pt x="1090" y="574"/>
                  </a:lnTo>
                  <a:lnTo>
                    <a:pt x="1090" y="574"/>
                  </a:lnTo>
                  <a:lnTo>
                    <a:pt x="1089" y="572"/>
                  </a:lnTo>
                  <a:lnTo>
                    <a:pt x="1089" y="571"/>
                  </a:lnTo>
                  <a:lnTo>
                    <a:pt x="1087" y="571"/>
                  </a:lnTo>
                  <a:lnTo>
                    <a:pt x="1086" y="571"/>
                  </a:lnTo>
                  <a:lnTo>
                    <a:pt x="1085" y="570"/>
                  </a:lnTo>
                  <a:lnTo>
                    <a:pt x="1086" y="568"/>
                  </a:lnTo>
                  <a:lnTo>
                    <a:pt x="1085" y="568"/>
                  </a:lnTo>
                  <a:lnTo>
                    <a:pt x="1083" y="567"/>
                  </a:lnTo>
                  <a:lnTo>
                    <a:pt x="1082" y="568"/>
                  </a:lnTo>
                  <a:lnTo>
                    <a:pt x="1082" y="567"/>
                  </a:lnTo>
                  <a:lnTo>
                    <a:pt x="1081" y="567"/>
                  </a:lnTo>
                  <a:lnTo>
                    <a:pt x="1081" y="565"/>
                  </a:lnTo>
                  <a:lnTo>
                    <a:pt x="1081" y="565"/>
                  </a:lnTo>
                  <a:lnTo>
                    <a:pt x="1079" y="564"/>
                  </a:lnTo>
                  <a:lnTo>
                    <a:pt x="1078" y="563"/>
                  </a:lnTo>
                  <a:lnTo>
                    <a:pt x="1077" y="563"/>
                  </a:lnTo>
                  <a:lnTo>
                    <a:pt x="1077" y="561"/>
                  </a:lnTo>
                  <a:lnTo>
                    <a:pt x="1075" y="563"/>
                  </a:lnTo>
                  <a:lnTo>
                    <a:pt x="1074" y="563"/>
                  </a:lnTo>
                  <a:lnTo>
                    <a:pt x="1072" y="561"/>
                  </a:lnTo>
                  <a:lnTo>
                    <a:pt x="1071" y="563"/>
                  </a:lnTo>
                  <a:lnTo>
                    <a:pt x="1071" y="564"/>
                  </a:lnTo>
                  <a:lnTo>
                    <a:pt x="1071" y="564"/>
                  </a:lnTo>
                  <a:lnTo>
                    <a:pt x="1068" y="564"/>
                  </a:lnTo>
                  <a:lnTo>
                    <a:pt x="1067" y="563"/>
                  </a:lnTo>
                  <a:lnTo>
                    <a:pt x="1066" y="563"/>
                  </a:lnTo>
                  <a:lnTo>
                    <a:pt x="1063" y="563"/>
                  </a:lnTo>
                  <a:lnTo>
                    <a:pt x="1063" y="563"/>
                  </a:lnTo>
                  <a:lnTo>
                    <a:pt x="1062" y="561"/>
                  </a:lnTo>
                  <a:lnTo>
                    <a:pt x="1057" y="560"/>
                  </a:lnTo>
                  <a:lnTo>
                    <a:pt x="1056" y="560"/>
                  </a:lnTo>
                  <a:lnTo>
                    <a:pt x="1055" y="559"/>
                  </a:lnTo>
                  <a:lnTo>
                    <a:pt x="1053" y="559"/>
                  </a:lnTo>
                  <a:lnTo>
                    <a:pt x="1052" y="559"/>
                  </a:lnTo>
                  <a:lnTo>
                    <a:pt x="1049" y="560"/>
                  </a:lnTo>
                  <a:lnTo>
                    <a:pt x="1048" y="561"/>
                  </a:lnTo>
                  <a:lnTo>
                    <a:pt x="1048" y="561"/>
                  </a:lnTo>
                  <a:lnTo>
                    <a:pt x="1047" y="563"/>
                  </a:lnTo>
                  <a:lnTo>
                    <a:pt x="1044" y="563"/>
                  </a:lnTo>
                  <a:lnTo>
                    <a:pt x="1043" y="563"/>
                  </a:lnTo>
                  <a:lnTo>
                    <a:pt x="1040" y="563"/>
                  </a:lnTo>
                  <a:lnTo>
                    <a:pt x="1038" y="564"/>
                  </a:lnTo>
                  <a:lnTo>
                    <a:pt x="1037" y="564"/>
                  </a:lnTo>
                  <a:lnTo>
                    <a:pt x="1036" y="565"/>
                  </a:lnTo>
                  <a:lnTo>
                    <a:pt x="1034" y="567"/>
                  </a:lnTo>
                  <a:lnTo>
                    <a:pt x="1032" y="565"/>
                  </a:lnTo>
                  <a:lnTo>
                    <a:pt x="1032" y="567"/>
                  </a:lnTo>
                  <a:lnTo>
                    <a:pt x="1030" y="567"/>
                  </a:lnTo>
                  <a:lnTo>
                    <a:pt x="1029" y="567"/>
                  </a:lnTo>
                  <a:lnTo>
                    <a:pt x="1026" y="567"/>
                  </a:lnTo>
                  <a:lnTo>
                    <a:pt x="1025" y="568"/>
                  </a:lnTo>
                  <a:lnTo>
                    <a:pt x="1025" y="570"/>
                  </a:lnTo>
                  <a:lnTo>
                    <a:pt x="1022" y="572"/>
                  </a:lnTo>
                  <a:lnTo>
                    <a:pt x="1022" y="574"/>
                  </a:lnTo>
                  <a:lnTo>
                    <a:pt x="1021" y="575"/>
                  </a:lnTo>
                  <a:lnTo>
                    <a:pt x="1021" y="576"/>
                  </a:lnTo>
                  <a:lnTo>
                    <a:pt x="1021" y="578"/>
                  </a:lnTo>
                  <a:lnTo>
                    <a:pt x="1021" y="580"/>
                  </a:lnTo>
                  <a:lnTo>
                    <a:pt x="1021" y="582"/>
                  </a:lnTo>
                  <a:lnTo>
                    <a:pt x="1022" y="582"/>
                  </a:lnTo>
                  <a:lnTo>
                    <a:pt x="1025" y="580"/>
                  </a:lnTo>
                  <a:lnTo>
                    <a:pt x="1026" y="579"/>
                  </a:lnTo>
                  <a:lnTo>
                    <a:pt x="1028" y="579"/>
                  </a:lnTo>
                  <a:lnTo>
                    <a:pt x="1030" y="582"/>
                  </a:lnTo>
                  <a:lnTo>
                    <a:pt x="1030" y="585"/>
                  </a:lnTo>
                  <a:lnTo>
                    <a:pt x="1033" y="586"/>
                  </a:lnTo>
                  <a:lnTo>
                    <a:pt x="1033" y="587"/>
                  </a:lnTo>
                  <a:lnTo>
                    <a:pt x="1033" y="589"/>
                  </a:lnTo>
                  <a:lnTo>
                    <a:pt x="1033" y="591"/>
                  </a:lnTo>
                  <a:lnTo>
                    <a:pt x="1032" y="593"/>
                  </a:lnTo>
                  <a:lnTo>
                    <a:pt x="1030" y="595"/>
                  </a:lnTo>
                  <a:lnTo>
                    <a:pt x="1029" y="598"/>
                  </a:lnTo>
                  <a:lnTo>
                    <a:pt x="1028" y="599"/>
                  </a:lnTo>
                  <a:lnTo>
                    <a:pt x="1026" y="601"/>
                  </a:lnTo>
                  <a:lnTo>
                    <a:pt x="1026" y="604"/>
                  </a:lnTo>
                  <a:lnTo>
                    <a:pt x="1028" y="605"/>
                  </a:lnTo>
                  <a:lnTo>
                    <a:pt x="1028" y="606"/>
                  </a:lnTo>
                  <a:lnTo>
                    <a:pt x="1028" y="609"/>
                  </a:lnTo>
                  <a:lnTo>
                    <a:pt x="1029" y="610"/>
                  </a:lnTo>
                  <a:lnTo>
                    <a:pt x="1029" y="613"/>
                  </a:lnTo>
                  <a:lnTo>
                    <a:pt x="1028" y="613"/>
                  </a:lnTo>
                  <a:lnTo>
                    <a:pt x="1026" y="614"/>
                  </a:lnTo>
                  <a:lnTo>
                    <a:pt x="1028" y="617"/>
                  </a:lnTo>
                  <a:lnTo>
                    <a:pt x="1028" y="620"/>
                  </a:lnTo>
                  <a:lnTo>
                    <a:pt x="1028" y="621"/>
                  </a:lnTo>
                  <a:lnTo>
                    <a:pt x="1028" y="624"/>
                  </a:lnTo>
                  <a:lnTo>
                    <a:pt x="1029" y="625"/>
                  </a:lnTo>
                  <a:lnTo>
                    <a:pt x="1029" y="625"/>
                  </a:lnTo>
                  <a:lnTo>
                    <a:pt x="1030" y="625"/>
                  </a:lnTo>
                  <a:lnTo>
                    <a:pt x="1032" y="625"/>
                  </a:lnTo>
                  <a:lnTo>
                    <a:pt x="1032" y="628"/>
                  </a:lnTo>
                  <a:lnTo>
                    <a:pt x="1030" y="629"/>
                  </a:lnTo>
                  <a:lnTo>
                    <a:pt x="1029" y="632"/>
                  </a:lnTo>
                  <a:lnTo>
                    <a:pt x="1025" y="632"/>
                  </a:lnTo>
                  <a:lnTo>
                    <a:pt x="1022" y="635"/>
                  </a:lnTo>
                  <a:lnTo>
                    <a:pt x="1017" y="640"/>
                  </a:lnTo>
                  <a:lnTo>
                    <a:pt x="1015" y="640"/>
                  </a:lnTo>
                  <a:lnTo>
                    <a:pt x="1014" y="639"/>
                  </a:lnTo>
                  <a:lnTo>
                    <a:pt x="1010" y="638"/>
                  </a:lnTo>
                  <a:lnTo>
                    <a:pt x="1009" y="639"/>
                  </a:lnTo>
                  <a:lnTo>
                    <a:pt x="1007" y="638"/>
                  </a:lnTo>
                  <a:lnTo>
                    <a:pt x="1006" y="638"/>
                  </a:lnTo>
                  <a:lnTo>
                    <a:pt x="1004" y="638"/>
                  </a:lnTo>
                  <a:lnTo>
                    <a:pt x="1003" y="636"/>
                  </a:lnTo>
                  <a:lnTo>
                    <a:pt x="999" y="635"/>
                  </a:lnTo>
                  <a:lnTo>
                    <a:pt x="995" y="636"/>
                  </a:lnTo>
                  <a:lnTo>
                    <a:pt x="995" y="638"/>
                  </a:lnTo>
                  <a:lnTo>
                    <a:pt x="992" y="639"/>
                  </a:lnTo>
                  <a:lnTo>
                    <a:pt x="991" y="639"/>
                  </a:lnTo>
                  <a:lnTo>
                    <a:pt x="989" y="638"/>
                  </a:lnTo>
                  <a:lnTo>
                    <a:pt x="987" y="639"/>
                  </a:lnTo>
                  <a:lnTo>
                    <a:pt x="985" y="638"/>
                  </a:lnTo>
                  <a:lnTo>
                    <a:pt x="984" y="636"/>
                  </a:lnTo>
                  <a:lnTo>
                    <a:pt x="981" y="635"/>
                  </a:lnTo>
                  <a:lnTo>
                    <a:pt x="979" y="635"/>
                  </a:lnTo>
                  <a:lnTo>
                    <a:pt x="976" y="635"/>
                  </a:lnTo>
                  <a:lnTo>
                    <a:pt x="975" y="635"/>
                  </a:lnTo>
                  <a:lnTo>
                    <a:pt x="973" y="635"/>
                  </a:lnTo>
                  <a:lnTo>
                    <a:pt x="970" y="636"/>
                  </a:lnTo>
                  <a:lnTo>
                    <a:pt x="970" y="639"/>
                  </a:lnTo>
                  <a:lnTo>
                    <a:pt x="968" y="640"/>
                  </a:lnTo>
                  <a:lnTo>
                    <a:pt x="966" y="642"/>
                  </a:lnTo>
                  <a:lnTo>
                    <a:pt x="965" y="644"/>
                  </a:lnTo>
                  <a:lnTo>
                    <a:pt x="965" y="644"/>
                  </a:lnTo>
                  <a:lnTo>
                    <a:pt x="964" y="647"/>
                  </a:lnTo>
                  <a:lnTo>
                    <a:pt x="961" y="650"/>
                  </a:lnTo>
                  <a:lnTo>
                    <a:pt x="955" y="650"/>
                  </a:lnTo>
                  <a:lnTo>
                    <a:pt x="954" y="650"/>
                  </a:lnTo>
                  <a:lnTo>
                    <a:pt x="953" y="651"/>
                  </a:lnTo>
                  <a:lnTo>
                    <a:pt x="950" y="651"/>
                  </a:lnTo>
                  <a:lnTo>
                    <a:pt x="945" y="654"/>
                  </a:lnTo>
                  <a:lnTo>
                    <a:pt x="943" y="657"/>
                  </a:lnTo>
                  <a:lnTo>
                    <a:pt x="942" y="657"/>
                  </a:lnTo>
                  <a:lnTo>
                    <a:pt x="939" y="655"/>
                  </a:lnTo>
                  <a:lnTo>
                    <a:pt x="938" y="655"/>
                  </a:lnTo>
                  <a:lnTo>
                    <a:pt x="936" y="657"/>
                  </a:lnTo>
                  <a:lnTo>
                    <a:pt x="932" y="657"/>
                  </a:lnTo>
                  <a:lnTo>
                    <a:pt x="926" y="658"/>
                  </a:lnTo>
                  <a:lnTo>
                    <a:pt x="922" y="657"/>
                  </a:lnTo>
                  <a:lnTo>
                    <a:pt x="916" y="657"/>
                  </a:lnTo>
                  <a:lnTo>
                    <a:pt x="915" y="657"/>
                  </a:lnTo>
                  <a:lnTo>
                    <a:pt x="912" y="654"/>
                  </a:lnTo>
                  <a:lnTo>
                    <a:pt x="911" y="654"/>
                  </a:lnTo>
                  <a:lnTo>
                    <a:pt x="909" y="652"/>
                  </a:lnTo>
                  <a:lnTo>
                    <a:pt x="907" y="651"/>
                  </a:lnTo>
                  <a:lnTo>
                    <a:pt x="905" y="647"/>
                  </a:lnTo>
                  <a:lnTo>
                    <a:pt x="904" y="647"/>
                  </a:lnTo>
                  <a:lnTo>
                    <a:pt x="902" y="647"/>
                  </a:lnTo>
                  <a:lnTo>
                    <a:pt x="898" y="647"/>
                  </a:lnTo>
                  <a:lnTo>
                    <a:pt x="894" y="646"/>
                  </a:lnTo>
                  <a:lnTo>
                    <a:pt x="892" y="642"/>
                  </a:lnTo>
                  <a:lnTo>
                    <a:pt x="888" y="643"/>
                  </a:lnTo>
                  <a:lnTo>
                    <a:pt x="885" y="642"/>
                  </a:lnTo>
                  <a:lnTo>
                    <a:pt x="882" y="640"/>
                  </a:lnTo>
                  <a:lnTo>
                    <a:pt x="878" y="642"/>
                  </a:lnTo>
                  <a:lnTo>
                    <a:pt x="875" y="642"/>
                  </a:lnTo>
                  <a:lnTo>
                    <a:pt x="873" y="643"/>
                  </a:lnTo>
                  <a:lnTo>
                    <a:pt x="868" y="643"/>
                  </a:lnTo>
                  <a:lnTo>
                    <a:pt x="866" y="644"/>
                  </a:lnTo>
                  <a:lnTo>
                    <a:pt x="863" y="647"/>
                  </a:lnTo>
                  <a:lnTo>
                    <a:pt x="862" y="647"/>
                  </a:lnTo>
                  <a:lnTo>
                    <a:pt x="860" y="647"/>
                  </a:lnTo>
                  <a:lnTo>
                    <a:pt x="859" y="647"/>
                  </a:lnTo>
                  <a:lnTo>
                    <a:pt x="856" y="647"/>
                  </a:lnTo>
                  <a:lnTo>
                    <a:pt x="854" y="647"/>
                  </a:lnTo>
                  <a:lnTo>
                    <a:pt x="852" y="648"/>
                  </a:lnTo>
                  <a:lnTo>
                    <a:pt x="851" y="648"/>
                  </a:lnTo>
                  <a:lnTo>
                    <a:pt x="847" y="646"/>
                  </a:lnTo>
                  <a:lnTo>
                    <a:pt x="844" y="646"/>
                  </a:lnTo>
                  <a:lnTo>
                    <a:pt x="843" y="644"/>
                  </a:lnTo>
                  <a:lnTo>
                    <a:pt x="841" y="642"/>
                  </a:lnTo>
                  <a:lnTo>
                    <a:pt x="840" y="642"/>
                  </a:lnTo>
                  <a:lnTo>
                    <a:pt x="837" y="640"/>
                  </a:lnTo>
                  <a:lnTo>
                    <a:pt x="839" y="639"/>
                  </a:lnTo>
                  <a:lnTo>
                    <a:pt x="837" y="636"/>
                  </a:lnTo>
                  <a:lnTo>
                    <a:pt x="836" y="635"/>
                  </a:lnTo>
                  <a:lnTo>
                    <a:pt x="836" y="633"/>
                  </a:lnTo>
                  <a:lnTo>
                    <a:pt x="834" y="631"/>
                  </a:lnTo>
                  <a:lnTo>
                    <a:pt x="834" y="629"/>
                  </a:lnTo>
                  <a:lnTo>
                    <a:pt x="833" y="628"/>
                  </a:lnTo>
                  <a:lnTo>
                    <a:pt x="832" y="627"/>
                  </a:lnTo>
                  <a:lnTo>
                    <a:pt x="826" y="627"/>
                  </a:lnTo>
                  <a:lnTo>
                    <a:pt x="825" y="627"/>
                  </a:lnTo>
                  <a:lnTo>
                    <a:pt x="824" y="627"/>
                  </a:lnTo>
                  <a:lnTo>
                    <a:pt x="820" y="625"/>
                  </a:lnTo>
                  <a:lnTo>
                    <a:pt x="820" y="625"/>
                  </a:lnTo>
                  <a:lnTo>
                    <a:pt x="817" y="624"/>
                  </a:lnTo>
                  <a:lnTo>
                    <a:pt x="813" y="624"/>
                  </a:lnTo>
                  <a:lnTo>
                    <a:pt x="810" y="624"/>
                  </a:lnTo>
                  <a:lnTo>
                    <a:pt x="807" y="623"/>
                  </a:lnTo>
                  <a:lnTo>
                    <a:pt x="807" y="623"/>
                  </a:lnTo>
                  <a:lnTo>
                    <a:pt x="805" y="620"/>
                  </a:lnTo>
                  <a:lnTo>
                    <a:pt x="800" y="620"/>
                  </a:lnTo>
                  <a:lnTo>
                    <a:pt x="799" y="619"/>
                  </a:lnTo>
                  <a:lnTo>
                    <a:pt x="798" y="619"/>
                  </a:lnTo>
                  <a:lnTo>
                    <a:pt x="795" y="620"/>
                  </a:lnTo>
                  <a:lnTo>
                    <a:pt x="795" y="621"/>
                  </a:lnTo>
                  <a:lnTo>
                    <a:pt x="796" y="624"/>
                  </a:lnTo>
                  <a:lnTo>
                    <a:pt x="795" y="625"/>
                  </a:lnTo>
                  <a:lnTo>
                    <a:pt x="794" y="625"/>
                  </a:lnTo>
                  <a:lnTo>
                    <a:pt x="792" y="625"/>
                  </a:lnTo>
                  <a:lnTo>
                    <a:pt x="791" y="628"/>
                  </a:lnTo>
                  <a:lnTo>
                    <a:pt x="791" y="629"/>
                  </a:lnTo>
                  <a:lnTo>
                    <a:pt x="788" y="632"/>
                  </a:lnTo>
                  <a:lnTo>
                    <a:pt x="788" y="638"/>
                  </a:lnTo>
                  <a:lnTo>
                    <a:pt x="790" y="640"/>
                  </a:lnTo>
                  <a:lnTo>
                    <a:pt x="792" y="642"/>
                  </a:lnTo>
                  <a:lnTo>
                    <a:pt x="794" y="643"/>
                  </a:lnTo>
                  <a:lnTo>
                    <a:pt x="796" y="644"/>
                  </a:lnTo>
                  <a:lnTo>
                    <a:pt x="796" y="646"/>
                  </a:lnTo>
                  <a:lnTo>
                    <a:pt x="796" y="650"/>
                  </a:lnTo>
                  <a:lnTo>
                    <a:pt x="795" y="652"/>
                  </a:lnTo>
                  <a:lnTo>
                    <a:pt x="798" y="654"/>
                  </a:lnTo>
                  <a:lnTo>
                    <a:pt x="799" y="655"/>
                  </a:lnTo>
                  <a:lnTo>
                    <a:pt x="798" y="659"/>
                  </a:lnTo>
                  <a:lnTo>
                    <a:pt x="794" y="659"/>
                  </a:lnTo>
                  <a:lnTo>
                    <a:pt x="791" y="659"/>
                  </a:lnTo>
                  <a:lnTo>
                    <a:pt x="791" y="661"/>
                  </a:lnTo>
                  <a:lnTo>
                    <a:pt x="788" y="661"/>
                  </a:lnTo>
                  <a:lnTo>
                    <a:pt x="787" y="659"/>
                  </a:lnTo>
                  <a:lnTo>
                    <a:pt x="781" y="659"/>
                  </a:lnTo>
                  <a:lnTo>
                    <a:pt x="780" y="659"/>
                  </a:lnTo>
                  <a:lnTo>
                    <a:pt x="777" y="659"/>
                  </a:lnTo>
                  <a:lnTo>
                    <a:pt x="776" y="658"/>
                  </a:lnTo>
                  <a:lnTo>
                    <a:pt x="773" y="658"/>
                  </a:lnTo>
                  <a:lnTo>
                    <a:pt x="771" y="661"/>
                  </a:lnTo>
                  <a:lnTo>
                    <a:pt x="769" y="661"/>
                  </a:lnTo>
                  <a:lnTo>
                    <a:pt x="766" y="662"/>
                  </a:lnTo>
                  <a:lnTo>
                    <a:pt x="762" y="659"/>
                  </a:lnTo>
                  <a:lnTo>
                    <a:pt x="761" y="658"/>
                  </a:lnTo>
                  <a:lnTo>
                    <a:pt x="754" y="655"/>
                  </a:lnTo>
                  <a:lnTo>
                    <a:pt x="754" y="654"/>
                  </a:lnTo>
                  <a:lnTo>
                    <a:pt x="754" y="651"/>
                  </a:lnTo>
                  <a:lnTo>
                    <a:pt x="753" y="650"/>
                  </a:lnTo>
                  <a:lnTo>
                    <a:pt x="749" y="650"/>
                  </a:lnTo>
                  <a:lnTo>
                    <a:pt x="747" y="651"/>
                  </a:lnTo>
                  <a:lnTo>
                    <a:pt x="746" y="651"/>
                  </a:lnTo>
                  <a:lnTo>
                    <a:pt x="745" y="651"/>
                  </a:lnTo>
                  <a:lnTo>
                    <a:pt x="742" y="651"/>
                  </a:lnTo>
                  <a:lnTo>
                    <a:pt x="741" y="650"/>
                  </a:lnTo>
                  <a:lnTo>
                    <a:pt x="741" y="648"/>
                  </a:lnTo>
                  <a:lnTo>
                    <a:pt x="739" y="647"/>
                  </a:lnTo>
                  <a:lnTo>
                    <a:pt x="738" y="647"/>
                  </a:lnTo>
                  <a:lnTo>
                    <a:pt x="737" y="647"/>
                  </a:lnTo>
                  <a:lnTo>
                    <a:pt x="734" y="647"/>
                  </a:lnTo>
                  <a:lnTo>
                    <a:pt x="731" y="647"/>
                  </a:lnTo>
                  <a:lnTo>
                    <a:pt x="730" y="648"/>
                  </a:lnTo>
                  <a:lnTo>
                    <a:pt x="726" y="648"/>
                  </a:lnTo>
                  <a:lnTo>
                    <a:pt x="723" y="650"/>
                  </a:lnTo>
                  <a:lnTo>
                    <a:pt x="722" y="652"/>
                  </a:lnTo>
                  <a:lnTo>
                    <a:pt x="720" y="654"/>
                  </a:lnTo>
                  <a:lnTo>
                    <a:pt x="716" y="652"/>
                  </a:lnTo>
                  <a:lnTo>
                    <a:pt x="716" y="654"/>
                  </a:lnTo>
                  <a:lnTo>
                    <a:pt x="716" y="655"/>
                  </a:lnTo>
                  <a:lnTo>
                    <a:pt x="718" y="655"/>
                  </a:lnTo>
                  <a:lnTo>
                    <a:pt x="716" y="657"/>
                  </a:lnTo>
                  <a:lnTo>
                    <a:pt x="715" y="659"/>
                  </a:lnTo>
                  <a:lnTo>
                    <a:pt x="712" y="659"/>
                  </a:lnTo>
                  <a:lnTo>
                    <a:pt x="711" y="662"/>
                  </a:lnTo>
                  <a:lnTo>
                    <a:pt x="711" y="663"/>
                  </a:lnTo>
                  <a:lnTo>
                    <a:pt x="708" y="665"/>
                  </a:lnTo>
                  <a:lnTo>
                    <a:pt x="707" y="667"/>
                  </a:lnTo>
                  <a:lnTo>
                    <a:pt x="707" y="669"/>
                  </a:lnTo>
                  <a:lnTo>
                    <a:pt x="703" y="670"/>
                  </a:lnTo>
                  <a:lnTo>
                    <a:pt x="701" y="673"/>
                  </a:lnTo>
                  <a:lnTo>
                    <a:pt x="700" y="674"/>
                  </a:lnTo>
                  <a:lnTo>
                    <a:pt x="694" y="674"/>
                  </a:lnTo>
                  <a:lnTo>
                    <a:pt x="693" y="674"/>
                  </a:lnTo>
                  <a:lnTo>
                    <a:pt x="690" y="680"/>
                  </a:lnTo>
                  <a:lnTo>
                    <a:pt x="690" y="680"/>
                  </a:lnTo>
                  <a:lnTo>
                    <a:pt x="690" y="680"/>
                  </a:lnTo>
                  <a:lnTo>
                    <a:pt x="688" y="678"/>
                  </a:lnTo>
                  <a:lnTo>
                    <a:pt x="686" y="678"/>
                  </a:lnTo>
                  <a:lnTo>
                    <a:pt x="685" y="678"/>
                  </a:lnTo>
                  <a:lnTo>
                    <a:pt x="682" y="677"/>
                  </a:lnTo>
                  <a:lnTo>
                    <a:pt x="679" y="674"/>
                  </a:lnTo>
                  <a:lnTo>
                    <a:pt x="678" y="674"/>
                  </a:lnTo>
                  <a:lnTo>
                    <a:pt x="677" y="672"/>
                  </a:lnTo>
                  <a:lnTo>
                    <a:pt x="678" y="669"/>
                  </a:lnTo>
                  <a:lnTo>
                    <a:pt x="677" y="669"/>
                  </a:lnTo>
                  <a:lnTo>
                    <a:pt x="674" y="670"/>
                  </a:lnTo>
                  <a:lnTo>
                    <a:pt x="674" y="672"/>
                  </a:lnTo>
                  <a:lnTo>
                    <a:pt x="671" y="673"/>
                  </a:lnTo>
                  <a:lnTo>
                    <a:pt x="666" y="673"/>
                  </a:lnTo>
                  <a:lnTo>
                    <a:pt x="663" y="674"/>
                  </a:lnTo>
                  <a:lnTo>
                    <a:pt x="663" y="676"/>
                  </a:lnTo>
                  <a:lnTo>
                    <a:pt x="660" y="674"/>
                  </a:lnTo>
                  <a:lnTo>
                    <a:pt x="659" y="673"/>
                  </a:lnTo>
                  <a:lnTo>
                    <a:pt x="658" y="673"/>
                  </a:lnTo>
                  <a:lnTo>
                    <a:pt x="658" y="673"/>
                  </a:lnTo>
                  <a:lnTo>
                    <a:pt x="656" y="672"/>
                  </a:lnTo>
                  <a:lnTo>
                    <a:pt x="655" y="670"/>
                  </a:lnTo>
                  <a:lnTo>
                    <a:pt x="655" y="667"/>
                  </a:lnTo>
                  <a:lnTo>
                    <a:pt x="656" y="667"/>
                  </a:lnTo>
                  <a:lnTo>
                    <a:pt x="655" y="666"/>
                  </a:lnTo>
                  <a:lnTo>
                    <a:pt x="654" y="665"/>
                  </a:lnTo>
                  <a:lnTo>
                    <a:pt x="654" y="665"/>
                  </a:lnTo>
                  <a:lnTo>
                    <a:pt x="651" y="663"/>
                  </a:lnTo>
                  <a:lnTo>
                    <a:pt x="648" y="662"/>
                  </a:lnTo>
                  <a:lnTo>
                    <a:pt x="647" y="662"/>
                  </a:lnTo>
                  <a:lnTo>
                    <a:pt x="645" y="659"/>
                  </a:lnTo>
                  <a:lnTo>
                    <a:pt x="644" y="657"/>
                  </a:lnTo>
                  <a:lnTo>
                    <a:pt x="640" y="654"/>
                  </a:lnTo>
                  <a:lnTo>
                    <a:pt x="636" y="652"/>
                  </a:lnTo>
                  <a:lnTo>
                    <a:pt x="632" y="652"/>
                  </a:lnTo>
                  <a:lnTo>
                    <a:pt x="629" y="654"/>
                  </a:lnTo>
                  <a:lnTo>
                    <a:pt x="628" y="654"/>
                  </a:lnTo>
                  <a:lnTo>
                    <a:pt x="629" y="655"/>
                  </a:lnTo>
                  <a:lnTo>
                    <a:pt x="628" y="657"/>
                  </a:lnTo>
                  <a:lnTo>
                    <a:pt x="626" y="658"/>
                  </a:lnTo>
                  <a:lnTo>
                    <a:pt x="624" y="658"/>
                  </a:lnTo>
                  <a:lnTo>
                    <a:pt x="621" y="658"/>
                  </a:lnTo>
                  <a:lnTo>
                    <a:pt x="618" y="657"/>
                  </a:lnTo>
                  <a:lnTo>
                    <a:pt x="617" y="657"/>
                  </a:lnTo>
                  <a:lnTo>
                    <a:pt x="616" y="658"/>
                  </a:lnTo>
                  <a:lnTo>
                    <a:pt x="613" y="658"/>
                  </a:lnTo>
                  <a:lnTo>
                    <a:pt x="611" y="657"/>
                  </a:lnTo>
                  <a:lnTo>
                    <a:pt x="609" y="655"/>
                  </a:lnTo>
                  <a:lnTo>
                    <a:pt x="609" y="654"/>
                  </a:lnTo>
                  <a:lnTo>
                    <a:pt x="609" y="652"/>
                  </a:lnTo>
                  <a:lnTo>
                    <a:pt x="605" y="651"/>
                  </a:lnTo>
                  <a:lnTo>
                    <a:pt x="603" y="651"/>
                  </a:lnTo>
                  <a:lnTo>
                    <a:pt x="603" y="654"/>
                  </a:lnTo>
                  <a:lnTo>
                    <a:pt x="605" y="655"/>
                  </a:lnTo>
                  <a:lnTo>
                    <a:pt x="603" y="657"/>
                  </a:lnTo>
                  <a:lnTo>
                    <a:pt x="602" y="658"/>
                  </a:lnTo>
                  <a:lnTo>
                    <a:pt x="599" y="658"/>
                  </a:lnTo>
                  <a:lnTo>
                    <a:pt x="571" y="623"/>
                  </a:lnTo>
                  <a:lnTo>
                    <a:pt x="549" y="606"/>
                  </a:lnTo>
                  <a:lnTo>
                    <a:pt x="548" y="605"/>
                  </a:lnTo>
                  <a:lnTo>
                    <a:pt x="550" y="604"/>
                  </a:lnTo>
                  <a:lnTo>
                    <a:pt x="552" y="602"/>
                  </a:lnTo>
                  <a:lnTo>
                    <a:pt x="552" y="599"/>
                  </a:lnTo>
                  <a:lnTo>
                    <a:pt x="550" y="599"/>
                  </a:lnTo>
                  <a:lnTo>
                    <a:pt x="548" y="599"/>
                  </a:lnTo>
                  <a:lnTo>
                    <a:pt x="545" y="601"/>
                  </a:lnTo>
                  <a:lnTo>
                    <a:pt x="543" y="602"/>
                  </a:lnTo>
                  <a:lnTo>
                    <a:pt x="542" y="604"/>
                  </a:lnTo>
                  <a:lnTo>
                    <a:pt x="539" y="605"/>
                  </a:lnTo>
                  <a:lnTo>
                    <a:pt x="538" y="608"/>
                  </a:lnTo>
                  <a:lnTo>
                    <a:pt x="537" y="609"/>
                  </a:lnTo>
                  <a:lnTo>
                    <a:pt x="535" y="610"/>
                  </a:lnTo>
                  <a:lnTo>
                    <a:pt x="534" y="612"/>
                  </a:lnTo>
                  <a:lnTo>
                    <a:pt x="530" y="613"/>
                  </a:lnTo>
                  <a:lnTo>
                    <a:pt x="529" y="613"/>
                  </a:lnTo>
                  <a:lnTo>
                    <a:pt x="529" y="616"/>
                  </a:lnTo>
                  <a:lnTo>
                    <a:pt x="527" y="617"/>
                  </a:lnTo>
                  <a:lnTo>
                    <a:pt x="526" y="616"/>
                  </a:lnTo>
                  <a:lnTo>
                    <a:pt x="522" y="616"/>
                  </a:lnTo>
                  <a:lnTo>
                    <a:pt x="519" y="616"/>
                  </a:lnTo>
                  <a:lnTo>
                    <a:pt x="518" y="617"/>
                  </a:lnTo>
                  <a:lnTo>
                    <a:pt x="516" y="617"/>
                  </a:lnTo>
                  <a:lnTo>
                    <a:pt x="514" y="616"/>
                  </a:lnTo>
                  <a:lnTo>
                    <a:pt x="514" y="613"/>
                  </a:lnTo>
                  <a:lnTo>
                    <a:pt x="515" y="612"/>
                  </a:lnTo>
                  <a:lnTo>
                    <a:pt x="516" y="609"/>
                  </a:lnTo>
                  <a:lnTo>
                    <a:pt x="515" y="609"/>
                  </a:lnTo>
                  <a:lnTo>
                    <a:pt x="514" y="610"/>
                  </a:lnTo>
                  <a:lnTo>
                    <a:pt x="512" y="610"/>
                  </a:lnTo>
                  <a:lnTo>
                    <a:pt x="508" y="608"/>
                  </a:lnTo>
                  <a:lnTo>
                    <a:pt x="505" y="608"/>
                  </a:lnTo>
                  <a:lnTo>
                    <a:pt x="505" y="609"/>
                  </a:lnTo>
                  <a:lnTo>
                    <a:pt x="507" y="610"/>
                  </a:lnTo>
                  <a:lnTo>
                    <a:pt x="505" y="612"/>
                  </a:lnTo>
                  <a:lnTo>
                    <a:pt x="504" y="612"/>
                  </a:lnTo>
                  <a:lnTo>
                    <a:pt x="503" y="609"/>
                  </a:lnTo>
                  <a:lnTo>
                    <a:pt x="501" y="605"/>
                  </a:lnTo>
                  <a:lnTo>
                    <a:pt x="497" y="602"/>
                  </a:lnTo>
                  <a:lnTo>
                    <a:pt x="497" y="604"/>
                  </a:lnTo>
                  <a:lnTo>
                    <a:pt x="499" y="605"/>
                  </a:lnTo>
                  <a:lnTo>
                    <a:pt x="497" y="608"/>
                  </a:lnTo>
                  <a:lnTo>
                    <a:pt x="496" y="608"/>
                  </a:lnTo>
                  <a:lnTo>
                    <a:pt x="496" y="605"/>
                  </a:lnTo>
                  <a:lnTo>
                    <a:pt x="495" y="605"/>
                  </a:lnTo>
                  <a:lnTo>
                    <a:pt x="493" y="608"/>
                  </a:lnTo>
                  <a:lnTo>
                    <a:pt x="492" y="608"/>
                  </a:lnTo>
                  <a:lnTo>
                    <a:pt x="490" y="606"/>
                  </a:lnTo>
                  <a:lnTo>
                    <a:pt x="488" y="608"/>
                  </a:lnTo>
                  <a:lnTo>
                    <a:pt x="486" y="608"/>
                  </a:lnTo>
                  <a:lnTo>
                    <a:pt x="485" y="605"/>
                  </a:lnTo>
                  <a:lnTo>
                    <a:pt x="488" y="605"/>
                  </a:lnTo>
                  <a:lnTo>
                    <a:pt x="488" y="604"/>
                  </a:lnTo>
                  <a:lnTo>
                    <a:pt x="486" y="601"/>
                  </a:lnTo>
                  <a:lnTo>
                    <a:pt x="488" y="599"/>
                  </a:lnTo>
                  <a:lnTo>
                    <a:pt x="488" y="598"/>
                  </a:lnTo>
                  <a:lnTo>
                    <a:pt x="485" y="597"/>
                  </a:lnTo>
                  <a:lnTo>
                    <a:pt x="484" y="595"/>
                  </a:lnTo>
                  <a:lnTo>
                    <a:pt x="484" y="593"/>
                  </a:lnTo>
                  <a:lnTo>
                    <a:pt x="482" y="593"/>
                  </a:lnTo>
                  <a:lnTo>
                    <a:pt x="481" y="589"/>
                  </a:lnTo>
                  <a:lnTo>
                    <a:pt x="480" y="589"/>
                  </a:lnTo>
                  <a:lnTo>
                    <a:pt x="477" y="590"/>
                  </a:lnTo>
                  <a:lnTo>
                    <a:pt x="474" y="590"/>
                  </a:lnTo>
                  <a:lnTo>
                    <a:pt x="471" y="589"/>
                  </a:lnTo>
                  <a:lnTo>
                    <a:pt x="467" y="589"/>
                  </a:lnTo>
                  <a:lnTo>
                    <a:pt x="465" y="587"/>
                  </a:lnTo>
                  <a:lnTo>
                    <a:pt x="463" y="589"/>
                  </a:lnTo>
                  <a:lnTo>
                    <a:pt x="462" y="587"/>
                  </a:lnTo>
                  <a:lnTo>
                    <a:pt x="459" y="589"/>
                  </a:lnTo>
                  <a:lnTo>
                    <a:pt x="459" y="591"/>
                  </a:lnTo>
                  <a:lnTo>
                    <a:pt x="455" y="591"/>
                  </a:lnTo>
                  <a:lnTo>
                    <a:pt x="454" y="593"/>
                  </a:lnTo>
                  <a:lnTo>
                    <a:pt x="455" y="594"/>
                  </a:lnTo>
                  <a:lnTo>
                    <a:pt x="455" y="595"/>
                  </a:lnTo>
                  <a:lnTo>
                    <a:pt x="452" y="597"/>
                  </a:lnTo>
                  <a:lnTo>
                    <a:pt x="451" y="595"/>
                  </a:lnTo>
                  <a:lnTo>
                    <a:pt x="450" y="598"/>
                  </a:lnTo>
                  <a:lnTo>
                    <a:pt x="447" y="598"/>
                  </a:lnTo>
                  <a:lnTo>
                    <a:pt x="446" y="599"/>
                  </a:lnTo>
                  <a:lnTo>
                    <a:pt x="444" y="599"/>
                  </a:lnTo>
                  <a:lnTo>
                    <a:pt x="439" y="602"/>
                  </a:lnTo>
                  <a:lnTo>
                    <a:pt x="436" y="604"/>
                  </a:lnTo>
                  <a:lnTo>
                    <a:pt x="435" y="605"/>
                  </a:lnTo>
                  <a:lnTo>
                    <a:pt x="433" y="605"/>
                  </a:lnTo>
                  <a:lnTo>
                    <a:pt x="432" y="604"/>
                  </a:lnTo>
                  <a:lnTo>
                    <a:pt x="431" y="605"/>
                  </a:lnTo>
                  <a:lnTo>
                    <a:pt x="429" y="606"/>
                  </a:lnTo>
                  <a:lnTo>
                    <a:pt x="427" y="606"/>
                  </a:lnTo>
                  <a:lnTo>
                    <a:pt x="425" y="608"/>
                  </a:lnTo>
                  <a:lnTo>
                    <a:pt x="425" y="609"/>
                  </a:lnTo>
                  <a:lnTo>
                    <a:pt x="425" y="610"/>
                  </a:lnTo>
                  <a:lnTo>
                    <a:pt x="424" y="610"/>
                  </a:lnTo>
                  <a:lnTo>
                    <a:pt x="421" y="610"/>
                  </a:lnTo>
                  <a:lnTo>
                    <a:pt x="420" y="612"/>
                  </a:lnTo>
                  <a:lnTo>
                    <a:pt x="417" y="612"/>
                  </a:lnTo>
                  <a:lnTo>
                    <a:pt x="414" y="613"/>
                  </a:lnTo>
                  <a:lnTo>
                    <a:pt x="413" y="614"/>
                  </a:lnTo>
                  <a:lnTo>
                    <a:pt x="410" y="614"/>
                  </a:lnTo>
                  <a:lnTo>
                    <a:pt x="408" y="616"/>
                  </a:lnTo>
                  <a:lnTo>
                    <a:pt x="405" y="616"/>
                  </a:lnTo>
                  <a:lnTo>
                    <a:pt x="401" y="617"/>
                  </a:lnTo>
                  <a:lnTo>
                    <a:pt x="401" y="619"/>
                  </a:lnTo>
                  <a:lnTo>
                    <a:pt x="399" y="621"/>
                  </a:lnTo>
                  <a:lnTo>
                    <a:pt x="398" y="619"/>
                  </a:lnTo>
                  <a:lnTo>
                    <a:pt x="395" y="619"/>
                  </a:lnTo>
                  <a:lnTo>
                    <a:pt x="394" y="620"/>
                  </a:lnTo>
                  <a:lnTo>
                    <a:pt x="394" y="621"/>
                  </a:lnTo>
                  <a:lnTo>
                    <a:pt x="393" y="623"/>
                  </a:lnTo>
                  <a:lnTo>
                    <a:pt x="390" y="621"/>
                  </a:lnTo>
                  <a:lnTo>
                    <a:pt x="388" y="621"/>
                  </a:lnTo>
                  <a:lnTo>
                    <a:pt x="387" y="620"/>
                  </a:lnTo>
                  <a:lnTo>
                    <a:pt x="386" y="620"/>
                  </a:lnTo>
                  <a:lnTo>
                    <a:pt x="384" y="621"/>
                  </a:lnTo>
                  <a:lnTo>
                    <a:pt x="382" y="621"/>
                  </a:lnTo>
                  <a:lnTo>
                    <a:pt x="380" y="623"/>
                  </a:lnTo>
                  <a:lnTo>
                    <a:pt x="382" y="625"/>
                  </a:lnTo>
                  <a:lnTo>
                    <a:pt x="380" y="627"/>
                  </a:lnTo>
                  <a:lnTo>
                    <a:pt x="383" y="627"/>
                  </a:lnTo>
                  <a:lnTo>
                    <a:pt x="386" y="627"/>
                  </a:lnTo>
                  <a:lnTo>
                    <a:pt x="387" y="629"/>
                  </a:lnTo>
                  <a:lnTo>
                    <a:pt x="384" y="629"/>
                  </a:lnTo>
                  <a:lnTo>
                    <a:pt x="383" y="629"/>
                  </a:lnTo>
                  <a:lnTo>
                    <a:pt x="383" y="631"/>
                  </a:lnTo>
                  <a:lnTo>
                    <a:pt x="386" y="631"/>
                  </a:lnTo>
                  <a:lnTo>
                    <a:pt x="388" y="632"/>
                  </a:lnTo>
                  <a:lnTo>
                    <a:pt x="390" y="631"/>
                  </a:lnTo>
                  <a:lnTo>
                    <a:pt x="391" y="631"/>
                  </a:lnTo>
                  <a:lnTo>
                    <a:pt x="394" y="633"/>
                  </a:lnTo>
                  <a:lnTo>
                    <a:pt x="395" y="633"/>
                  </a:lnTo>
                  <a:lnTo>
                    <a:pt x="395" y="636"/>
                  </a:lnTo>
                  <a:lnTo>
                    <a:pt x="394" y="638"/>
                  </a:lnTo>
                  <a:lnTo>
                    <a:pt x="393" y="636"/>
                  </a:lnTo>
                  <a:lnTo>
                    <a:pt x="387" y="638"/>
                  </a:lnTo>
                  <a:lnTo>
                    <a:pt x="384" y="639"/>
                  </a:lnTo>
                  <a:lnTo>
                    <a:pt x="382" y="643"/>
                  </a:lnTo>
                  <a:lnTo>
                    <a:pt x="383" y="646"/>
                  </a:lnTo>
                  <a:lnTo>
                    <a:pt x="384" y="646"/>
                  </a:lnTo>
                  <a:lnTo>
                    <a:pt x="384" y="648"/>
                  </a:lnTo>
                  <a:lnTo>
                    <a:pt x="383" y="651"/>
                  </a:lnTo>
                  <a:lnTo>
                    <a:pt x="383" y="652"/>
                  </a:lnTo>
                  <a:lnTo>
                    <a:pt x="380" y="654"/>
                  </a:lnTo>
                  <a:lnTo>
                    <a:pt x="380" y="655"/>
                  </a:lnTo>
                  <a:lnTo>
                    <a:pt x="380" y="657"/>
                  </a:lnTo>
                  <a:lnTo>
                    <a:pt x="382" y="658"/>
                  </a:lnTo>
                  <a:lnTo>
                    <a:pt x="384" y="658"/>
                  </a:lnTo>
                  <a:lnTo>
                    <a:pt x="386" y="659"/>
                  </a:lnTo>
                  <a:lnTo>
                    <a:pt x="388" y="659"/>
                  </a:lnTo>
                  <a:lnTo>
                    <a:pt x="388" y="661"/>
                  </a:lnTo>
                  <a:lnTo>
                    <a:pt x="391" y="662"/>
                  </a:lnTo>
                  <a:lnTo>
                    <a:pt x="394" y="663"/>
                  </a:lnTo>
                  <a:lnTo>
                    <a:pt x="395" y="663"/>
                  </a:lnTo>
                  <a:lnTo>
                    <a:pt x="395" y="673"/>
                  </a:lnTo>
                  <a:lnTo>
                    <a:pt x="395" y="674"/>
                  </a:lnTo>
                  <a:lnTo>
                    <a:pt x="391" y="676"/>
                  </a:lnTo>
                  <a:lnTo>
                    <a:pt x="387" y="676"/>
                  </a:lnTo>
                  <a:lnTo>
                    <a:pt x="384" y="674"/>
                  </a:lnTo>
                  <a:lnTo>
                    <a:pt x="383" y="674"/>
                  </a:lnTo>
                  <a:lnTo>
                    <a:pt x="383" y="677"/>
                  </a:lnTo>
                  <a:lnTo>
                    <a:pt x="382" y="680"/>
                  </a:lnTo>
                  <a:lnTo>
                    <a:pt x="379" y="680"/>
                  </a:lnTo>
                  <a:lnTo>
                    <a:pt x="375" y="677"/>
                  </a:lnTo>
                  <a:lnTo>
                    <a:pt x="371" y="678"/>
                  </a:lnTo>
                  <a:lnTo>
                    <a:pt x="369" y="677"/>
                  </a:lnTo>
                  <a:lnTo>
                    <a:pt x="368" y="677"/>
                  </a:lnTo>
                  <a:lnTo>
                    <a:pt x="367" y="677"/>
                  </a:lnTo>
                  <a:lnTo>
                    <a:pt x="364" y="674"/>
                  </a:lnTo>
                  <a:lnTo>
                    <a:pt x="365" y="673"/>
                  </a:lnTo>
                  <a:lnTo>
                    <a:pt x="367" y="672"/>
                  </a:lnTo>
                  <a:lnTo>
                    <a:pt x="365" y="670"/>
                  </a:lnTo>
                  <a:lnTo>
                    <a:pt x="363" y="669"/>
                  </a:lnTo>
                  <a:lnTo>
                    <a:pt x="361" y="672"/>
                  </a:lnTo>
                  <a:lnTo>
                    <a:pt x="359" y="670"/>
                  </a:lnTo>
                  <a:lnTo>
                    <a:pt x="356" y="672"/>
                  </a:lnTo>
                  <a:lnTo>
                    <a:pt x="357" y="674"/>
                  </a:lnTo>
                  <a:lnTo>
                    <a:pt x="353" y="674"/>
                  </a:lnTo>
                  <a:lnTo>
                    <a:pt x="353" y="673"/>
                  </a:lnTo>
                  <a:lnTo>
                    <a:pt x="349" y="670"/>
                  </a:lnTo>
                  <a:lnTo>
                    <a:pt x="346" y="670"/>
                  </a:lnTo>
                  <a:lnTo>
                    <a:pt x="346" y="673"/>
                  </a:lnTo>
                  <a:lnTo>
                    <a:pt x="345" y="670"/>
                  </a:lnTo>
                  <a:lnTo>
                    <a:pt x="342" y="672"/>
                  </a:lnTo>
                  <a:lnTo>
                    <a:pt x="342" y="673"/>
                  </a:lnTo>
                  <a:lnTo>
                    <a:pt x="340" y="674"/>
                  </a:lnTo>
                  <a:lnTo>
                    <a:pt x="340" y="678"/>
                  </a:lnTo>
                  <a:lnTo>
                    <a:pt x="337" y="680"/>
                  </a:lnTo>
                  <a:lnTo>
                    <a:pt x="335" y="680"/>
                  </a:lnTo>
                  <a:lnTo>
                    <a:pt x="334" y="677"/>
                  </a:lnTo>
                  <a:lnTo>
                    <a:pt x="329" y="677"/>
                  </a:lnTo>
                  <a:lnTo>
                    <a:pt x="327" y="674"/>
                  </a:lnTo>
                  <a:lnTo>
                    <a:pt x="325" y="676"/>
                  </a:lnTo>
                  <a:lnTo>
                    <a:pt x="326" y="678"/>
                  </a:lnTo>
                  <a:lnTo>
                    <a:pt x="325" y="681"/>
                  </a:lnTo>
                  <a:lnTo>
                    <a:pt x="323" y="681"/>
                  </a:lnTo>
                  <a:lnTo>
                    <a:pt x="322" y="678"/>
                  </a:lnTo>
                  <a:lnTo>
                    <a:pt x="322" y="676"/>
                  </a:lnTo>
                  <a:lnTo>
                    <a:pt x="319" y="676"/>
                  </a:lnTo>
                  <a:lnTo>
                    <a:pt x="316" y="674"/>
                  </a:lnTo>
                  <a:lnTo>
                    <a:pt x="315" y="672"/>
                  </a:lnTo>
                  <a:lnTo>
                    <a:pt x="312" y="672"/>
                  </a:lnTo>
                  <a:lnTo>
                    <a:pt x="310" y="667"/>
                  </a:lnTo>
                  <a:lnTo>
                    <a:pt x="308" y="667"/>
                  </a:lnTo>
                  <a:lnTo>
                    <a:pt x="307" y="666"/>
                  </a:lnTo>
                  <a:lnTo>
                    <a:pt x="306" y="666"/>
                  </a:lnTo>
                  <a:lnTo>
                    <a:pt x="301" y="667"/>
                  </a:lnTo>
                  <a:lnTo>
                    <a:pt x="299" y="666"/>
                  </a:lnTo>
                  <a:lnTo>
                    <a:pt x="297" y="662"/>
                  </a:lnTo>
                  <a:lnTo>
                    <a:pt x="295" y="662"/>
                  </a:lnTo>
                  <a:lnTo>
                    <a:pt x="292" y="665"/>
                  </a:lnTo>
                  <a:lnTo>
                    <a:pt x="291" y="665"/>
                  </a:lnTo>
                  <a:lnTo>
                    <a:pt x="289" y="666"/>
                  </a:lnTo>
                  <a:lnTo>
                    <a:pt x="288" y="667"/>
                  </a:lnTo>
                  <a:lnTo>
                    <a:pt x="288" y="666"/>
                  </a:lnTo>
                  <a:lnTo>
                    <a:pt x="286" y="666"/>
                  </a:lnTo>
                  <a:lnTo>
                    <a:pt x="286" y="669"/>
                  </a:lnTo>
                  <a:lnTo>
                    <a:pt x="284" y="670"/>
                  </a:lnTo>
                  <a:lnTo>
                    <a:pt x="282" y="669"/>
                  </a:lnTo>
                  <a:lnTo>
                    <a:pt x="284" y="666"/>
                  </a:lnTo>
                  <a:lnTo>
                    <a:pt x="285" y="665"/>
                  </a:lnTo>
                  <a:lnTo>
                    <a:pt x="282" y="663"/>
                  </a:lnTo>
                  <a:lnTo>
                    <a:pt x="278" y="662"/>
                  </a:lnTo>
                  <a:lnTo>
                    <a:pt x="278" y="663"/>
                  </a:lnTo>
                  <a:lnTo>
                    <a:pt x="278" y="666"/>
                  </a:lnTo>
                  <a:lnTo>
                    <a:pt x="278" y="667"/>
                  </a:lnTo>
                  <a:lnTo>
                    <a:pt x="276" y="667"/>
                  </a:lnTo>
                  <a:lnTo>
                    <a:pt x="274" y="669"/>
                  </a:lnTo>
                  <a:lnTo>
                    <a:pt x="273" y="672"/>
                  </a:lnTo>
                  <a:lnTo>
                    <a:pt x="272" y="672"/>
                  </a:lnTo>
                  <a:lnTo>
                    <a:pt x="267" y="674"/>
                  </a:lnTo>
                  <a:lnTo>
                    <a:pt x="267" y="677"/>
                  </a:lnTo>
                  <a:lnTo>
                    <a:pt x="269" y="678"/>
                  </a:lnTo>
                  <a:lnTo>
                    <a:pt x="269" y="681"/>
                  </a:lnTo>
                  <a:lnTo>
                    <a:pt x="265" y="681"/>
                  </a:lnTo>
                  <a:lnTo>
                    <a:pt x="261" y="681"/>
                  </a:lnTo>
                  <a:lnTo>
                    <a:pt x="263" y="691"/>
                  </a:lnTo>
                  <a:lnTo>
                    <a:pt x="262" y="692"/>
                  </a:lnTo>
                  <a:lnTo>
                    <a:pt x="263" y="696"/>
                  </a:lnTo>
                  <a:lnTo>
                    <a:pt x="259" y="696"/>
                  </a:lnTo>
                  <a:lnTo>
                    <a:pt x="255" y="693"/>
                  </a:lnTo>
                  <a:lnTo>
                    <a:pt x="255" y="692"/>
                  </a:lnTo>
                  <a:lnTo>
                    <a:pt x="248" y="686"/>
                  </a:lnTo>
                  <a:lnTo>
                    <a:pt x="247" y="688"/>
                  </a:lnTo>
                  <a:lnTo>
                    <a:pt x="247" y="692"/>
                  </a:lnTo>
                  <a:lnTo>
                    <a:pt x="244" y="695"/>
                  </a:lnTo>
                  <a:lnTo>
                    <a:pt x="242" y="696"/>
                  </a:lnTo>
                  <a:lnTo>
                    <a:pt x="242" y="701"/>
                  </a:lnTo>
                  <a:lnTo>
                    <a:pt x="244" y="704"/>
                  </a:lnTo>
                  <a:lnTo>
                    <a:pt x="243" y="711"/>
                  </a:lnTo>
                  <a:lnTo>
                    <a:pt x="242" y="715"/>
                  </a:lnTo>
                  <a:lnTo>
                    <a:pt x="246" y="716"/>
                  </a:lnTo>
                  <a:lnTo>
                    <a:pt x="248" y="720"/>
                  </a:lnTo>
                  <a:lnTo>
                    <a:pt x="247" y="722"/>
                  </a:lnTo>
                  <a:lnTo>
                    <a:pt x="251" y="725"/>
                  </a:lnTo>
                  <a:lnTo>
                    <a:pt x="252" y="723"/>
                  </a:lnTo>
                  <a:lnTo>
                    <a:pt x="259" y="726"/>
                  </a:lnTo>
                  <a:lnTo>
                    <a:pt x="265" y="730"/>
                  </a:lnTo>
                  <a:lnTo>
                    <a:pt x="270" y="738"/>
                  </a:lnTo>
                  <a:lnTo>
                    <a:pt x="265" y="738"/>
                  </a:lnTo>
                  <a:lnTo>
                    <a:pt x="265" y="741"/>
                  </a:lnTo>
                  <a:lnTo>
                    <a:pt x="269" y="744"/>
                  </a:lnTo>
                  <a:lnTo>
                    <a:pt x="273" y="742"/>
                  </a:lnTo>
                  <a:lnTo>
                    <a:pt x="276" y="744"/>
                  </a:lnTo>
                  <a:lnTo>
                    <a:pt x="276" y="744"/>
                  </a:lnTo>
                  <a:lnTo>
                    <a:pt x="276" y="744"/>
                  </a:lnTo>
                  <a:lnTo>
                    <a:pt x="276" y="745"/>
                  </a:lnTo>
                  <a:lnTo>
                    <a:pt x="274" y="746"/>
                  </a:lnTo>
                  <a:lnTo>
                    <a:pt x="273" y="746"/>
                  </a:lnTo>
                  <a:lnTo>
                    <a:pt x="274" y="748"/>
                  </a:lnTo>
                  <a:lnTo>
                    <a:pt x="274" y="749"/>
                  </a:lnTo>
                  <a:lnTo>
                    <a:pt x="273" y="749"/>
                  </a:lnTo>
                  <a:lnTo>
                    <a:pt x="274" y="750"/>
                  </a:lnTo>
                  <a:lnTo>
                    <a:pt x="274" y="752"/>
                  </a:lnTo>
                  <a:lnTo>
                    <a:pt x="272" y="750"/>
                  </a:lnTo>
                  <a:lnTo>
                    <a:pt x="272" y="750"/>
                  </a:lnTo>
                  <a:lnTo>
                    <a:pt x="269" y="750"/>
                  </a:lnTo>
                  <a:lnTo>
                    <a:pt x="267" y="750"/>
                  </a:lnTo>
                  <a:lnTo>
                    <a:pt x="272" y="753"/>
                  </a:lnTo>
                  <a:lnTo>
                    <a:pt x="272" y="754"/>
                  </a:lnTo>
                  <a:lnTo>
                    <a:pt x="270" y="754"/>
                  </a:lnTo>
                  <a:lnTo>
                    <a:pt x="269" y="753"/>
                  </a:lnTo>
                  <a:lnTo>
                    <a:pt x="269" y="753"/>
                  </a:lnTo>
                  <a:lnTo>
                    <a:pt x="267" y="754"/>
                  </a:lnTo>
                  <a:lnTo>
                    <a:pt x="267" y="754"/>
                  </a:lnTo>
                  <a:lnTo>
                    <a:pt x="266" y="753"/>
                  </a:lnTo>
                  <a:lnTo>
                    <a:pt x="266" y="753"/>
                  </a:lnTo>
                  <a:lnTo>
                    <a:pt x="267" y="754"/>
                  </a:lnTo>
                  <a:lnTo>
                    <a:pt x="267" y="756"/>
                  </a:lnTo>
                  <a:lnTo>
                    <a:pt x="266" y="756"/>
                  </a:lnTo>
                  <a:lnTo>
                    <a:pt x="265" y="756"/>
                  </a:lnTo>
                  <a:lnTo>
                    <a:pt x="263" y="757"/>
                  </a:lnTo>
                  <a:lnTo>
                    <a:pt x="262" y="756"/>
                  </a:lnTo>
                  <a:lnTo>
                    <a:pt x="262" y="757"/>
                  </a:lnTo>
                  <a:lnTo>
                    <a:pt x="261" y="759"/>
                  </a:lnTo>
                  <a:lnTo>
                    <a:pt x="259" y="757"/>
                  </a:lnTo>
                  <a:lnTo>
                    <a:pt x="258" y="757"/>
                  </a:lnTo>
                  <a:lnTo>
                    <a:pt x="258" y="759"/>
                  </a:lnTo>
                  <a:lnTo>
                    <a:pt x="258" y="760"/>
                  </a:lnTo>
                  <a:lnTo>
                    <a:pt x="257" y="763"/>
                  </a:lnTo>
                  <a:lnTo>
                    <a:pt x="255" y="764"/>
                  </a:lnTo>
                  <a:lnTo>
                    <a:pt x="255" y="767"/>
                  </a:lnTo>
                  <a:lnTo>
                    <a:pt x="254" y="768"/>
                  </a:lnTo>
                  <a:lnTo>
                    <a:pt x="254" y="772"/>
                  </a:lnTo>
                  <a:lnTo>
                    <a:pt x="252" y="773"/>
                  </a:lnTo>
                  <a:lnTo>
                    <a:pt x="252" y="775"/>
                  </a:lnTo>
                  <a:lnTo>
                    <a:pt x="252" y="779"/>
                  </a:lnTo>
                  <a:lnTo>
                    <a:pt x="255" y="780"/>
                  </a:lnTo>
                  <a:lnTo>
                    <a:pt x="257" y="779"/>
                  </a:lnTo>
                  <a:lnTo>
                    <a:pt x="258" y="782"/>
                  </a:lnTo>
                  <a:lnTo>
                    <a:pt x="261" y="782"/>
                  </a:lnTo>
                  <a:lnTo>
                    <a:pt x="261" y="786"/>
                  </a:lnTo>
                  <a:lnTo>
                    <a:pt x="263" y="787"/>
                  </a:lnTo>
                  <a:lnTo>
                    <a:pt x="263" y="786"/>
                  </a:lnTo>
                  <a:lnTo>
                    <a:pt x="265" y="786"/>
                  </a:lnTo>
                  <a:lnTo>
                    <a:pt x="265" y="788"/>
                  </a:lnTo>
                  <a:lnTo>
                    <a:pt x="263" y="790"/>
                  </a:lnTo>
                  <a:lnTo>
                    <a:pt x="262" y="790"/>
                  </a:lnTo>
                  <a:lnTo>
                    <a:pt x="262" y="791"/>
                  </a:lnTo>
                  <a:lnTo>
                    <a:pt x="263" y="791"/>
                  </a:lnTo>
                  <a:lnTo>
                    <a:pt x="265" y="793"/>
                  </a:lnTo>
                  <a:lnTo>
                    <a:pt x="265" y="795"/>
                  </a:lnTo>
                  <a:lnTo>
                    <a:pt x="265" y="798"/>
                  </a:lnTo>
                  <a:lnTo>
                    <a:pt x="267" y="801"/>
                  </a:lnTo>
                  <a:lnTo>
                    <a:pt x="267" y="803"/>
                  </a:lnTo>
                  <a:lnTo>
                    <a:pt x="272" y="809"/>
                  </a:lnTo>
                  <a:lnTo>
                    <a:pt x="278" y="814"/>
                  </a:lnTo>
                  <a:lnTo>
                    <a:pt x="280" y="814"/>
                  </a:lnTo>
                  <a:lnTo>
                    <a:pt x="280" y="814"/>
                  </a:lnTo>
                  <a:lnTo>
                    <a:pt x="276" y="820"/>
                  </a:lnTo>
                  <a:lnTo>
                    <a:pt x="272" y="821"/>
                  </a:lnTo>
                  <a:lnTo>
                    <a:pt x="272" y="824"/>
                  </a:lnTo>
                  <a:lnTo>
                    <a:pt x="266" y="822"/>
                  </a:lnTo>
                  <a:lnTo>
                    <a:pt x="263" y="820"/>
                  </a:lnTo>
                  <a:lnTo>
                    <a:pt x="258" y="816"/>
                  </a:lnTo>
                  <a:lnTo>
                    <a:pt x="255" y="816"/>
                  </a:lnTo>
                  <a:lnTo>
                    <a:pt x="254" y="820"/>
                  </a:lnTo>
                  <a:lnTo>
                    <a:pt x="257" y="821"/>
                  </a:lnTo>
                  <a:lnTo>
                    <a:pt x="259" y="824"/>
                  </a:lnTo>
                  <a:lnTo>
                    <a:pt x="258" y="828"/>
                  </a:lnTo>
                  <a:lnTo>
                    <a:pt x="254" y="826"/>
                  </a:lnTo>
                  <a:lnTo>
                    <a:pt x="250" y="825"/>
                  </a:lnTo>
                  <a:lnTo>
                    <a:pt x="243" y="822"/>
                  </a:lnTo>
                  <a:lnTo>
                    <a:pt x="239" y="824"/>
                  </a:lnTo>
                  <a:lnTo>
                    <a:pt x="239" y="825"/>
                  </a:lnTo>
                  <a:lnTo>
                    <a:pt x="240" y="828"/>
                  </a:lnTo>
                  <a:lnTo>
                    <a:pt x="238" y="825"/>
                  </a:lnTo>
                  <a:lnTo>
                    <a:pt x="231" y="825"/>
                  </a:lnTo>
                  <a:lnTo>
                    <a:pt x="229" y="825"/>
                  </a:lnTo>
                  <a:lnTo>
                    <a:pt x="224" y="826"/>
                  </a:lnTo>
                  <a:lnTo>
                    <a:pt x="221" y="828"/>
                  </a:lnTo>
                  <a:lnTo>
                    <a:pt x="220" y="826"/>
                  </a:lnTo>
                  <a:lnTo>
                    <a:pt x="219" y="826"/>
                  </a:lnTo>
                  <a:lnTo>
                    <a:pt x="213" y="822"/>
                  </a:lnTo>
                  <a:lnTo>
                    <a:pt x="212" y="822"/>
                  </a:lnTo>
                  <a:lnTo>
                    <a:pt x="210" y="824"/>
                  </a:lnTo>
                  <a:lnTo>
                    <a:pt x="209" y="824"/>
                  </a:lnTo>
                  <a:lnTo>
                    <a:pt x="205" y="822"/>
                  </a:lnTo>
                  <a:lnTo>
                    <a:pt x="205" y="824"/>
                  </a:lnTo>
                  <a:lnTo>
                    <a:pt x="204" y="824"/>
                  </a:lnTo>
                  <a:lnTo>
                    <a:pt x="202" y="821"/>
                  </a:lnTo>
                  <a:lnTo>
                    <a:pt x="201" y="821"/>
                  </a:lnTo>
                  <a:lnTo>
                    <a:pt x="201" y="821"/>
                  </a:lnTo>
                  <a:lnTo>
                    <a:pt x="201" y="821"/>
                  </a:lnTo>
                  <a:lnTo>
                    <a:pt x="201" y="818"/>
                  </a:lnTo>
                  <a:lnTo>
                    <a:pt x="202" y="817"/>
                  </a:lnTo>
                  <a:lnTo>
                    <a:pt x="199" y="814"/>
                  </a:lnTo>
                  <a:lnTo>
                    <a:pt x="199" y="809"/>
                  </a:lnTo>
                  <a:lnTo>
                    <a:pt x="198" y="807"/>
                  </a:lnTo>
                  <a:lnTo>
                    <a:pt x="195" y="803"/>
                  </a:lnTo>
                  <a:lnTo>
                    <a:pt x="193" y="802"/>
                  </a:lnTo>
                  <a:lnTo>
                    <a:pt x="191" y="801"/>
                  </a:lnTo>
                  <a:lnTo>
                    <a:pt x="189" y="798"/>
                  </a:lnTo>
                  <a:lnTo>
                    <a:pt x="187" y="799"/>
                  </a:lnTo>
                  <a:lnTo>
                    <a:pt x="187" y="799"/>
                  </a:lnTo>
                  <a:lnTo>
                    <a:pt x="185" y="798"/>
                  </a:lnTo>
                  <a:lnTo>
                    <a:pt x="182" y="795"/>
                  </a:lnTo>
                  <a:lnTo>
                    <a:pt x="182" y="795"/>
                  </a:lnTo>
                  <a:lnTo>
                    <a:pt x="179" y="795"/>
                  </a:lnTo>
                  <a:lnTo>
                    <a:pt x="178" y="794"/>
                  </a:lnTo>
                  <a:lnTo>
                    <a:pt x="176" y="793"/>
                  </a:lnTo>
                  <a:lnTo>
                    <a:pt x="175" y="791"/>
                  </a:lnTo>
                  <a:lnTo>
                    <a:pt x="174" y="790"/>
                  </a:lnTo>
                  <a:lnTo>
                    <a:pt x="172" y="790"/>
                  </a:lnTo>
                  <a:lnTo>
                    <a:pt x="170" y="787"/>
                  </a:lnTo>
                  <a:lnTo>
                    <a:pt x="163" y="782"/>
                  </a:lnTo>
                  <a:lnTo>
                    <a:pt x="160" y="780"/>
                  </a:lnTo>
                  <a:lnTo>
                    <a:pt x="155" y="778"/>
                  </a:lnTo>
                  <a:lnTo>
                    <a:pt x="151" y="778"/>
                  </a:lnTo>
                  <a:lnTo>
                    <a:pt x="148" y="775"/>
                  </a:lnTo>
                  <a:lnTo>
                    <a:pt x="148" y="773"/>
                  </a:lnTo>
                  <a:lnTo>
                    <a:pt x="145" y="771"/>
                  </a:lnTo>
                  <a:lnTo>
                    <a:pt x="144" y="771"/>
                  </a:lnTo>
                  <a:lnTo>
                    <a:pt x="141" y="771"/>
                  </a:lnTo>
                  <a:lnTo>
                    <a:pt x="142" y="769"/>
                  </a:lnTo>
                  <a:lnTo>
                    <a:pt x="144" y="768"/>
                  </a:lnTo>
                  <a:lnTo>
                    <a:pt x="144" y="767"/>
                  </a:lnTo>
                  <a:lnTo>
                    <a:pt x="144" y="765"/>
                  </a:lnTo>
                  <a:lnTo>
                    <a:pt x="146" y="767"/>
                  </a:lnTo>
                  <a:lnTo>
                    <a:pt x="148" y="768"/>
                  </a:lnTo>
                  <a:lnTo>
                    <a:pt x="148" y="767"/>
                  </a:lnTo>
                  <a:lnTo>
                    <a:pt x="151" y="768"/>
                  </a:lnTo>
                  <a:lnTo>
                    <a:pt x="151" y="764"/>
                  </a:lnTo>
                  <a:lnTo>
                    <a:pt x="151" y="764"/>
                  </a:lnTo>
                  <a:lnTo>
                    <a:pt x="151" y="761"/>
                  </a:lnTo>
                  <a:lnTo>
                    <a:pt x="152" y="759"/>
                  </a:lnTo>
                  <a:lnTo>
                    <a:pt x="152" y="757"/>
                  </a:lnTo>
                  <a:lnTo>
                    <a:pt x="153" y="757"/>
                  </a:lnTo>
                  <a:lnTo>
                    <a:pt x="155" y="757"/>
                  </a:lnTo>
                  <a:lnTo>
                    <a:pt x="156" y="756"/>
                  </a:lnTo>
                  <a:lnTo>
                    <a:pt x="157" y="756"/>
                  </a:lnTo>
                  <a:lnTo>
                    <a:pt x="157" y="754"/>
                  </a:lnTo>
                  <a:lnTo>
                    <a:pt x="155" y="753"/>
                  </a:lnTo>
                  <a:lnTo>
                    <a:pt x="155" y="753"/>
                  </a:lnTo>
                  <a:lnTo>
                    <a:pt x="153" y="753"/>
                  </a:lnTo>
                  <a:lnTo>
                    <a:pt x="152" y="752"/>
                  </a:lnTo>
                  <a:lnTo>
                    <a:pt x="151" y="749"/>
                  </a:lnTo>
                  <a:lnTo>
                    <a:pt x="153" y="748"/>
                  </a:lnTo>
                  <a:lnTo>
                    <a:pt x="157" y="749"/>
                  </a:lnTo>
                  <a:lnTo>
                    <a:pt x="159" y="746"/>
                  </a:lnTo>
                  <a:lnTo>
                    <a:pt x="157" y="746"/>
                  </a:lnTo>
                  <a:lnTo>
                    <a:pt x="156" y="745"/>
                  </a:lnTo>
                  <a:lnTo>
                    <a:pt x="159" y="744"/>
                  </a:lnTo>
                  <a:lnTo>
                    <a:pt x="164" y="741"/>
                  </a:lnTo>
                  <a:lnTo>
                    <a:pt x="165" y="738"/>
                  </a:lnTo>
                  <a:lnTo>
                    <a:pt x="164" y="738"/>
                  </a:lnTo>
                  <a:lnTo>
                    <a:pt x="161" y="738"/>
                  </a:lnTo>
                  <a:lnTo>
                    <a:pt x="159" y="739"/>
                  </a:lnTo>
                  <a:lnTo>
                    <a:pt x="156" y="739"/>
                  </a:lnTo>
                  <a:lnTo>
                    <a:pt x="156" y="739"/>
                  </a:lnTo>
                  <a:lnTo>
                    <a:pt x="156" y="739"/>
                  </a:lnTo>
                  <a:lnTo>
                    <a:pt x="156" y="734"/>
                  </a:lnTo>
                  <a:lnTo>
                    <a:pt x="157" y="734"/>
                  </a:lnTo>
                  <a:lnTo>
                    <a:pt x="160" y="730"/>
                  </a:lnTo>
                  <a:lnTo>
                    <a:pt x="165" y="729"/>
                  </a:lnTo>
                  <a:lnTo>
                    <a:pt x="168" y="727"/>
                  </a:lnTo>
                  <a:lnTo>
                    <a:pt x="168" y="725"/>
                  </a:lnTo>
                  <a:lnTo>
                    <a:pt x="170" y="720"/>
                  </a:lnTo>
                  <a:lnTo>
                    <a:pt x="168" y="716"/>
                  </a:lnTo>
                  <a:lnTo>
                    <a:pt x="165" y="715"/>
                  </a:lnTo>
                  <a:lnTo>
                    <a:pt x="165" y="710"/>
                  </a:lnTo>
                  <a:lnTo>
                    <a:pt x="168" y="708"/>
                  </a:lnTo>
                  <a:lnTo>
                    <a:pt x="171" y="707"/>
                  </a:lnTo>
                  <a:lnTo>
                    <a:pt x="171" y="703"/>
                  </a:lnTo>
                  <a:lnTo>
                    <a:pt x="168" y="703"/>
                  </a:lnTo>
                  <a:lnTo>
                    <a:pt x="168" y="700"/>
                  </a:lnTo>
                  <a:lnTo>
                    <a:pt x="165" y="701"/>
                  </a:lnTo>
                  <a:lnTo>
                    <a:pt x="163" y="700"/>
                  </a:lnTo>
                  <a:lnTo>
                    <a:pt x="159" y="699"/>
                  </a:lnTo>
                  <a:lnTo>
                    <a:pt x="157" y="699"/>
                  </a:lnTo>
                  <a:lnTo>
                    <a:pt x="155" y="697"/>
                  </a:lnTo>
                  <a:lnTo>
                    <a:pt x="152" y="697"/>
                  </a:lnTo>
                  <a:lnTo>
                    <a:pt x="148" y="697"/>
                  </a:lnTo>
                  <a:lnTo>
                    <a:pt x="145" y="699"/>
                  </a:lnTo>
                  <a:lnTo>
                    <a:pt x="145" y="696"/>
                  </a:lnTo>
                  <a:lnTo>
                    <a:pt x="141" y="693"/>
                  </a:lnTo>
                  <a:lnTo>
                    <a:pt x="138" y="688"/>
                  </a:lnTo>
                  <a:lnTo>
                    <a:pt x="137" y="688"/>
                  </a:lnTo>
                  <a:lnTo>
                    <a:pt x="133" y="692"/>
                  </a:lnTo>
                  <a:lnTo>
                    <a:pt x="130" y="691"/>
                  </a:lnTo>
                  <a:lnTo>
                    <a:pt x="127" y="692"/>
                  </a:lnTo>
                  <a:lnTo>
                    <a:pt x="123" y="689"/>
                  </a:lnTo>
                  <a:lnTo>
                    <a:pt x="122" y="692"/>
                  </a:lnTo>
                  <a:lnTo>
                    <a:pt x="117" y="686"/>
                  </a:lnTo>
                  <a:lnTo>
                    <a:pt x="115" y="684"/>
                  </a:lnTo>
                  <a:lnTo>
                    <a:pt x="115" y="680"/>
                  </a:lnTo>
                  <a:lnTo>
                    <a:pt x="112" y="680"/>
                  </a:lnTo>
                  <a:lnTo>
                    <a:pt x="112" y="677"/>
                  </a:lnTo>
                  <a:lnTo>
                    <a:pt x="110" y="676"/>
                  </a:lnTo>
                  <a:lnTo>
                    <a:pt x="104" y="676"/>
                  </a:lnTo>
                  <a:lnTo>
                    <a:pt x="100" y="672"/>
                  </a:lnTo>
                  <a:lnTo>
                    <a:pt x="102" y="669"/>
                  </a:lnTo>
                  <a:lnTo>
                    <a:pt x="100" y="667"/>
                  </a:lnTo>
                  <a:lnTo>
                    <a:pt x="97" y="662"/>
                  </a:lnTo>
                  <a:lnTo>
                    <a:pt x="95" y="662"/>
                  </a:lnTo>
                  <a:lnTo>
                    <a:pt x="92" y="663"/>
                  </a:lnTo>
                  <a:lnTo>
                    <a:pt x="87" y="663"/>
                  </a:lnTo>
                  <a:lnTo>
                    <a:pt x="80" y="662"/>
                  </a:lnTo>
                  <a:lnTo>
                    <a:pt x="78" y="663"/>
                  </a:lnTo>
                  <a:lnTo>
                    <a:pt x="78" y="666"/>
                  </a:lnTo>
                  <a:lnTo>
                    <a:pt x="76" y="666"/>
                  </a:lnTo>
                  <a:lnTo>
                    <a:pt x="74" y="666"/>
                  </a:lnTo>
                  <a:lnTo>
                    <a:pt x="74" y="662"/>
                  </a:lnTo>
                  <a:lnTo>
                    <a:pt x="72" y="659"/>
                  </a:lnTo>
                  <a:lnTo>
                    <a:pt x="72" y="657"/>
                  </a:lnTo>
                  <a:lnTo>
                    <a:pt x="69" y="652"/>
                  </a:lnTo>
                  <a:lnTo>
                    <a:pt x="69" y="650"/>
                  </a:lnTo>
                  <a:lnTo>
                    <a:pt x="70" y="648"/>
                  </a:lnTo>
                  <a:lnTo>
                    <a:pt x="73" y="650"/>
                  </a:lnTo>
                  <a:lnTo>
                    <a:pt x="78" y="650"/>
                  </a:lnTo>
                  <a:lnTo>
                    <a:pt x="81" y="646"/>
                  </a:lnTo>
                  <a:lnTo>
                    <a:pt x="83" y="644"/>
                  </a:lnTo>
                  <a:lnTo>
                    <a:pt x="80" y="643"/>
                  </a:lnTo>
                  <a:lnTo>
                    <a:pt x="80" y="640"/>
                  </a:lnTo>
                  <a:lnTo>
                    <a:pt x="74" y="636"/>
                  </a:lnTo>
                  <a:lnTo>
                    <a:pt x="72" y="635"/>
                  </a:lnTo>
                  <a:lnTo>
                    <a:pt x="70" y="631"/>
                  </a:lnTo>
                  <a:lnTo>
                    <a:pt x="68" y="629"/>
                  </a:lnTo>
                  <a:lnTo>
                    <a:pt x="65" y="625"/>
                  </a:lnTo>
                  <a:lnTo>
                    <a:pt x="63" y="623"/>
                  </a:lnTo>
                  <a:lnTo>
                    <a:pt x="61" y="620"/>
                  </a:lnTo>
                  <a:lnTo>
                    <a:pt x="61" y="616"/>
                  </a:lnTo>
                  <a:lnTo>
                    <a:pt x="58" y="613"/>
                  </a:lnTo>
                  <a:lnTo>
                    <a:pt x="59" y="610"/>
                  </a:lnTo>
                  <a:lnTo>
                    <a:pt x="58" y="608"/>
                  </a:lnTo>
                  <a:lnTo>
                    <a:pt x="54" y="606"/>
                  </a:lnTo>
                  <a:lnTo>
                    <a:pt x="51" y="606"/>
                  </a:lnTo>
                  <a:lnTo>
                    <a:pt x="50" y="604"/>
                  </a:lnTo>
                  <a:lnTo>
                    <a:pt x="47" y="605"/>
                  </a:lnTo>
                  <a:lnTo>
                    <a:pt x="44" y="608"/>
                  </a:lnTo>
                  <a:lnTo>
                    <a:pt x="42" y="604"/>
                  </a:lnTo>
                  <a:lnTo>
                    <a:pt x="39" y="604"/>
                  </a:lnTo>
                  <a:lnTo>
                    <a:pt x="36" y="605"/>
                  </a:lnTo>
                  <a:lnTo>
                    <a:pt x="34" y="601"/>
                  </a:lnTo>
                  <a:lnTo>
                    <a:pt x="32" y="602"/>
                  </a:lnTo>
                  <a:lnTo>
                    <a:pt x="29" y="601"/>
                  </a:lnTo>
                  <a:lnTo>
                    <a:pt x="28" y="601"/>
                  </a:lnTo>
                  <a:lnTo>
                    <a:pt x="28" y="598"/>
                  </a:lnTo>
                  <a:lnTo>
                    <a:pt x="27" y="595"/>
                  </a:lnTo>
                  <a:lnTo>
                    <a:pt x="25" y="593"/>
                  </a:lnTo>
                  <a:lnTo>
                    <a:pt x="24" y="591"/>
                  </a:lnTo>
                  <a:lnTo>
                    <a:pt x="23" y="589"/>
                  </a:lnTo>
                  <a:lnTo>
                    <a:pt x="24" y="587"/>
                  </a:lnTo>
                  <a:lnTo>
                    <a:pt x="23" y="585"/>
                  </a:lnTo>
                  <a:lnTo>
                    <a:pt x="21" y="585"/>
                  </a:lnTo>
                  <a:lnTo>
                    <a:pt x="23" y="583"/>
                  </a:lnTo>
                  <a:lnTo>
                    <a:pt x="21" y="580"/>
                  </a:lnTo>
                  <a:lnTo>
                    <a:pt x="20" y="580"/>
                  </a:lnTo>
                  <a:lnTo>
                    <a:pt x="21" y="578"/>
                  </a:lnTo>
                  <a:lnTo>
                    <a:pt x="21" y="576"/>
                  </a:lnTo>
                  <a:lnTo>
                    <a:pt x="23" y="574"/>
                  </a:lnTo>
                  <a:lnTo>
                    <a:pt x="23" y="572"/>
                  </a:lnTo>
                  <a:lnTo>
                    <a:pt x="17" y="563"/>
                  </a:lnTo>
                  <a:lnTo>
                    <a:pt x="19" y="553"/>
                  </a:lnTo>
                  <a:lnTo>
                    <a:pt x="20" y="552"/>
                  </a:lnTo>
                  <a:lnTo>
                    <a:pt x="20" y="549"/>
                  </a:lnTo>
                  <a:lnTo>
                    <a:pt x="23" y="546"/>
                  </a:lnTo>
                  <a:lnTo>
                    <a:pt x="23" y="546"/>
                  </a:lnTo>
                  <a:lnTo>
                    <a:pt x="23" y="545"/>
                  </a:lnTo>
                  <a:lnTo>
                    <a:pt x="21" y="544"/>
                  </a:lnTo>
                  <a:lnTo>
                    <a:pt x="21" y="544"/>
                  </a:lnTo>
                  <a:lnTo>
                    <a:pt x="23" y="541"/>
                  </a:lnTo>
                  <a:lnTo>
                    <a:pt x="21" y="540"/>
                  </a:lnTo>
                  <a:lnTo>
                    <a:pt x="21" y="538"/>
                  </a:lnTo>
                  <a:lnTo>
                    <a:pt x="23" y="537"/>
                  </a:lnTo>
                  <a:lnTo>
                    <a:pt x="23" y="540"/>
                  </a:lnTo>
                  <a:lnTo>
                    <a:pt x="25" y="538"/>
                  </a:lnTo>
                  <a:lnTo>
                    <a:pt x="25" y="537"/>
                  </a:lnTo>
                  <a:lnTo>
                    <a:pt x="27" y="536"/>
                  </a:lnTo>
                  <a:lnTo>
                    <a:pt x="28" y="537"/>
                  </a:lnTo>
                  <a:lnTo>
                    <a:pt x="31" y="534"/>
                  </a:lnTo>
                  <a:lnTo>
                    <a:pt x="32" y="533"/>
                  </a:lnTo>
                  <a:lnTo>
                    <a:pt x="34" y="532"/>
                  </a:lnTo>
                  <a:lnTo>
                    <a:pt x="36" y="533"/>
                  </a:lnTo>
                  <a:lnTo>
                    <a:pt x="39" y="532"/>
                  </a:lnTo>
                  <a:lnTo>
                    <a:pt x="36" y="529"/>
                  </a:lnTo>
                  <a:lnTo>
                    <a:pt x="35" y="529"/>
                  </a:lnTo>
                  <a:lnTo>
                    <a:pt x="34" y="529"/>
                  </a:lnTo>
                  <a:lnTo>
                    <a:pt x="31" y="529"/>
                  </a:lnTo>
                  <a:lnTo>
                    <a:pt x="29" y="527"/>
                  </a:lnTo>
                  <a:lnTo>
                    <a:pt x="27" y="526"/>
                  </a:lnTo>
                  <a:lnTo>
                    <a:pt x="24" y="523"/>
                  </a:lnTo>
                  <a:lnTo>
                    <a:pt x="24" y="522"/>
                  </a:lnTo>
                  <a:lnTo>
                    <a:pt x="27" y="525"/>
                  </a:lnTo>
                  <a:lnTo>
                    <a:pt x="27" y="522"/>
                  </a:lnTo>
                  <a:lnTo>
                    <a:pt x="25" y="521"/>
                  </a:lnTo>
                  <a:lnTo>
                    <a:pt x="28" y="519"/>
                  </a:lnTo>
                  <a:lnTo>
                    <a:pt x="25" y="519"/>
                  </a:lnTo>
                  <a:lnTo>
                    <a:pt x="25" y="519"/>
                  </a:lnTo>
                  <a:lnTo>
                    <a:pt x="21" y="522"/>
                  </a:lnTo>
                  <a:lnTo>
                    <a:pt x="21" y="522"/>
                  </a:lnTo>
                  <a:lnTo>
                    <a:pt x="21" y="522"/>
                  </a:lnTo>
                  <a:lnTo>
                    <a:pt x="21" y="522"/>
                  </a:lnTo>
                  <a:lnTo>
                    <a:pt x="21" y="519"/>
                  </a:lnTo>
                  <a:lnTo>
                    <a:pt x="27" y="514"/>
                  </a:lnTo>
                  <a:lnTo>
                    <a:pt x="29" y="512"/>
                  </a:lnTo>
                  <a:lnTo>
                    <a:pt x="32" y="507"/>
                  </a:lnTo>
                  <a:lnTo>
                    <a:pt x="35" y="502"/>
                  </a:lnTo>
                  <a:lnTo>
                    <a:pt x="38" y="496"/>
                  </a:lnTo>
                  <a:lnTo>
                    <a:pt x="43" y="488"/>
                  </a:lnTo>
                  <a:lnTo>
                    <a:pt x="46" y="480"/>
                  </a:lnTo>
                  <a:lnTo>
                    <a:pt x="46" y="476"/>
                  </a:lnTo>
                  <a:lnTo>
                    <a:pt x="40" y="470"/>
                  </a:lnTo>
                  <a:lnTo>
                    <a:pt x="38" y="469"/>
                  </a:lnTo>
                  <a:lnTo>
                    <a:pt x="32" y="462"/>
                  </a:lnTo>
                  <a:lnTo>
                    <a:pt x="32" y="458"/>
                  </a:lnTo>
                  <a:lnTo>
                    <a:pt x="35" y="455"/>
                  </a:lnTo>
                  <a:lnTo>
                    <a:pt x="35" y="451"/>
                  </a:lnTo>
                  <a:lnTo>
                    <a:pt x="31" y="450"/>
                  </a:lnTo>
                  <a:lnTo>
                    <a:pt x="29" y="447"/>
                  </a:lnTo>
                  <a:lnTo>
                    <a:pt x="29" y="442"/>
                  </a:lnTo>
                  <a:lnTo>
                    <a:pt x="31" y="442"/>
                  </a:lnTo>
                  <a:lnTo>
                    <a:pt x="29" y="439"/>
                  </a:lnTo>
                  <a:lnTo>
                    <a:pt x="27" y="439"/>
                  </a:lnTo>
                  <a:lnTo>
                    <a:pt x="25" y="436"/>
                  </a:lnTo>
                  <a:lnTo>
                    <a:pt x="25" y="432"/>
                  </a:lnTo>
                  <a:lnTo>
                    <a:pt x="27" y="431"/>
                  </a:lnTo>
                  <a:lnTo>
                    <a:pt x="24" y="430"/>
                  </a:lnTo>
                  <a:lnTo>
                    <a:pt x="24" y="428"/>
                  </a:lnTo>
                  <a:lnTo>
                    <a:pt x="25" y="420"/>
                  </a:lnTo>
                  <a:lnTo>
                    <a:pt x="27" y="420"/>
                  </a:lnTo>
                  <a:lnTo>
                    <a:pt x="21" y="408"/>
                  </a:lnTo>
                  <a:lnTo>
                    <a:pt x="17" y="400"/>
                  </a:lnTo>
                  <a:lnTo>
                    <a:pt x="16" y="396"/>
                  </a:lnTo>
                  <a:lnTo>
                    <a:pt x="13" y="393"/>
                  </a:lnTo>
                  <a:lnTo>
                    <a:pt x="15" y="387"/>
                  </a:lnTo>
                  <a:lnTo>
                    <a:pt x="17" y="383"/>
                  </a:lnTo>
                  <a:lnTo>
                    <a:pt x="19" y="379"/>
                  </a:lnTo>
                  <a:lnTo>
                    <a:pt x="17" y="378"/>
                  </a:lnTo>
                  <a:lnTo>
                    <a:pt x="12" y="375"/>
                  </a:lnTo>
                  <a:lnTo>
                    <a:pt x="10" y="372"/>
                  </a:lnTo>
                  <a:lnTo>
                    <a:pt x="9" y="370"/>
                  </a:lnTo>
                  <a:lnTo>
                    <a:pt x="6" y="368"/>
                  </a:lnTo>
                  <a:lnTo>
                    <a:pt x="4" y="368"/>
                  </a:lnTo>
                  <a:lnTo>
                    <a:pt x="2" y="363"/>
                  </a:lnTo>
                  <a:lnTo>
                    <a:pt x="1" y="362"/>
                  </a:lnTo>
                  <a:lnTo>
                    <a:pt x="1" y="358"/>
                  </a:lnTo>
                  <a:lnTo>
                    <a:pt x="2" y="353"/>
                  </a:lnTo>
                  <a:lnTo>
                    <a:pt x="0" y="353"/>
                  </a:lnTo>
                  <a:lnTo>
                    <a:pt x="2" y="352"/>
                  </a:lnTo>
                  <a:lnTo>
                    <a:pt x="5" y="351"/>
                  </a:lnTo>
                  <a:lnTo>
                    <a:pt x="5" y="351"/>
                  </a:lnTo>
                  <a:lnTo>
                    <a:pt x="6" y="351"/>
                  </a:lnTo>
                  <a:lnTo>
                    <a:pt x="6" y="347"/>
                  </a:lnTo>
                  <a:lnTo>
                    <a:pt x="9" y="343"/>
                  </a:lnTo>
                  <a:lnTo>
                    <a:pt x="13" y="343"/>
                  </a:lnTo>
                  <a:lnTo>
                    <a:pt x="15" y="340"/>
                  </a:lnTo>
                  <a:lnTo>
                    <a:pt x="15" y="337"/>
                  </a:lnTo>
                  <a:lnTo>
                    <a:pt x="16" y="337"/>
                  </a:lnTo>
                  <a:lnTo>
                    <a:pt x="19" y="338"/>
                  </a:lnTo>
                  <a:lnTo>
                    <a:pt x="20" y="336"/>
                  </a:lnTo>
                  <a:lnTo>
                    <a:pt x="20" y="333"/>
                  </a:lnTo>
                  <a:lnTo>
                    <a:pt x="20" y="333"/>
                  </a:lnTo>
                  <a:lnTo>
                    <a:pt x="23" y="334"/>
                  </a:lnTo>
                  <a:lnTo>
                    <a:pt x="23" y="334"/>
                  </a:lnTo>
                  <a:lnTo>
                    <a:pt x="23" y="337"/>
                  </a:lnTo>
                  <a:lnTo>
                    <a:pt x="24" y="338"/>
                  </a:lnTo>
                  <a:lnTo>
                    <a:pt x="24" y="336"/>
                  </a:lnTo>
                  <a:lnTo>
                    <a:pt x="25" y="334"/>
                  </a:lnTo>
                  <a:lnTo>
                    <a:pt x="27" y="334"/>
                  </a:lnTo>
                  <a:lnTo>
                    <a:pt x="28" y="333"/>
                  </a:lnTo>
                  <a:lnTo>
                    <a:pt x="25" y="332"/>
                  </a:lnTo>
                  <a:lnTo>
                    <a:pt x="27" y="332"/>
                  </a:lnTo>
                  <a:lnTo>
                    <a:pt x="27" y="332"/>
                  </a:lnTo>
                  <a:lnTo>
                    <a:pt x="29" y="332"/>
                  </a:lnTo>
                  <a:lnTo>
                    <a:pt x="29" y="330"/>
                  </a:lnTo>
                  <a:lnTo>
                    <a:pt x="28" y="330"/>
                  </a:lnTo>
                  <a:lnTo>
                    <a:pt x="27" y="329"/>
                  </a:lnTo>
                  <a:lnTo>
                    <a:pt x="28" y="328"/>
                  </a:lnTo>
                  <a:lnTo>
                    <a:pt x="29" y="329"/>
                  </a:lnTo>
                  <a:lnTo>
                    <a:pt x="32" y="329"/>
                  </a:lnTo>
                  <a:lnTo>
                    <a:pt x="34" y="332"/>
                  </a:lnTo>
                  <a:lnTo>
                    <a:pt x="35" y="332"/>
                  </a:lnTo>
                  <a:lnTo>
                    <a:pt x="36" y="332"/>
                  </a:lnTo>
                  <a:lnTo>
                    <a:pt x="38" y="332"/>
                  </a:lnTo>
                  <a:lnTo>
                    <a:pt x="38" y="333"/>
                  </a:lnTo>
                  <a:lnTo>
                    <a:pt x="39" y="334"/>
                  </a:lnTo>
                  <a:lnTo>
                    <a:pt x="40" y="336"/>
                  </a:lnTo>
                  <a:lnTo>
                    <a:pt x="38" y="337"/>
                  </a:lnTo>
                  <a:lnTo>
                    <a:pt x="36" y="336"/>
                  </a:lnTo>
                  <a:lnTo>
                    <a:pt x="34" y="336"/>
                  </a:lnTo>
                  <a:lnTo>
                    <a:pt x="31" y="334"/>
                  </a:lnTo>
                  <a:lnTo>
                    <a:pt x="31" y="333"/>
                  </a:lnTo>
                  <a:lnTo>
                    <a:pt x="29" y="334"/>
                  </a:lnTo>
                  <a:lnTo>
                    <a:pt x="29" y="337"/>
                  </a:lnTo>
                  <a:lnTo>
                    <a:pt x="31" y="340"/>
                  </a:lnTo>
                  <a:lnTo>
                    <a:pt x="32" y="337"/>
                  </a:lnTo>
                  <a:lnTo>
                    <a:pt x="34" y="338"/>
                  </a:lnTo>
                  <a:lnTo>
                    <a:pt x="34" y="340"/>
                  </a:lnTo>
                  <a:lnTo>
                    <a:pt x="36" y="338"/>
                  </a:lnTo>
                  <a:lnTo>
                    <a:pt x="38" y="340"/>
                  </a:lnTo>
                  <a:lnTo>
                    <a:pt x="38" y="341"/>
                  </a:lnTo>
                  <a:lnTo>
                    <a:pt x="39" y="341"/>
                  </a:lnTo>
                  <a:lnTo>
                    <a:pt x="39" y="340"/>
                  </a:lnTo>
                  <a:lnTo>
                    <a:pt x="40" y="340"/>
                  </a:lnTo>
                  <a:lnTo>
                    <a:pt x="40" y="341"/>
                  </a:lnTo>
                  <a:lnTo>
                    <a:pt x="40" y="343"/>
                  </a:lnTo>
                  <a:lnTo>
                    <a:pt x="42" y="340"/>
                  </a:lnTo>
                  <a:lnTo>
                    <a:pt x="43" y="340"/>
                  </a:lnTo>
                  <a:lnTo>
                    <a:pt x="44" y="340"/>
                  </a:lnTo>
                  <a:lnTo>
                    <a:pt x="43" y="341"/>
                  </a:lnTo>
                  <a:lnTo>
                    <a:pt x="43" y="343"/>
                  </a:lnTo>
                  <a:lnTo>
                    <a:pt x="44" y="343"/>
                  </a:lnTo>
                  <a:lnTo>
                    <a:pt x="46" y="343"/>
                  </a:lnTo>
                  <a:lnTo>
                    <a:pt x="44" y="344"/>
                  </a:lnTo>
                  <a:lnTo>
                    <a:pt x="43" y="347"/>
                  </a:lnTo>
                  <a:lnTo>
                    <a:pt x="44" y="345"/>
                  </a:lnTo>
                  <a:lnTo>
                    <a:pt x="46" y="343"/>
                  </a:lnTo>
                  <a:lnTo>
                    <a:pt x="46" y="341"/>
                  </a:lnTo>
                  <a:lnTo>
                    <a:pt x="47" y="341"/>
                  </a:lnTo>
                  <a:lnTo>
                    <a:pt x="50" y="340"/>
                  </a:lnTo>
                  <a:lnTo>
                    <a:pt x="51" y="341"/>
                  </a:lnTo>
                  <a:lnTo>
                    <a:pt x="51" y="340"/>
                  </a:lnTo>
                  <a:lnTo>
                    <a:pt x="50" y="338"/>
                  </a:lnTo>
                  <a:lnTo>
                    <a:pt x="50" y="338"/>
                  </a:lnTo>
                  <a:lnTo>
                    <a:pt x="53" y="338"/>
                  </a:lnTo>
                  <a:lnTo>
                    <a:pt x="54" y="341"/>
                  </a:lnTo>
                  <a:lnTo>
                    <a:pt x="57" y="341"/>
                  </a:lnTo>
                  <a:lnTo>
                    <a:pt x="59" y="343"/>
                  </a:lnTo>
                  <a:lnTo>
                    <a:pt x="61" y="341"/>
                  </a:lnTo>
                  <a:lnTo>
                    <a:pt x="61" y="340"/>
                  </a:lnTo>
                  <a:lnTo>
                    <a:pt x="63" y="341"/>
                  </a:lnTo>
                  <a:lnTo>
                    <a:pt x="66" y="343"/>
                  </a:lnTo>
                  <a:lnTo>
                    <a:pt x="66" y="341"/>
                  </a:lnTo>
                  <a:lnTo>
                    <a:pt x="69" y="343"/>
                  </a:lnTo>
                  <a:lnTo>
                    <a:pt x="81" y="349"/>
                  </a:lnTo>
                  <a:lnTo>
                    <a:pt x="89" y="353"/>
                  </a:lnTo>
                  <a:lnTo>
                    <a:pt x="91" y="356"/>
                  </a:lnTo>
                  <a:lnTo>
                    <a:pt x="93" y="356"/>
                  </a:lnTo>
                  <a:lnTo>
                    <a:pt x="96" y="360"/>
                  </a:lnTo>
                  <a:lnTo>
                    <a:pt x="97" y="362"/>
                  </a:lnTo>
                  <a:lnTo>
                    <a:pt x="97" y="360"/>
                  </a:lnTo>
                  <a:lnTo>
                    <a:pt x="97" y="359"/>
                  </a:lnTo>
                  <a:lnTo>
                    <a:pt x="99" y="359"/>
                  </a:lnTo>
                  <a:lnTo>
                    <a:pt x="102" y="362"/>
                  </a:lnTo>
                  <a:lnTo>
                    <a:pt x="104" y="362"/>
                  </a:lnTo>
                  <a:lnTo>
                    <a:pt x="107" y="364"/>
                  </a:lnTo>
                  <a:lnTo>
                    <a:pt x="108" y="364"/>
                  </a:lnTo>
                  <a:lnTo>
                    <a:pt x="107" y="362"/>
                  </a:lnTo>
                  <a:lnTo>
                    <a:pt x="106" y="360"/>
                  </a:lnTo>
                  <a:lnTo>
                    <a:pt x="107" y="360"/>
                  </a:lnTo>
                  <a:lnTo>
                    <a:pt x="110" y="363"/>
                  </a:lnTo>
                  <a:lnTo>
                    <a:pt x="110" y="364"/>
                  </a:lnTo>
                  <a:lnTo>
                    <a:pt x="114" y="368"/>
                  </a:lnTo>
                  <a:lnTo>
                    <a:pt x="114" y="370"/>
                  </a:lnTo>
                  <a:lnTo>
                    <a:pt x="117" y="371"/>
                  </a:lnTo>
                  <a:lnTo>
                    <a:pt x="117" y="370"/>
                  </a:lnTo>
                  <a:lnTo>
                    <a:pt x="119" y="370"/>
                  </a:lnTo>
                  <a:lnTo>
                    <a:pt x="122" y="372"/>
                  </a:lnTo>
                  <a:lnTo>
                    <a:pt x="122" y="375"/>
                  </a:lnTo>
                  <a:lnTo>
                    <a:pt x="123" y="377"/>
                  </a:lnTo>
                  <a:lnTo>
                    <a:pt x="126" y="379"/>
                  </a:lnTo>
                  <a:lnTo>
                    <a:pt x="126" y="379"/>
                  </a:lnTo>
                  <a:lnTo>
                    <a:pt x="127" y="381"/>
                  </a:lnTo>
                  <a:lnTo>
                    <a:pt x="127" y="383"/>
                  </a:lnTo>
                  <a:lnTo>
                    <a:pt x="127" y="386"/>
                  </a:lnTo>
                  <a:lnTo>
                    <a:pt x="127" y="389"/>
                  </a:lnTo>
                  <a:lnTo>
                    <a:pt x="126" y="391"/>
                  </a:lnTo>
                  <a:lnTo>
                    <a:pt x="126" y="393"/>
                  </a:lnTo>
                  <a:lnTo>
                    <a:pt x="123" y="396"/>
                  </a:lnTo>
                  <a:lnTo>
                    <a:pt x="123" y="397"/>
                  </a:lnTo>
                  <a:lnTo>
                    <a:pt x="119" y="404"/>
                  </a:lnTo>
                  <a:lnTo>
                    <a:pt x="115" y="405"/>
                  </a:lnTo>
                  <a:lnTo>
                    <a:pt x="112" y="406"/>
                  </a:lnTo>
                  <a:lnTo>
                    <a:pt x="110" y="408"/>
                  </a:lnTo>
                  <a:lnTo>
                    <a:pt x="107" y="408"/>
                  </a:lnTo>
                  <a:lnTo>
                    <a:pt x="106" y="408"/>
                  </a:lnTo>
                  <a:lnTo>
                    <a:pt x="100" y="409"/>
                  </a:lnTo>
                  <a:lnTo>
                    <a:pt x="93" y="409"/>
                  </a:lnTo>
                  <a:lnTo>
                    <a:pt x="91" y="408"/>
                  </a:lnTo>
                  <a:lnTo>
                    <a:pt x="88" y="405"/>
                  </a:lnTo>
                  <a:lnTo>
                    <a:pt x="85" y="406"/>
                  </a:lnTo>
                  <a:lnTo>
                    <a:pt x="84" y="406"/>
                  </a:lnTo>
                  <a:lnTo>
                    <a:pt x="80" y="406"/>
                  </a:lnTo>
                  <a:lnTo>
                    <a:pt x="80" y="405"/>
                  </a:lnTo>
                  <a:lnTo>
                    <a:pt x="78" y="404"/>
                  </a:lnTo>
                  <a:lnTo>
                    <a:pt x="76" y="405"/>
                  </a:lnTo>
                  <a:lnTo>
                    <a:pt x="73" y="402"/>
                  </a:lnTo>
                  <a:lnTo>
                    <a:pt x="73" y="401"/>
                  </a:lnTo>
                  <a:lnTo>
                    <a:pt x="72" y="401"/>
                  </a:lnTo>
                  <a:lnTo>
                    <a:pt x="69" y="401"/>
                  </a:lnTo>
                  <a:lnTo>
                    <a:pt x="70" y="401"/>
                  </a:lnTo>
                  <a:lnTo>
                    <a:pt x="66" y="401"/>
                  </a:lnTo>
                  <a:lnTo>
                    <a:pt x="65" y="402"/>
                  </a:lnTo>
                  <a:lnTo>
                    <a:pt x="63" y="402"/>
                  </a:lnTo>
                  <a:lnTo>
                    <a:pt x="63" y="401"/>
                  </a:lnTo>
                  <a:lnTo>
                    <a:pt x="62" y="400"/>
                  </a:lnTo>
                  <a:lnTo>
                    <a:pt x="63" y="398"/>
                  </a:lnTo>
                  <a:lnTo>
                    <a:pt x="62" y="397"/>
                  </a:lnTo>
                  <a:lnTo>
                    <a:pt x="62" y="398"/>
                  </a:lnTo>
                  <a:lnTo>
                    <a:pt x="58" y="398"/>
                  </a:lnTo>
                  <a:lnTo>
                    <a:pt x="55" y="397"/>
                  </a:lnTo>
                  <a:lnTo>
                    <a:pt x="55" y="397"/>
                  </a:lnTo>
                  <a:lnTo>
                    <a:pt x="54" y="397"/>
                  </a:lnTo>
                  <a:lnTo>
                    <a:pt x="49" y="393"/>
                  </a:lnTo>
                  <a:lnTo>
                    <a:pt x="49" y="390"/>
                  </a:lnTo>
                  <a:lnTo>
                    <a:pt x="44" y="390"/>
                  </a:lnTo>
                  <a:lnTo>
                    <a:pt x="44" y="390"/>
                  </a:lnTo>
                  <a:lnTo>
                    <a:pt x="42" y="390"/>
                  </a:lnTo>
                  <a:lnTo>
                    <a:pt x="42" y="390"/>
                  </a:lnTo>
                  <a:lnTo>
                    <a:pt x="44" y="391"/>
                  </a:lnTo>
                  <a:lnTo>
                    <a:pt x="44" y="396"/>
                  </a:lnTo>
                  <a:lnTo>
                    <a:pt x="47" y="397"/>
                  </a:lnTo>
                  <a:lnTo>
                    <a:pt x="49" y="400"/>
                  </a:lnTo>
                  <a:lnTo>
                    <a:pt x="51" y="400"/>
                  </a:lnTo>
                  <a:lnTo>
                    <a:pt x="53" y="401"/>
                  </a:lnTo>
                  <a:lnTo>
                    <a:pt x="50" y="402"/>
                  </a:lnTo>
                  <a:lnTo>
                    <a:pt x="49" y="404"/>
                  </a:lnTo>
                  <a:lnTo>
                    <a:pt x="50" y="404"/>
                  </a:lnTo>
                  <a:lnTo>
                    <a:pt x="53" y="402"/>
                  </a:lnTo>
                  <a:lnTo>
                    <a:pt x="55" y="402"/>
                  </a:lnTo>
                  <a:lnTo>
                    <a:pt x="57" y="402"/>
                  </a:lnTo>
                  <a:lnTo>
                    <a:pt x="54" y="404"/>
                  </a:lnTo>
                  <a:lnTo>
                    <a:pt x="54" y="404"/>
                  </a:lnTo>
                  <a:lnTo>
                    <a:pt x="57" y="405"/>
                  </a:lnTo>
                  <a:lnTo>
                    <a:pt x="57" y="406"/>
                  </a:lnTo>
                  <a:lnTo>
                    <a:pt x="54" y="406"/>
                  </a:lnTo>
                  <a:lnTo>
                    <a:pt x="53" y="408"/>
                  </a:lnTo>
                  <a:lnTo>
                    <a:pt x="55" y="409"/>
                  </a:lnTo>
                  <a:lnTo>
                    <a:pt x="57" y="408"/>
                  </a:lnTo>
                  <a:lnTo>
                    <a:pt x="59" y="408"/>
                  </a:lnTo>
                  <a:lnTo>
                    <a:pt x="59" y="409"/>
                  </a:lnTo>
                  <a:lnTo>
                    <a:pt x="61" y="408"/>
                  </a:lnTo>
                  <a:lnTo>
                    <a:pt x="66" y="411"/>
                  </a:lnTo>
                  <a:lnTo>
                    <a:pt x="69" y="413"/>
                  </a:lnTo>
                  <a:lnTo>
                    <a:pt x="70" y="415"/>
                  </a:lnTo>
                  <a:lnTo>
                    <a:pt x="70" y="416"/>
                  </a:lnTo>
                  <a:lnTo>
                    <a:pt x="69" y="417"/>
                  </a:lnTo>
                  <a:lnTo>
                    <a:pt x="70" y="417"/>
                  </a:lnTo>
                  <a:lnTo>
                    <a:pt x="70" y="420"/>
                  </a:lnTo>
                  <a:lnTo>
                    <a:pt x="70" y="423"/>
                  </a:lnTo>
                  <a:lnTo>
                    <a:pt x="69" y="424"/>
                  </a:lnTo>
                  <a:lnTo>
                    <a:pt x="68" y="425"/>
                  </a:lnTo>
                  <a:lnTo>
                    <a:pt x="70" y="427"/>
                  </a:lnTo>
                  <a:lnTo>
                    <a:pt x="70" y="430"/>
                  </a:lnTo>
                  <a:lnTo>
                    <a:pt x="73" y="432"/>
                  </a:lnTo>
                  <a:lnTo>
                    <a:pt x="73" y="434"/>
                  </a:lnTo>
                  <a:lnTo>
                    <a:pt x="76" y="436"/>
                  </a:lnTo>
                  <a:lnTo>
                    <a:pt x="76" y="438"/>
                  </a:lnTo>
                  <a:lnTo>
                    <a:pt x="76" y="440"/>
                  </a:lnTo>
                  <a:lnTo>
                    <a:pt x="74" y="443"/>
                  </a:lnTo>
                  <a:lnTo>
                    <a:pt x="76" y="445"/>
                  </a:lnTo>
                  <a:lnTo>
                    <a:pt x="77" y="446"/>
                  </a:lnTo>
                  <a:lnTo>
                    <a:pt x="81" y="447"/>
                  </a:lnTo>
                  <a:lnTo>
                    <a:pt x="84" y="446"/>
                  </a:lnTo>
                  <a:lnTo>
                    <a:pt x="85" y="446"/>
                  </a:lnTo>
                  <a:lnTo>
                    <a:pt x="87" y="449"/>
                  </a:lnTo>
                  <a:lnTo>
                    <a:pt x="88" y="450"/>
                  </a:lnTo>
                  <a:lnTo>
                    <a:pt x="89" y="453"/>
                  </a:lnTo>
                  <a:lnTo>
                    <a:pt x="89" y="453"/>
                  </a:lnTo>
                  <a:lnTo>
                    <a:pt x="93" y="453"/>
                  </a:lnTo>
                  <a:lnTo>
                    <a:pt x="95" y="454"/>
                  </a:lnTo>
                  <a:lnTo>
                    <a:pt x="99" y="454"/>
                  </a:lnTo>
                  <a:lnTo>
                    <a:pt x="100" y="457"/>
                  </a:lnTo>
                  <a:lnTo>
                    <a:pt x="102" y="457"/>
                  </a:lnTo>
                  <a:lnTo>
                    <a:pt x="104" y="454"/>
                  </a:lnTo>
                  <a:lnTo>
                    <a:pt x="106" y="454"/>
                  </a:lnTo>
                  <a:lnTo>
                    <a:pt x="107" y="453"/>
                  </a:lnTo>
                  <a:lnTo>
                    <a:pt x="108" y="449"/>
                  </a:lnTo>
                  <a:lnTo>
                    <a:pt x="106" y="447"/>
                  </a:lnTo>
                  <a:lnTo>
                    <a:pt x="107" y="446"/>
                  </a:lnTo>
                  <a:lnTo>
                    <a:pt x="107" y="446"/>
                  </a:lnTo>
                  <a:lnTo>
                    <a:pt x="104" y="445"/>
                  </a:lnTo>
                  <a:lnTo>
                    <a:pt x="104" y="443"/>
                  </a:lnTo>
                  <a:lnTo>
                    <a:pt x="102" y="445"/>
                  </a:lnTo>
                  <a:lnTo>
                    <a:pt x="100" y="445"/>
                  </a:lnTo>
                  <a:lnTo>
                    <a:pt x="99" y="445"/>
                  </a:lnTo>
                  <a:lnTo>
                    <a:pt x="96" y="443"/>
                  </a:lnTo>
                  <a:lnTo>
                    <a:pt x="93" y="440"/>
                  </a:lnTo>
                  <a:lnTo>
                    <a:pt x="91" y="439"/>
                  </a:lnTo>
                  <a:lnTo>
                    <a:pt x="89" y="436"/>
                  </a:lnTo>
                  <a:lnTo>
                    <a:pt x="88" y="434"/>
                  </a:lnTo>
                  <a:lnTo>
                    <a:pt x="91" y="434"/>
                  </a:lnTo>
                  <a:lnTo>
                    <a:pt x="92" y="432"/>
                  </a:lnTo>
                  <a:lnTo>
                    <a:pt x="91" y="431"/>
                  </a:lnTo>
                  <a:lnTo>
                    <a:pt x="92" y="430"/>
                  </a:lnTo>
                  <a:lnTo>
                    <a:pt x="91" y="428"/>
                  </a:lnTo>
                  <a:lnTo>
                    <a:pt x="91" y="427"/>
                  </a:lnTo>
                  <a:lnTo>
                    <a:pt x="93" y="427"/>
                  </a:lnTo>
                  <a:lnTo>
                    <a:pt x="96" y="428"/>
                  </a:lnTo>
                  <a:lnTo>
                    <a:pt x="100" y="430"/>
                  </a:lnTo>
                  <a:lnTo>
                    <a:pt x="102" y="431"/>
                  </a:lnTo>
                  <a:lnTo>
                    <a:pt x="104" y="434"/>
                  </a:lnTo>
                  <a:lnTo>
                    <a:pt x="108" y="434"/>
                  </a:lnTo>
                  <a:lnTo>
                    <a:pt x="108" y="435"/>
                  </a:lnTo>
                  <a:lnTo>
                    <a:pt x="111" y="435"/>
                  </a:lnTo>
                  <a:lnTo>
                    <a:pt x="118" y="439"/>
                  </a:lnTo>
                  <a:lnTo>
                    <a:pt x="122" y="442"/>
                  </a:lnTo>
                  <a:lnTo>
                    <a:pt x="123" y="440"/>
                  </a:lnTo>
                  <a:lnTo>
                    <a:pt x="125" y="438"/>
                  </a:lnTo>
                  <a:lnTo>
                    <a:pt x="125" y="435"/>
                  </a:lnTo>
                  <a:lnTo>
                    <a:pt x="126" y="435"/>
                  </a:lnTo>
                  <a:lnTo>
                    <a:pt x="129" y="434"/>
                  </a:lnTo>
                  <a:lnTo>
                    <a:pt x="125" y="430"/>
                  </a:lnTo>
                  <a:lnTo>
                    <a:pt x="121" y="424"/>
                  </a:lnTo>
                  <a:lnTo>
                    <a:pt x="119" y="420"/>
                  </a:lnTo>
                  <a:lnTo>
                    <a:pt x="119" y="419"/>
                  </a:lnTo>
                  <a:lnTo>
                    <a:pt x="122" y="416"/>
                  </a:lnTo>
                  <a:lnTo>
                    <a:pt x="125" y="412"/>
                  </a:lnTo>
                  <a:lnTo>
                    <a:pt x="126" y="409"/>
                  </a:lnTo>
                  <a:lnTo>
                    <a:pt x="127" y="408"/>
                  </a:lnTo>
                  <a:lnTo>
                    <a:pt x="130" y="406"/>
                  </a:lnTo>
                  <a:lnTo>
                    <a:pt x="134" y="404"/>
                  </a:lnTo>
                  <a:lnTo>
                    <a:pt x="137" y="398"/>
                  </a:lnTo>
                  <a:lnTo>
                    <a:pt x="138" y="397"/>
                  </a:lnTo>
                  <a:lnTo>
                    <a:pt x="141" y="397"/>
                  </a:lnTo>
                  <a:lnTo>
                    <a:pt x="144" y="400"/>
                  </a:lnTo>
                  <a:lnTo>
                    <a:pt x="146" y="398"/>
                  </a:lnTo>
                  <a:lnTo>
                    <a:pt x="151" y="400"/>
                  </a:lnTo>
                  <a:lnTo>
                    <a:pt x="152" y="401"/>
                  </a:lnTo>
                  <a:lnTo>
                    <a:pt x="152" y="404"/>
                  </a:lnTo>
                  <a:lnTo>
                    <a:pt x="155" y="401"/>
                  </a:lnTo>
                  <a:lnTo>
                    <a:pt x="157" y="402"/>
                  </a:lnTo>
                  <a:lnTo>
                    <a:pt x="159" y="405"/>
                  </a:lnTo>
                  <a:lnTo>
                    <a:pt x="160" y="406"/>
                  </a:lnTo>
                  <a:lnTo>
                    <a:pt x="159" y="402"/>
                  </a:lnTo>
                  <a:lnTo>
                    <a:pt x="157" y="400"/>
                  </a:lnTo>
                  <a:lnTo>
                    <a:pt x="159" y="398"/>
                  </a:lnTo>
                  <a:lnTo>
                    <a:pt x="159" y="393"/>
                  </a:lnTo>
                  <a:lnTo>
                    <a:pt x="160" y="391"/>
                  </a:lnTo>
                  <a:lnTo>
                    <a:pt x="159" y="390"/>
                  </a:lnTo>
                  <a:lnTo>
                    <a:pt x="159" y="389"/>
                  </a:lnTo>
                  <a:lnTo>
                    <a:pt x="159" y="387"/>
                  </a:lnTo>
                  <a:lnTo>
                    <a:pt x="159" y="386"/>
                  </a:lnTo>
                  <a:lnTo>
                    <a:pt x="159" y="385"/>
                  </a:lnTo>
                  <a:lnTo>
                    <a:pt x="157" y="383"/>
                  </a:lnTo>
                  <a:lnTo>
                    <a:pt x="155" y="382"/>
                  </a:lnTo>
                  <a:lnTo>
                    <a:pt x="151" y="382"/>
                  </a:lnTo>
                  <a:lnTo>
                    <a:pt x="151" y="379"/>
                  </a:lnTo>
                  <a:lnTo>
                    <a:pt x="151" y="377"/>
                  </a:lnTo>
                  <a:lnTo>
                    <a:pt x="151" y="371"/>
                  </a:lnTo>
                  <a:lnTo>
                    <a:pt x="152" y="370"/>
                  </a:lnTo>
                  <a:lnTo>
                    <a:pt x="152" y="368"/>
                  </a:lnTo>
                  <a:lnTo>
                    <a:pt x="152" y="366"/>
                  </a:lnTo>
                  <a:lnTo>
                    <a:pt x="152" y="366"/>
                  </a:lnTo>
                  <a:lnTo>
                    <a:pt x="151" y="364"/>
                  </a:lnTo>
                  <a:lnTo>
                    <a:pt x="151" y="362"/>
                  </a:lnTo>
                  <a:lnTo>
                    <a:pt x="149" y="356"/>
                  </a:lnTo>
                  <a:lnTo>
                    <a:pt x="146" y="353"/>
                  </a:lnTo>
                  <a:lnTo>
                    <a:pt x="140" y="349"/>
                  </a:lnTo>
                  <a:lnTo>
                    <a:pt x="140" y="348"/>
                  </a:lnTo>
                  <a:lnTo>
                    <a:pt x="142" y="348"/>
                  </a:lnTo>
                  <a:lnTo>
                    <a:pt x="148" y="351"/>
                  </a:lnTo>
                  <a:lnTo>
                    <a:pt x="151" y="351"/>
                  </a:lnTo>
                  <a:lnTo>
                    <a:pt x="152" y="349"/>
                  </a:lnTo>
                  <a:lnTo>
                    <a:pt x="156" y="349"/>
                  </a:lnTo>
                  <a:lnTo>
                    <a:pt x="163" y="351"/>
                  </a:lnTo>
                  <a:lnTo>
                    <a:pt x="165" y="352"/>
                  </a:lnTo>
                  <a:lnTo>
                    <a:pt x="165" y="353"/>
                  </a:lnTo>
                  <a:lnTo>
                    <a:pt x="168" y="358"/>
                  </a:lnTo>
                  <a:lnTo>
                    <a:pt x="171" y="358"/>
                  </a:lnTo>
                  <a:lnTo>
                    <a:pt x="171" y="359"/>
                  </a:lnTo>
                  <a:lnTo>
                    <a:pt x="175" y="363"/>
                  </a:lnTo>
                  <a:lnTo>
                    <a:pt x="174" y="366"/>
                  </a:lnTo>
                  <a:lnTo>
                    <a:pt x="170" y="366"/>
                  </a:lnTo>
                  <a:lnTo>
                    <a:pt x="168" y="367"/>
                  </a:lnTo>
                  <a:lnTo>
                    <a:pt x="165" y="367"/>
                  </a:lnTo>
                  <a:lnTo>
                    <a:pt x="164" y="368"/>
                  </a:lnTo>
                  <a:lnTo>
                    <a:pt x="164" y="370"/>
                  </a:lnTo>
                  <a:lnTo>
                    <a:pt x="164" y="371"/>
                  </a:lnTo>
                  <a:lnTo>
                    <a:pt x="163" y="370"/>
                  </a:lnTo>
                  <a:lnTo>
                    <a:pt x="161" y="371"/>
                  </a:lnTo>
                  <a:lnTo>
                    <a:pt x="161" y="375"/>
                  </a:lnTo>
                  <a:lnTo>
                    <a:pt x="163" y="377"/>
                  </a:lnTo>
                  <a:lnTo>
                    <a:pt x="168" y="381"/>
                  </a:lnTo>
                  <a:lnTo>
                    <a:pt x="172" y="386"/>
                  </a:lnTo>
                  <a:lnTo>
                    <a:pt x="175" y="386"/>
                  </a:lnTo>
                  <a:lnTo>
                    <a:pt x="178" y="383"/>
                  </a:lnTo>
                  <a:lnTo>
                    <a:pt x="179" y="386"/>
                  </a:lnTo>
                  <a:lnTo>
                    <a:pt x="180" y="385"/>
                  </a:lnTo>
                  <a:lnTo>
                    <a:pt x="183" y="385"/>
                  </a:lnTo>
                  <a:lnTo>
                    <a:pt x="183" y="383"/>
                  </a:lnTo>
                  <a:lnTo>
                    <a:pt x="187" y="382"/>
                  </a:lnTo>
                  <a:lnTo>
                    <a:pt x="189" y="379"/>
                  </a:lnTo>
                  <a:lnTo>
                    <a:pt x="187" y="377"/>
                  </a:lnTo>
                  <a:lnTo>
                    <a:pt x="189" y="374"/>
                  </a:lnTo>
                  <a:lnTo>
                    <a:pt x="189" y="371"/>
                  </a:lnTo>
                  <a:lnTo>
                    <a:pt x="187" y="368"/>
                  </a:lnTo>
                  <a:lnTo>
                    <a:pt x="189" y="368"/>
                  </a:lnTo>
                  <a:lnTo>
                    <a:pt x="194" y="367"/>
                  </a:lnTo>
                  <a:lnTo>
                    <a:pt x="195" y="366"/>
                  </a:lnTo>
                  <a:lnTo>
                    <a:pt x="199" y="367"/>
                  </a:lnTo>
                  <a:lnTo>
                    <a:pt x="199" y="366"/>
                  </a:lnTo>
                  <a:lnTo>
                    <a:pt x="195" y="363"/>
                  </a:lnTo>
                  <a:lnTo>
                    <a:pt x="195" y="362"/>
                  </a:lnTo>
                  <a:lnTo>
                    <a:pt x="195" y="362"/>
                  </a:lnTo>
                  <a:lnTo>
                    <a:pt x="198" y="363"/>
                  </a:lnTo>
                  <a:lnTo>
                    <a:pt x="199" y="362"/>
                  </a:lnTo>
                  <a:lnTo>
                    <a:pt x="204" y="356"/>
                  </a:lnTo>
                  <a:lnTo>
                    <a:pt x="205" y="356"/>
                  </a:lnTo>
                  <a:lnTo>
                    <a:pt x="210" y="351"/>
                  </a:lnTo>
                  <a:lnTo>
                    <a:pt x="210" y="349"/>
                  </a:lnTo>
                  <a:lnTo>
                    <a:pt x="212" y="348"/>
                  </a:lnTo>
                  <a:lnTo>
                    <a:pt x="214" y="348"/>
                  </a:lnTo>
                  <a:lnTo>
                    <a:pt x="217" y="347"/>
                  </a:lnTo>
                  <a:lnTo>
                    <a:pt x="217" y="345"/>
                  </a:lnTo>
                  <a:lnTo>
                    <a:pt x="223" y="344"/>
                  </a:lnTo>
                  <a:lnTo>
                    <a:pt x="223" y="345"/>
                  </a:lnTo>
                  <a:lnTo>
                    <a:pt x="224" y="347"/>
                  </a:lnTo>
                  <a:lnTo>
                    <a:pt x="224" y="348"/>
                  </a:lnTo>
                  <a:lnTo>
                    <a:pt x="223" y="349"/>
                  </a:lnTo>
                  <a:lnTo>
                    <a:pt x="224" y="349"/>
                  </a:lnTo>
                  <a:lnTo>
                    <a:pt x="227" y="348"/>
                  </a:lnTo>
                  <a:lnTo>
                    <a:pt x="227" y="345"/>
                  </a:lnTo>
                  <a:lnTo>
                    <a:pt x="225" y="345"/>
                  </a:lnTo>
                  <a:lnTo>
                    <a:pt x="224" y="344"/>
                  </a:lnTo>
                  <a:lnTo>
                    <a:pt x="224" y="343"/>
                  </a:lnTo>
                  <a:lnTo>
                    <a:pt x="228" y="338"/>
                  </a:lnTo>
                  <a:lnTo>
                    <a:pt x="229" y="338"/>
                  </a:lnTo>
                  <a:lnTo>
                    <a:pt x="229" y="340"/>
                  </a:lnTo>
                  <a:lnTo>
                    <a:pt x="228" y="340"/>
                  </a:lnTo>
                  <a:lnTo>
                    <a:pt x="228" y="341"/>
                  </a:lnTo>
                  <a:lnTo>
                    <a:pt x="229" y="344"/>
                  </a:lnTo>
                  <a:lnTo>
                    <a:pt x="232" y="343"/>
                  </a:lnTo>
                  <a:lnTo>
                    <a:pt x="232" y="341"/>
                  </a:lnTo>
                  <a:lnTo>
                    <a:pt x="232" y="340"/>
                  </a:lnTo>
                  <a:lnTo>
                    <a:pt x="231" y="337"/>
                  </a:lnTo>
                  <a:lnTo>
                    <a:pt x="231" y="337"/>
                  </a:lnTo>
                  <a:lnTo>
                    <a:pt x="232" y="336"/>
                  </a:lnTo>
                  <a:lnTo>
                    <a:pt x="239" y="333"/>
                  </a:lnTo>
                  <a:lnTo>
                    <a:pt x="243" y="332"/>
                  </a:lnTo>
                  <a:lnTo>
                    <a:pt x="243" y="333"/>
                  </a:lnTo>
                  <a:lnTo>
                    <a:pt x="240" y="334"/>
                  </a:lnTo>
                  <a:lnTo>
                    <a:pt x="239" y="334"/>
                  </a:lnTo>
                  <a:lnTo>
                    <a:pt x="235" y="336"/>
                  </a:lnTo>
                  <a:lnTo>
                    <a:pt x="235" y="337"/>
                  </a:lnTo>
                  <a:lnTo>
                    <a:pt x="238" y="337"/>
                  </a:lnTo>
                  <a:lnTo>
                    <a:pt x="239" y="337"/>
                  </a:lnTo>
                  <a:lnTo>
                    <a:pt x="242" y="340"/>
                  </a:lnTo>
                  <a:lnTo>
                    <a:pt x="239" y="340"/>
                  </a:lnTo>
                  <a:lnTo>
                    <a:pt x="239" y="341"/>
                  </a:lnTo>
                  <a:lnTo>
                    <a:pt x="240" y="344"/>
                  </a:lnTo>
                  <a:lnTo>
                    <a:pt x="239" y="345"/>
                  </a:lnTo>
                  <a:lnTo>
                    <a:pt x="238" y="345"/>
                  </a:lnTo>
                  <a:lnTo>
                    <a:pt x="235" y="348"/>
                  </a:lnTo>
                  <a:lnTo>
                    <a:pt x="235" y="349"/>
                  </a:lnTo>
                  <a:lnTo>
                    <a:pt x="238" y="349"/>
                  </a:lnTo>
                  <a:lnTo>
                    <a:pt x="239" y="349"/>
                  </a:lnTo>
                  <a:lnTo>
                    <a:pt x="240" y="349"/>
                  </a:lnTo>
                  <a:lnTo>
                    <a:pt x="242" y="348"/>
                  </a:lnTo>
                  <a:lnTo>
                    <a:pt x="244" y="349"/>
                  </a:lnTo>
                  <a:lnTo>
                    <a:pt x="244" y="352"/>
                  </a:lnTo>
                  <a:lnTo>
                    <a:pt x="246" y="349"/>
                  </a:lnTo>
                  <a:lnTo>
                    <a:pt x="248" y="347"/>
                  </a:lnTo>
                  <a:lnTo>
                    <a:pt x="250" y="347"/>
                  </a:lnTo>
                  <a:lnTo>
                    <a:pt x="250" y="348"/>
                  </a:lnTo>
                  <a:lnTo>
                    <a:pt x="252" y="349"/>
                  </a:lnTo>
                  <a:lnTo>
                    <a:pt x="252" y="348"/>
                  </a:lnTo>
                  <a:lnTo>
                    <a:pt x="252" y="347"/>
                  </a:lnTo>
                  <a:lnTo>
                    <a:pt x="252" y="345"/>
                  </a:lnTo>
                  <a:lnTo>
                    <a:pt x="251" y="344"/>
                  </a:lnTo>
                  <a:lnTo>
                    <a:pt x="251" y="344"/>
                  </a:lnTo>
                  <a:lnTo>
                    <a:pt x="252" y="341"/>
                  </a:lnTo>
                  <a:lnTo>
                    <a:pt x="255" y="341"/>
                  </a:lnTo>
                  <a:lnTo>
                    <a:pt x="257" y="340"/>
                  </a:lnTo>
                  <a:lnTo>
                    <a:pt x="259" y="337"/>
                  </a:lnTo>
                  <a:lnTo>
                    <a:pt x="261" y="338"/>
                  </a:lnTo>
                  <a:lnTo>
                    <a:pt x="262" y="338"/>
                  </a:lnTo>
                  <a:lnTo>
                    <a:pt x="263" y="338"/>
                  </a:lnTo>
                  <a:lnTo>
                    <a:pt x="265" y="338"/>
                  </a:lnTo>
                  <a:lnTo>
                    <a:pt x="270" y="338"/>
                  </a:lnTo>
                  <a:lnTo>
                    <a:pt x="272" y="337"/>
                  </a:lnTo>
                  <a:lnTo>
                    <a:pt x="272" y="336"/>
                  </a:lnTo>
                  <a:lnTo>
                    <a:pt x="273" y="334"/>
                  </a:lnTo>
                  <a:lnTo>
                    <a:pt x="276" y="334"/>
                  </a:lnTo>
                  <a:lnTo>
                    <a:pt x="276" y="333"/>
                  </a:lnTo>
                  <a:lnTo>
                    <a:pt x="278" y="332"/>
                  </a:lnTo>
                  <a:lnTo>
                    <a:pt x="280" y="330"/>
                  </a:lnTo>
                  <a:lnTo>
                    <a:pt x="284" y="328"/>
                  </a:lnTo>
                  <a:lnTo>
                    <a:pt x="285" y="328"/>
                  </a:lnTo>
                  <a:lnTo>
                    <a:pt x="286" y="326"/>
                  </a:lnTo>
                  <a:lnTo>
                    <a:pt x="286" y="328"/>
                  </a:lnTo>
                  <a:lnTo>
                    <a:pt x="285" y="329"/>
                  </a:lnTo>
                  <a:lnTo>
                    <a:pt x="286" y="330"/>
                  </a:lnTo>
                  <a:lnTo>
                    <a:pt x="289" y="333"/>
                  </a:lnTo>
                  <a:lnTo>
                    <a:pt x="289" y="334"/>
                  </a:lnTo>
                  <a:lnTo>
                    <a:pt x="288" y="336"/>
                  </a:lnTo>
                  <a:lnTo>
                    <a:pt x="288" y="338"/>
                  </a:lnTo>
                  <a:lnTo>
                    <a:pt x="288" y="340"/>
                  </a:lnTo>
                  <a:lnTo>
                    <a:pt x="289" y="341"/>
                  </a:lnTo>
                  <a:lnTo>
                    <a:pt x="295" y="341"/>
                  </a:lnTo>
                  <a:lnTo>
                    <a:pt x="296" y="340"/>
                  </a:lnTo>
                  <a:lnTo>
                    <a:pt x="296" y="338"/>
                  </a:lnTo>
                  <a:lnTo>
                    <a:pt x="296" y="338"/>
                  </a:lnTo>
                  <a:lnTo>
                    <a:pt x="293" y="336"/>
                  </a:lnTo>
                  <a:lnTo>
                    <a:pt x="293" y="334"/>
                  </a:lnTo>
                  <a:lnTo>
                    <a:pt x="295" y="333"/>
                  </a:lnTo>
                  <a:lnTo>
                    <a:pt x="299" y="334"/>
                  </a:lnTo>
                  <a:lnTo>
                    <a:pt x="300" y="333"/>
                  </a:lnTo>
                  <a:lnTo>
                    <a:pt x="301" y="329"/>
                  </a:lnTo>
                  <a:lnTo>
                    <a:pt x="303" y="329"/>
                  </a:lnTo>
                  <a:lnTo>
                    <a:pt x="304" y="329"/>
                  </a:lnTo>
                  <a:lnTo>
                    <a:pt x="307" y="330"/>
                  </a:lnTo>
                  <a:lnTo>
                    <a:pt x="304" y="326"/>
                  </a:lnTo>
                  <a:lnTo>
                    <a:pt x="301" y="326"/>
                  </a:lnTo>
                  <a:lnTo>
                    <a:pt x="301" y="324"/>
                  </a:lnTo>
                  <a:lnTo>
                    <a:pt x="299" y="319"/>
                  </a:lnTo>
                  <a:lnTo>
                    <a:pt x="297" y="319"/>
                  </a:lnTo>
                  <a:lnTo>
                    <a:pt x="297" y="322"/>
                  </a:lnTo>
                  <a:lnTo>
                    <a:pt x="296" y="319"/>
                  </a:lnTo>
                  <a:lnTo>
                    <a:pt x="295" y="315"/>
                  </a:lnTo>
                  <a:lnTo>
                    <a:pt x="293" y="314"/>
                  </a:lnTo>
                  <a:lnTo>
                    <a:pt x="292" y="311"/>
                  </a:lnTo>
                  <a:lnTo>
                    <a:pt x="292" y="311"/>
                  </a:lnTo>
                  <a:lnTo>
                    <a:pt x="295" y="310"/>
                  </a:lnTo>
                  <a:lnTo>
                    <a:pt x="295" y="309"/>
                  </a:lnTo>
                  <a:lnTo>
                    <a:pt x="293" y="306"/>
                  </a:lnTo>
                  <a:lnTo>
                    <a:pt x="295" y="304"/>
                  </a:lnTo>
                  <a:lnTo>
                    <a:pt x="296" y="304"/>
                  </a:lnTo>
                  <a:lnTo>
                    <a:pt x="297" y="304"/>
                  </a:lnTo>
                  <a:lnTo>
                    <a:pt x="299" y="306"/>
                  </a:lnTo>
                  <a:lnTo>
                    <a:pt x="301" y="304"/>
                  </a:lnTo>
                  <a:lnTo>
                    <a:pt x="304" y="306"/>
                  </a:lnTo>
                  <a:lnTo>
                    <a:pt x="312" y="304"/>
                  </a:lnTo>
                  <a:lnTo>
                    <a:pt x="323" y="306"/>
                  </a:lnTo>
                  <a:lnTo>
                    <a:pt x="327" y="307"/>
                  </a:lnTo>
                  <a:lnTo>
                    <a:pt x="334" y="310"/>
                  </a:lnTo>
                  <a:lnTo>
                    <a:pt x="335" y="311"/>
                  </a:lnTo>
                  <a:lnTo>
                    <a:pt x="334" y="313"/>
                  </a:lnTo>
                  <a:lnTo>
                    <a:pt x="335" y="315"/>
                  </a:lnTo>
                  <a:lnTo>
                    <a:pt x="338" y="314"/>
                  </a:lnTo>
                  <a:lnTo>
                    <a:pt x="341" y="313"/>
                  </a:lnTo>
                  <a:lnTo>
                    <a:pt x="344" y="314"/>
                  </a:lnTo>
                  <a:lnTo>
                    <a:pt x="345" y="314"/>
                  </a:lnTo>
                  <a:lnTo>
                    <a:pt x="345" y="317"/>
                  </a:lnTo>
                  <a:lnTo>
                    <a:pt x="349" y="317"/>
                  </a:lnTo>
                  <a:lnTo>
                    <a:pt x="356" y="321"/>
                  </a:lnTo>
                  <a:lnTo>
                    <a:pt x="363" y="321"/>
                  </a:lnTo>
                  <a:lnTo>
                    <a:pt x="364" y="324"/>
                  </a:lnTo>
                  <a:lnTo>
                    <a:pt x="365" y="326"/>
                  </a:lnTo>
                  <a:lnTo>
                    <a:pt x="369" y="328"/>
                  </a:lnTo>
                  <a:lnTo>
                    <a:pt x="372" y="330"/>
                  </a:lnTo>
                  <a:lnTo>
                    <a:pt x="375" y="334"/>
                  </a:lnTo>
                  <a:lnTo>
                    <a:pt x="378" y="336"/>
                  </a:lnTo>
                  <a:lnTo>
                    <a:pt x="378" y="334"/>
                  </a:lnTo>
                  <a:lnTo>
                    <a:pt x="378" y="330"/>
                  </a:lnTo>
                  <a:lnTo>
                    <a:pt x="379" y="330"/>
                  </a:lnTo>
                  <a:lnTo>
                    <a:pt x="379" y="329"/>
                  </a:lnTo>
                  <a:lnTo>
                    <a:pt x="378" y="328"/>
                  </a:lnTo>
                  <a:lnTo>
                    <a:pt x="379" y="325"/>
                  </a:lnTo>
                  <a:lnTo>
                    <a:pt x="379" y="319"/>
                  </a:lnTo>
                  <a:lnTo>
                    <a:pt x="380" y="318"/>
                  </a:lnTo>
                  <a:lnTo>
                    <a:pt x="379" y="318"/>
                  </a:lnTo>
                  <a:lnTo>
                    <a:pt x="378" y="317"/>
                  </a:lnTo>
                  <a:lnTo>
                    <a:pt x="376" y="317"/>
                  </a:lnTo>
                  <a:lnTo>
                    <a:pt x="374" y="318"/>
                  </a:lnTo>
                  <a:lnTo>
                    <a:pt x="372" y="317"/>
                  </a:lnTo>
                  <a:lnTo>
                    <a:pt x="367" y="311"/>
                  </a:lnTo>
                  <a:lnTo>
                    <a:pt x="365" y="311"/>
                  </a:lnTo>
                  <a:lnTo>
                    <a:pt x="364" y="309"/>
                  </a:lnTo>
                  <a:lnTo>
                    <a:pt x="364" y="304"/>
                  </a:lnTo>
                  <a:lnTo>
                    <a:pt x="363" y="303"/>
                  </a:lnTo>
                  <a:lnTo>
                    <a:pt x="360" y="307"/>
                  </a:lnTo>
                  <a:lnTo>
                    <a:pt x="359" y="304"/>
                  </a:lnTo>
                  <a:lnTo>
                    <a:pt x="356" y="304"/>
                  </a:lnTo>
                  <a:lnTo>
                    <a:pt x="353" y="303"/>
                  </a:lnTo>
                  <a:lnTo>
                    <a:pt x="352" y="306"/>
                  </a:lnTo>
                  <a:lnTo>
                    <a:pt x="352" y="302"/>
                  </a:lnTo>
                  <a:lnTo>
                    <a:pt x="349" y="300"/>
                  </a:lnTo>
                  <a:lnTo>
                    <a:pt x="348" y="295"/>
                  </a:lnTo>
                  <a:lnTo>
                    <a:pt x="348" y="294"/>
                  </a:lnTo>
                  <a:lnTo>
                    <a:pt x="349" y="294"/>
                  </a:lnTo>
                  <a:lnTo>
                    <a:pt x="350" y="292"/>
                  </a:lnTo>
                  <a:lnTo>
                    <a:pt x="350" y="290"/>
                  </a:lnTo>
                  <a:lnTo>
                    <a:pt x="348" y="287"/>
                  </a:lnTo>
                  <a:lnTo>
                    <a:pt x="348" y="284"/>
                  </a:lnTo>
                  <a:lnTo>
                    <a:pt x="349" y="283"/>
                  </a:lnTo>
                  <a:lnTo>
                    <a:pt x="350" y="283"/>
                  </a:lnTo>
                  <a:lnTo>
                    <a:pt x="348" y="280"/>
                  </a:lnTo>
                  <a:lnTo>
                    <a:pt x="346" y="280"/>
                  </a:lnTo>
                  <a:lnTo>
                    <a:pt x="344" y="276"/>
                  </a:lnTo>
                  <a:lnTo>
                    <a:pt x="342" y="275"/>
                  </a:lnTo>
                  <a:lnTo>
                    <a:pt x="341" y="276"/>
                  </a:lnTo>
                  <a:lnTo>
                    <a:pt x="338" y="273"/>
                  </a:lnTo>
                  <a:lnTo>
                    <a:pt x="338" y="269"/>
                  </a:lnTo>
                  <a:lnTo>
                    <a:pt x="340" y="268"/>
                  </a:lnTo>
                  <a:lnTo>
                    <a:pt x="338" y="265"/>
                  </a:lnTo>
                  <a:lnTo>
                    <a:pt x="338" y="262"/>
                  </a:lnTo>
                  <a:lnTo>
                    <a:pt x="340" y="262"/>
                  </a:lnTo>
                  <a:lnTo>
                    <a:pt x="344" y="256"/>
                  </a:lnTo>
                  <a:lnTo>
                    <a:pt x="346" y="254"/>
                  </a:lnTo>
                  <a:lnTo>
                    <a:pt x="346" y="253"/>
                  </a:lnTo>
                  <a:lnTo>
                    <a:pt x="346" y="249"/>
                  </a:lnTo>
                  <a:lnTo>
                    <a:pt x="345" y="247"/>
                  </a:lnTo>
                  <a:lnTo>
                    <a:pt x="346" y="245"/>
                  </a:lnTo>
                  <a:lnTo>
                    <a:pt x="345" y="242"/>
                  </a:lnTo>
                  <a:lnTo>
                    <a:pt x="345" y="238"/>
                  </a:lnTo>
                  <a:lnTo>
                    <a:pt x="346" y="237"/>
                  </a:lnTo>
                  <a:lnTo>
                    <a:pt x="345" y="234"/>
                  </a:lnTo>
                  <a:lnTo>
                    <a:pt x="345" y="231"/>
                  </a:lnTo>
                  <a:lnTo>
                    <a:pt x="344" y="230"/>
                  </a:lnTo>
                  <a:lnTo>
                    <a:pt x="345" y="226"/>
                  </a:lnTo>
                  <a:lnTo>
                    <a:pt x="346" y="224"/>
                  </a:lnTo>
                  <a:lnTo>
                    <a:pt x="344" y="222"/>
                  </a:lnTo>
                  <a:lnTo>
                    <a:pt x="345" y="219"/>
                  </a:lnTo>
                  <a:lnTo>
                    <a:pt x="344" y="213"/>
                  </a:lnTo>
                  <a:lnTo>
                    <a:pt x="346" y="213"/>
                  </a:lnTo>
                  <a:lnTo>
                    <a:pt x="348" y="213"/>
                  </a:lnTo>
                  <a:lnTo>
                    <a:pt x="346" y="215"/>
                  </a:lnTo>
                  <a:lnTo>
                    <a:pt x="348" y="216"/>
                  </a:lnTo>
                  <a:lnTo>
                    <a:pt x="350" y="215"/>
                  </a:lnTo>
                  <a:lnTo>
                    <a:pt x="353" y="215"/>
                  </a:lnTo>
                  <a:lnTo>
                    <a:pt x="357" y="213"/>
                  </a:lnTo>
                  <a:lnTo>
                    <a:pt x="359" y="213"/>
                  </a:lnTo>
                  <a:lnTo>
                    <a:pt x="361" y="215"/>
                  </a:lnTo>
                  <a:lnTo>
                    <a:pt x="363" y="213"/>
                  </a:lnTo>
                  <a:lnTo>
                    <a:pt x="365" y="213"/>
                  </a:lnTo>
                  <a:lnTo>
                    <a:pt x="372" y="216"/>
                  </a:lnTo>
                  <a:lnTo>
                    <a:pt x="375" y="216"/>
                  </a:lnTo>
                  <a:lnTo>
                    <a:pt x="378" y="216"/>
                  </a:lnTo>
                  <a:lnTo>
                    <a:pt x="379" y="219"/>
                  </a:lnTo>
                  <a:lnTo>
                    <a:pt x="376" y="219"/>
                  </a:lnTo>
                  <a:lnTo>
                    <a:pt x="378" y="222"/>
                  </a:lnTo>
                  <a:lnTo>
                    <a:pt x="378" y="226"/>
                  </a:lnTo>
                  <a:lnTo>
                    <a:pt x="379" y="226"/>
                  </a:lnTo>
                  <a:lnTo>
                    <a:pt x="379" y="231"/>
                  </a:lnTo>
                  <a:lnTo>
                    <a:pt x="380" y="234"/>
                  </a:lnTo>
                  <a:lnTo>
                    <a:pt x="380" y="241"/>
                  </a:lnTo>
                  <a:lnTo>
                    <a:pt x="382" y="242"/>
                  </a:lnTo>
                  <a:lnTo>
                    <a:pt x="380" y="243"/>
                  </a:lnTo>
                  <a:lnTo>
                    <a:pt x="382" y="246"/>
                  </a:lnTo>
                  <a:lnTo>
                    <a:pt x="380" y="249"/>
                  </a:lnTo>
                  <a:lnTo>
                    <a:pt x="379" y="249"/>
                  </a:lnTo>
                  <a:lnTo>
                    <a:pt x="380" y="251"/>
                  </a:lnTo>
                  <a:lnTo>
                    <a:pt x="383" y="254"/>
                  </a:lnTo>
                  <a:lnTo>
                    <a:pt x="384" y="257"/>
                  </a:lnTo>
                  <a:lnTo>
                    <a:pt x="387" y="258"/>
                  </a:lnTo>
                  <a:lnTo>
                    <a:pt x="387" y="258"/>
                  </a:lnTo>
                  <a:lnTo>
                    <a:pt x="388" y="258"/>
                  </a:lnTo>
                  <a:lnTo>
                    <a:pt x="390" y="258"/>
                  </a:lnTo>
                  <a:lnTo>
                    <a:pt x="391" y="264"/>
                  </a:lnTo>
                  <a:lnTo>
                    <a:pt x="394" y="265"/>
                  </a:lnTo>
                  <a:lnTo>
                    <a:pt x="395" y="268"/>
                  </a:lnTo>
                  <a:lnTo>
                    <a:pt x="397" y="275"/>
                  </a:lnTo>
                  <a:lnTo>
                    <a:pt x="398" y="276"/>
                  </a:lnTo>
                  <a:lnTo>
                    <a:pt x="398" y="279"/>
                  </a:lnTo>
                  <a:lnTo>
                    <a:pt x="398" y="280"/>
                  </a:lnTo>
                  <a:lnTo>
                    <a:pt x="401" y="283"/>
                  </a:lnTo>
                  <a:lnTo>
                    <a:pt x="401" y="287"/>
                  </a:lnTo>
                  <a:lnTo>
                    <a:pt x="403" y="291"/>
                  </a:lnTo>
                  <a:lnTo>
                    <a:pt x="403" y="295"/>
                  </a:lnTo>
                  <a:lnTo>
                    <a:pt x="405" y="298"/>
                  </a:lnTo>
                  <a:lnTo>
                    <a:pt x="406" y="299"/>
                  </a:lnTo>
                  <a:lnTo>
                    <a:pt x="405" y="300"/>
                  </a:lnTo>
                  <a:lnTo>
                    <a:pt x="406" y="302"/>
                  </a:lnTo>
                  <a:lnTo>
                    <a:pt x="408" y="307"/>
                  </a:lnTo>
                  <a:lnTo>
                    <a:pt x="413" y="313"/>
                  </a:lnTo>
                  <a:lnTo>
                    <a:pt x="416" y="314"/>
                  </a:lnTo>
                  <a:lnTo>
                    <a:pt x="418" y="317"/>
                  </a:lnTo>
                  <a:lnTo>
                    <a:pt x="420" y="317"/>
                  </a:lnTo>
                  <a:lnTo>
                    <a:pt x="422" y="319"/>
                  </a:lnTo>
                  <a:lnTo>
                    <a:pt x="422" y="322"/>
                  </a:lnTo>
                  <a:lnTo>
                    <a:pt x="422" y="321"/>
                  </a:lnTo>
                  <a:lnTo>
                    <a:pt x="421" y="324"/>
                  </a:lnTo>
                  <a:lnTo>
                    <a:pt x="421" y="328"/>
                  </a:lnTo>
                  <a:lnTo>
                    <a:pt x="422" y="332"/>
                  </a:lnTo>
                  <a:lnTo>
                    <a:pt x="425" y="334"/>
                  </a:lnTo>
                  <a:lnTo>
                    <a:pt x="425" y="337"/>
                  </a:lnTo>
                  <a:lnTo>
                    <a:pt x="424" y="340"/>
                  </a:lnTo>
                  <a:lnTo>
                    <a:pt x="424" y="341"/>
                  </a:lnTo>
                  <a:lnTo>
                    <a:pt x="422" y="343"/>
                  </a:lnTo>
                  <a:lnTo>
                    <a:pt x="422" y="344"/>
                  </a:lnTo>
                  <a:lnTo>
                    <a:pt x="422" y="349"/>
                  </a:lnTo>
                  <a:lnTo>
                    <a:pt x="420" y="351"/>
                  </a:lnTo>
                  <a:lnTo>
                    <a:pt x="421" y="352"/>
                  </a:lnTo>
                  <a:lnTo>
                    <a:pt x="422" y="351"/>
                  </a:lnTo>
                  <a:lnTo>
                    <a:pt x="422" y="352"/>
                  </a:lnTo>
                  <a:lnTo>
                    <a:pt x="420" y="353"/>
                  </a:lnTo>
                  <a:lnTo>
                    <a:pt x="420" y="359"/>
                  </a:lnTo>
                  <a:lnTo>
                    <a:pt x="420" y="360"/>
                  </a:lnTo>
                  <a:lnTo>
                    <a:pt x="416" y="359"/>
                  </a:lnTo>
                  <a:lnTo>
                    <a:pt x="416" y="360"/>
                  </a:lnTo>
                  <a:lnTo>
                    <a:pt x="418" y="363"/>
                  </a:lnTo>
                  <a:lnTo>
                    <a:pt x="418" y="364"/>
                  </a:lnTo>
                  <a:lnTo>
                    <a:pt x="416" y="366"/>
                  </a:lnTo>
                  <a:lnTo>
                    <a:pt x="414" y="368"/>
                  </a:lnTo>
                  <a:lnTo>
                    <a:pt x="410" y="368"/>
                  </a:lnTo>
                  <a:lnTo>
                    <a:pt x="408" y="367"/>
                  </a:lnTo>
                  <a:lnTo>
                    <a:pt x="412" y="364"/>
                  </a:lnTo>
                  <a:lnTo>
                    <a:pt x="412" y="363"/>
                  </a:lnTo>
                  <a:lnTo>
                    <a:pt x="409" y="363"/>
                  </a:lnTo>
                  <a:lnTo>
                    <a:pt x="409" y="364"/>
                  </a:lnTo>
                  <a:lnTo>
                    <a:pt x="408" y="364"/>
                  </a:lnTo>
                  <a:lnTo>
                    <a:pt x="402" y="362"/>
                  </a:lnTo>
                  <a:lnTo>
                    <a:pt x="401" y="363"/>
                  </a:lnTo>
                  <a:lnTo>
                    <a:pt x="394" y="364"/>
                  </a:lnTo>
                  <a:lnTo>
                    <a:pt x="390" y="364"/>
                  </a:lnTo>
                  <a:lnTo>
                    <a:pt x="388" y="367"/>
                  </a:lnTo>
                  <a:lnTo>
                    <a:pt x="390" y="368"/>
                  </a:lnTo>
                  <a:lnTo>
                    <a:pt x="391" y="368"/>
                  </a:lnTo>
                  <a:lnTo>
                    <a:pt x="393" y="367"/>
                  </a:lnTo>
                  <a:lnTo>
                    <a:pt x="397" y="366"/>
                  </a:lnTo>
                  <a:lnTo>
                    <a:pt x="397" y="368"/>
                  </a:lnTo>
                  <a:lnTo>
                    <a:pt x="401" y="371"/>
                  </a:lnTo>
                  <a:lnTo>
                    <a:pt x="409" y="372"/>
                  </a:lnTo>
                  <a:lnTo>
                    <a:pt x="413" y="374"/>
                  </a:lnTo>
                  <a:lnTo>
                    <a:pt x="417" y="372"/>
                  </a:lnTo>
                  <a:lnTo>
                    <a:pt x="421" y="372"/>
                  </a:lnTo>
                  <a:lnTo>
                    <a:pt x="421" y="374"/>
                  </a:lnTo>
                  <a:lnTo>
                    <a:pt x="427" y="375"/>
                  </a:lnTo>
                  <a:lnTo>
                    <a:pt x="429" y="372"/>
                  </a:lnTo>
                  <a:lnTo>
                    <a:pt x="429" y="371"/>
                  </a:lnTo>
                  <a:lnTo>
                    <a:pt x="428" y="368"/>
                  </a:lnTo>
                  <a:lnTo>
                    <a:pt x="428" y="366"/>
                  </a:lnTo>
                  <a:lnTo>
                    <a:pt x="429" y="364"/>
                  </a:lnTo>
                  <a:lnTo>
                    <a:pt x="432" y="363"/>
                  </a:lnTo>
                  <a:lnTo>
                    <a:pt x="432" y="362"/>
                  </a:lnTo>
                  <a:lnTo>
                    <a:pt x="436" y="358"/>
                  </a:lnTo>
                  <a:lnTo>
                    <a:pt x="436" y="356"/>
                  </a:lnTo>
                  <a:lnTo>
                    <a:pt x="437" y="351"/>
                  </a:lnTo>
                  <a:lnTo>
                    <a:pt x="436" y="347"/>
                  </a:lnTo>
                  <a:lnTo>
                    <a:pt x="436" y="343"/>
                  </a:lnTo>
                  <a:lnTo>
                    <a:pt x="440" y="337"/>
                  </a:lnTo>
                  <a:lnTo>
                    <a:pt x="440" y="334"/>
                  </a:lnTo>
                  <a:lnTo>
                    <a:pt x="437" y="326"/>
                  </a:lnTo>
                  <a:lnTo>
                    <a:pt x="432" y="324"/>
                  </a:lnTo>
                  <a:lnTo>
                    <a:pt x="431" y="321"/>
                  </a:lnTo>
                  <a:lnTo>
                    <a:pt x="431" y="314"/>
                  </a:lnTo>
                  <a:lnTo>
                    <a:pt x="433" y="311"/>
                  </a:lnTo>
                  <a:lnTo>
                    <a:pt x="436" y="309"/>
                  </a:lnTo>
                  <a:lnTo>
                    <a:pt x="439" y="309"/>
                  </a:lnTo>
                  <a:lnTo>
                    <a:pt x="443" y="303"/>
                  </a:lnTo>
                  <a:lnTo>
                    <a:pt x="447" y="303"/>
                  </a:lnTo>
                  <a:lnTo>
                    <a:pt x="451" y="307"/>
                  </a:lnTo>
                  <a:lnTo>
                    <a:pt x="451" y="310"/>
                  </a:lnTo>
                  <a:lnTo>
                    <a:pt x="454" y="313"/>
                  </a:lnTo>
                  <a:lnTo>
                    <a:pt x="455" y="314"/>
                  </a:lnTo>
                  <a:lnTo>
                    <a:pt x="456" y="314"/>
                  </a:lnTo>
                  <a:lnTo>
                    <a:pt x="459" y="318"/>
                  </a:lnTo>
                  <a:lnTo>
                    <a:pt x="459" y="321"/>
                  </a:lnTo>
                  <a:lnTo>
                    <a:pt x="461" y="322"/>
                  </a:lnTo>
                  <a:lnTo>
                    <a:pt x="462" y="325"/>
                  </a:lnTo>
                  <a:lnTo>
                    <a:pt x="463" y="328"/>
                  </a:lnTo>
                  <a:lnTo>
                    <a:pt x="465" y="330"/>
                  </a:lnTo>
                  <a:lnTo>
                    <a:pt x="463" y="330"/>
                  </a:lnTo>
                  <a:lnTo>
                    <a:pt x="465" y="333"/>
                  </a:lnTo>
                  <a:lnTo>
                    <a:pt x="467" y="334"/>
                  </a:lnTo>
                  <a:lnTo>
                    <a:pt x="470" y="336"/>
                  </a:lnTo>
                  <a:lnTo>
                    <a:pt x="474" y="336"/>
                  </a:lnTo>
                  <a:lnTo>
                    <a:pt x="475" y="334"/>
                  </a:lnTo>
                  <a:lnTo>
                    <a:pt x="480" y="334"/>
                  </a:lnTo>
                  <a:lnTo>
                    <a:pt x="480" y="333"/>
                  </a:lnTo>
                  <a:lnTo>
                    <a:pt x="481" y="332"/>
                  </a:lnTo>
                  <a:lnTo>
                    <a:pt x="480" y="332"/>
                  </a:lnTo>
                  <a:lnTo>
                    <a:pt x="478" y="332"/>
                  </a:lnTo>
                  <a:lnTo>
                    <a:pt x="477" y="330"/>
                  </a:lnTo>
                  <a:lnTo>
                    <a:pt x="475" y="333"/>
                  </a:lnTo>
                  <a:lnTo>
                    <a:pt x="471" y="333"/>
                  </a:lnTo>
                  <a:lnTo>
                    <a:pt x="470" y="332"/>
                  </a:lnTo>
                  <a:lnTo>
                    <a:pt x="467" y="332"/>
                  </a:lnTo>
                  <a:lnTo>
                    <a:pt x="466" y="329"/>
                  </a:lnTo>
                  <a:lnTo>
                    <a:pt x="467" y="328"/>
                  </a:lnTo>
                  <a:lnTo>
                    <a:pt x="466" y="326"/>
                  </a:lnTo>
                  <a:lnTo>
                    <a:pt x="463" y="324"/>
                  </a:lnTo>
                  <a:lnTo>
                    <a:pt x="465" y="319"/>
                  </a:lnTo>
                  <a:lnTo>
                    <a:pt x="466" y="318"/>
                  </a:lnTo>
                  <a:lnTo>
                    <a:pt x="469" y="317"/>
                  </a:lnTo>
                  <a:lnTo>
                    <a:pt x="466" y="315"/>
                  </a:lnTo>
                  <a:lnTo>
                    <a:pt x="466" y="314"/>
                  </a:lnTo>
                  <a:lnTo>
                    <a:pt x="465" y="314"/>
                  </a:lnTo>
                  <a:lnTo>
                    <a:pt x="465" y="311"/>
                  </a:lnTo>
                  <a:lnTo>
                    <a:pt x="461" y="310"/>
                  </a:lnTo>
                  <a:lnTo>
                    <a:pt x="461" y="307"/>
                  </a:lnTo>
                  <a:lnTo>
                    <a:pt x="458" y="304"/>
                  </a:lnTo>
                  <a:lnTo>
                    <a:pt x="454" y="304"/>
                  </a:lnTo>
                  <a:lnTo>
                    <a:pt x="448" y="302"/>
                  </a:lnTo>
                  <a:lnTo>
                    <a:pt x="447" y="299"/>
                  </a:lnTo>
                  <a:lnTo>
                    <a:pt x="444" y="300"/>
                  </a:lnTo>
                  <a:lnTo>
                    <a:pt x="440" y="298"/>
                  </a:lnTo>
                  <a:lnTo>
                    <a:pt x="439" y="298"/>
                  </a:lnTo>
                  <a:lnTo>
                    <a:pt x="436" y="298"/>
                  </a:lnTo>
                  <a:lnTo>
                    <a:pt x="432" y="300"/>
                  </a:lnTo>
                  <a:lnTo>
                    <a:pt x="432" y="303"/>
                  </a:lnTo>
                  <a:lnTo>
                    <a:pt x="431" y="304"/>
                  </a:lnTo>
                  <a:lnTo>
                    <a:pt x="427" y="303"/>
                  </a:lnTo>
                  <a:lnTo>
                    <a:pt x="422" y="306"/>
                  </a:lnTo>
                  <a:lnTo>
                    <a:pt x="420" y="304"/>
                  </a:lnTo>
                  <a:lnTo>
                    <a:pt x="418" y="303"/>
                  </a:lnTo>
                  <a:lnTo>
                    <a:pt x="418" y="300"/>
                  </a:lnTo>
                  <a:lnTo>
                    <a:pt x="418" y="298"/>
                  </a:lnTo>
                  <a:lnTo>
                    <a:pt x="413" y="294"/>
                  </a:lnTo>
                  <a:lnTo>
                    <a:pt x="412" y="291"/>
                  </a:lnTo>
                  <a:lnTo>
                    <a:pt x="413" y="285"/>
                  </a:lnTo>
                  <a:lnTo>
                    <a:pt x="410" y="281"/>
                  </a:lnTo>
                  <a:lnTo>
                    <a:pt x="410" y="277"/>
                  </a:lnTo>
                  <a:lnTo>
                    <a:pt x="412" y="271"/>
                  </a:lnTo>
                  <a:lnTo>
                    <a:pt x="409" y="265"/>
                  </a:lnTo>
                  <a:lnTo>
                    <a:pt x="406" y="262"/>
                  </a:lnTo>
                  <a:lnTo>
                    <a:pt x="403" y="262"/>
                  </a:lnTo>
                  <a:lnTo>
                    <a:pt x="402" y="260"/>
                  </a:lnTo>
                  <a:lnTo>
                    <a:pt x="397" y="256"/>
                  </a:lnTo>
                  <a:lnTo>
                    <a:pt x="393" y="253"/>
                  </a:lnTo>
                  <a:lnTo>
                    <a:pt x="393" y="250"/>
                  </a:lnTo>
                  <a:lnTo>
                    <a:pt x="394" y="245"/>
                  </a:lnTo>
                  <a:lnTo>
                    <a:pt x="394" y="242"/>
                  </a:lnTo>
                  <a:lnTo>
                    <a:pt x="391" y="239"/>
                  </a:lnTo>
                  <a:lnTo>
                    <a:pt x="391" y="238"/>
                  </a:lnTo>
                  <a:lnTo>
                    <a:pt x="394" y="237"/>
                  </a:lnTo>
                  <a:lnTo>
                    <a:pt x="398" y="231"/>
                  </a:lnTo>
                  <a:lnTo>
                    <a:pt x="399" y="226"/>
                  </a:lnTo>
                  <a:lnTo>
                    <a:pt x="398" y="220"/>
                  </a:lnTo>
                  <a:lnTo>
                    <a:pt x="393" y="211"/>
                  </a:lnTo>
                  <a:lnTo>
                    <a:pt x="394" y="209"/>
                  </a:lnTo>
                  <a:lnTo>
                    <a:pt x="398" y="212"/>
                  </a:lnTo>
                  <a:lnTo>
                    <a:pt x="398" y="215"/>
                  </a:lnTo>
                  <a:lnTo>
                    <a:pt x="399" y="216"/>
                  </a:lnTo>
                  <a:lnTo>
                    <a:pt x="401" y="216"/>
                  </a:lnTo>
                  <a:lnTo>
                    <a:pt x="401" y="220"/>
                  </a:lnTo>
                  <a:lnTo>
                    <a:pt x="403" y="223"/>
                  </a:lnTo>
                  <a:lnTo>
                    <a:pt x="403" y="228"/>
                  </a:lnTo>
                  <a:lnTo>
                    <a:pt x="405" y="231"/>
                  </a:lnTo>
                  <a:lnTo>
                    <a:pt x="405" y="234"/>
                  </a:lnTo>
                  <a:lnTo>
                    <a:pt x="406" y="237"/>
                  </a:lnTo>
                  <a:lnTo>
                    <a:pt x="409" y="239"/>
                  </a:lnTo>
                  <a:lnTo>
                    <a:pt x="409" y="242"/>
                  </a:lnTo>
                  <a:lnTo>
                    <a:pt x="412" y="243"/>
                  </a:lnTo>
                  <a:lnTo>
                    <a:pt x="412" y="245"/>
                  </a:lnTo>
                  <a:lnTo>
                    <a:pt x="409" y="246"/>
                  </a:lnTo>
                  <a:lnTo>
                    <a:pt x="410" y="249"/>
                  </a:lnTo>
                  <a:lnTo>
                    <a:pt x="413" y="247"/>
                  </a:lnTo>
                  <a:lnTo>
                    <a:pt x="416" y="250"/>
                  </a:lnTo>
                  <a:lnTo>
                    <a:pt x="420" y="250"/>
                  </a:lnTo>
                  <a:lnTo>
                    <a:pt x="422" y="249"/>
                  </a:lnTo>
                  <a:lnTo>
                    <a:pt x="425" y="250"/>
                  </a:lnTo>
                  <a:lnTo>
                    <a:pt x="425" y="253"/>
                  </a:lnTo>
                  <a:lnTo>
                    <a:pt x="428" y="250"/>
                  </a:lnTo>
                  <a:lnTo>
                    <a:pt x="431" y="250"/>
                  </a:lnTo>
                  <a:lnTo>
                    <a:pt x="432" y="249"/>
                  </a:lnTo>
                  <a:lnTo>
                    <a:pt x="435" y="249"/>
                  </a:lnTo>
                  <a:lnTo>
                    <a:pt x="437" y="253"/>
                  </a:lnTo>
                  <a:lnTo>
                    <a:pt x="440" y="253"/>
                  </a:lnTo>
                  <a:lnTo>
                    <a:pt x="443" y="254"/>
                  </a:lnTo>
                  <a:lnTo>
                    <a:pt x="448" y="254"/>
                  </a:lnTo>
                  <a:lnTo>
                    <a:pt x="450" y="251"/>
                  </a:lnTo>
                  <a:lnTo>
                    <a:pt x="447" y="253"/>
                  </a:lnTo>
                  <a:lnTo>
                    <a:pt x="443" y="253"/>
                  </a:lnTo>
                  <a:lnTo>
                    <a:pt x="443" y="250"/>
                  </a:lnTo>
                  <a:lnTo>
                    <a:pt x="440" y="250"/>
                  </a:lnTo>
                  <a:lnTo>
                    <a:pt x="439" y="246"/>
                  </a:lnTo>
                  <a:lnTo>
                    <a:pt x="436" y="246"/>
                  </a:lnTo>
                  <a:lnTo>
                    <a:pt x="435" y="245"/>
                  </a:lnTo>
                  <a:lnTo>
                    <a:pt x="433" y="245"/>
                  </a:lnTo>
                  <a:lnTo>
                    <a:pt x="432" y="246"/>
                  </a:lnTo>
                  <a:lnTo>
                    <a:pt x="427" y="245"/>
                  </a:lnTo>
                  <a:lnTo>
                    <a:pt x="424" y="243"/>
                  </a:lnTo>
                  <a:lnTo>
                    <a:pt x="421" y="243"/>
                  </a:lnTo>
                  <a:lnTo>
                    <a:pt x="417" y="239"/>
                  </a:lnTo>
                  <a:lnTo>
                    <a:pt x="416" y="237"/>
                  </a:lnTo>
                  <a:lnTo>
                    <a:pt x="414" y="237"/>
                  </a:lnTo>
                  <a:lnTo>
                    <a:pt x="410" y="231"/>
                  </a:lnTo>
                  <a:lnTo>
                    <a:pt x="413" y="231"/>
                  </a:lnTo>
                  <a:lnTo>
                    <a:pt x="413" y="230"/>
                  </a:lnTo>
                  <a:lnTo>
                    <a:pt x="417" y="227"/>
                  </a:lnTo>
                  <a:lnTo>
                    <a:pt x="418" y="227"/>
                  </a:lnTo>
                  <a:lnTo>
                    <a:pt x="421" y="231"/>
                  </a:lnTo>
                  <a:lnTo>
                    <a:pt x="427" y="232"/>
                  </a:lnTo>
                  <a:lnTo>
                    <a:pt x="431" y="232"/>
                  </a:lnTo>
                  <a:lnTo>
                    <a:pt x="433" y="227"/>
                  </a:lnTo>
                  <a:lnTo>
                    <a:pt x="431" y="223"/>
                  </a:lnTo>
                  <a:lnTo>
                    <a:pt x="427" y="222"/>
                  </a:lnTo>
                  <a:lnTo>
                    <a:pt x="422" y="224"/>
                  </a:lnTo>
                  <a:lnTo>
                    <a:pt x="421" y="223"/>
                  </a:lnTo>
                  <a:lnTo>
                    <a:pt x="421" y="222"/>
                  </a:lnTo>
                  <a:lnTo>
                    <a:pt x="422" y="223"/>
                  </a:lnTo>
                  <a:lnTo>
                    <a:pt x="424" y="222"/>
                  </a:lnTo>
                  <a:lnTo>
                    <a:pt x="424" y="219"/>
                  </a:lnTo>
                  <a:lnTo>
                    <a:pt x="427" y="215"/>
                  </a:lnTo>
                  <a:lnTo>
                    <a:pt x="429" y="213"/>
                  </a:lnTo>
                  <a:lnTo>
                    <a:pt x="432" y="213"/>
                  </a:lnTo>
                  <a:lnTo>
                    <a:pt x="440" y="213"/>
                  </a:lnTo>
                  <a:lnTo>
                    <a:pt x="443" y="216"/>
                  </a:lnTo>
                  <a:lnTo>
                    <a:pt x="446" y="219"/>
                  </a:lnTo>
                  <a:lnTo>
                    <a:pt x="452" y="219"/>
                  </a:lnTo>
                  <a:lnTo>
                    <a:pt x="454" y="222"/>
                  </a:lnTo>
                  <a:lnTo>
                    <a:pt x="456" y="223"/>
                  </a:lnTo>
                  <a:lnTo>
                    <a:pt x="461" y="228"/>
                  </a:lnTo>
                  <a:lnTo>
                    <a:pt x="465" y="228"/>
                  </a:lnTo>
                  <a:lnTo>
                    <a:pt x="470" y="227"/>
                  </a:lnTo>
                  <a:lnTo>
                    <a:pt x="475" y="224"/>
                  </a:lnTo>
                  <a:lnTo>
                    <a:pt x="477" y="226"/>
                  </a:lnTo>
                  <a:lnTo>
                    <a:pt x="478" y="226"/>
                  </a:lnTo>
                  <a:lnTo>
                    <a:pt x="481" y="226"/>
                  </a:lnTo>
                  <a:lnTo>
                    <a:pt x="481" y="230"/>
                  </a:lnTo>
                  <a:lnTo>
                    <a:pt x="481" y="232"/>
                  </a:lnTo>
                  <a:lnTo>
                    <a:pt x="481" y="234"/>
                  </a:lnTo>
                  <a:lnTo>
                    <a:pt x="477" y="237"/>
                  </a:lnTo>
                  <a:lnTo>
                    <a:pt x="477" y="239"/>
                  </a:lnTo>
                  <a:lnTo>
                    <a:pt x="478" y="242"/>
                  </a:lnTo>
                  <a:lnTo>
                    <a:pt x="478" y="246"/>
                  </a:lnTo>
                  <a:lnTo>
                    <a:pt x="482" y="249"/>
                  </a:lnTo>
                  <a:lnTo>
                    <a:pt x="482" y="251"/>
                  </a:lnTo>
                  <a:lnTo>
                    <a:pt x="481" y="254"/>
                  </a:lnTo>
                  <a:lnTo>
                    <a:pt x="482" y="261"/>
                  </a:lnTo>
                  <a:lnTo>
                    <a:pt x="484" y="261"/>
                  </a:lnTo>
                  <a:lnTo>
                    <a:pt x="485" y="258"/>
                  </a:lnTo>
                  <a:lnTo>
                    <a:pt x="484" y="257"/>
                  </a:lnTo>
                  <a:lnTo>
                    <a:pt x="485" y="256"/>
                  </a:lnTo>
                  <a:lnTo>
                    <a:pt x="485" y="253"/>
                  </a:lnTo>
                  <a:lnTo>
                    <a:pt x="486" y="251"/>
                  </a:lnTo>
                  <a:lnTo>
                    <a:pt x="488" y="247"/>
                  </a:lnTo>
                  <a:lnTo>
                    <a:pt x="490" y="249"/>
                  </a:lnTo>
                  <a:lnTo>
                    <a:pt x="492" y="253"/>
                  </a:lnTo>
                  <a:lnTo>
                    <a:pt x="492" y="258"/>
                  </a:lnTo>
                  <a:lnTo>
                    <a:pt x="492" y="261"/>
                  </a:lnTo>
                  <a:lnTo>
                    <a:pt x="490" y="261"/>
                  </a:lnTo>
                  <a:lnTo>
                    <a:pt x="490" y="264"/>
                  </a:lnTo>
                  <a:lnTo>
                    <a:pt x="489" y="265"/>
                  </a:lnTo>
                  <a:lnTo>
                    <a:pt x="493" y="268"/>
                  </a:lnTo>
                  <a:lnTo>
                    <a:pt x="497" y="268"/>
                  </a:lnTo>
                  <a:lnTo>
                    <a:pt x="501" y="269"/>
                  </a:lnTo>
                  <a:lnTo>
                    <a:pt x="503" y="272"/>
                  </a:lnTo>
                  <a:lnTo>
                    <a:pt x="503" y="275"/>
                  </a:lnTo>
                  <a:lnTo>
                    <a:pt x="505" y="276"/>
                  </a:lnTo>
                  <a:lnTo>
                    <a:pt x="511" y="276"/>
                  </a:lnTo>
                  <a:lnTo>
                    <a:pt x="515" y="281"/>
                  </a:lnTo>
                  <a:lnTo>
                    <a:pt x="515" y="280"/>
                  </a:lnTo>
                  <a:lnTo>
                    <a:pt x="515" y="276"/>
                  </a:lnTo>
                  <a:lnTo>
                    <a:pt x="519" y="272"/>
                  </a:lnTo>
                  <a:lnTo>
                    <a:pt x="520" y="272"/>
                  </a:lnTo>
                  <a:lnTo>
                    <a:pt x="526" y="276"/>
                  </a:lnTo>
                  <a:lnTo>
                    <a:pt x="530" y="276"/>
                  </a:lnTo>
                  <a:lnTo>
                    <a:pt x="531" y="279"/>
                  </a:lnTo>
                  <a:lnTo>
                    <a:pt x="533" y="283"/>
                  </a:lnTo>
                  <a:lnTo>
                    <a:pt x="533" y="279"/>
                  </a:lnTo>
                  <a:lnTo>
                    <a:pt x="531" y="276"/>
                  </a:lnTo>
                  <a:lnTo>
                    <a:pt x="529" y="275"/>
                  </a:lnTo>
                  <a:lnTo>
                    <a:pt x="526" y="275"/>
                  </a:lnTo>
                  <a:lnTo>
                    <a:pt x="520" y="271"/>
                  </a:lnTo>
                  <a:lnTo>
                    <a:pt x="518" y="272"/>
                  </a:lnTo>
                  <a:lnTo>
                    <a:pt x="514" y="275"/>
                  </a:lnTo>
                  <a:lnTo>
                    <a:pt x="511" y="275"/>
                  </a:lnTo>
                  <a:lnTo>
                    <a:pt x="511" y="275"/>
                  </a:lnTo>
                  <a:lnTo>
                    <a:pt x="507" y="273"/>
                  </a:lnTo>
                  <a:lnTo>
                    <a:pt x="503" y="268"/>
                  </a:lnTo>
                  <a:lnTo>
                    <a:pt x="500" y="266"/>
                  </a:lnTo>
                  <a:lnTo>
                    <a:pt x="496" y="266"/>
                  </a:lnTo>
                  <a:lnTo>
                    <a:pt x="495" y="262"/>
                  </a:lnTo>
                  <a:lnTo>
                    <a:pt x="496" y="264"/>
                  </a:lnTo>
                  <a:lnTo>
                    <a:pt x="497" y="264"/>
                  </a:lnTo>
                  <a:lnTo>
                    <a:pt x="500" y="258"/>
                  </a:lnTo>
                  <a:lnTo>
                    <a:pt x="499" y="256"/>
                  </a:lnTo>
                  <a:lnTo>
                    <a:pt x="496" y="253"/>
                  </a:lnTo>
                  <a:lnTo>
                    <a:pt x="495" y="247"/>
                  </a:lnTo>
                  <a:lnTo>
                    <a:pt x="490" y="242"/>
                  </a:lnTo>
                  <a:lnTo>
                    <a:pt x="489" y="241"/>
                  </a:lnTo>
                  <a:lnTo>
                    <a:pt x="486" y="238"/>
                  </a:lnTo>
                  <a:lnTo>
                    <a:pt x="486" y="235"/>
                  </a:lnTo>
                  <a:lnTo>
                    <a:pt x="486" y="232"/>
                  </a:lnTo>
                  <a:lnTo>
                    <a:pt x="485" y="226"/>
                  </a:lnTo>
                  <a:lnTo>
                    <a:pt x="482" y="223"/>
                  </a:lnTo>
                  <a:lnTo>
                    <a:pt x="481" y="223"/>
                  </a:lnTo>
                  <a:lnTo>
                    <a:pt x="477" y="220"/>
                  </a:lnTo>
                  <a:lnTo>
                    <a:pt x="471" y="220"/>
                  </a:lnTo>
                  <a:lnTo>
                    <a:pt x="469" y="217"/>
                  </a:lnTo>
                  <a:lnTo>
                    <a:pt x="466" y="215"/>
                  </a:lnTo>
                  <a:lnTo>
                    <a:pt x="466" y="212"/>
                  </a:lnTo>
                  <a:lnTo>
                    <a:pt x="465" y="211"/>
                  </a:lnTo>
                  <a:lnTo>
                    <a:pt x="465" y="209"/>
                  </a:lnTo>
                  <a:lnTo>
                    <a:pt x="462" y="211"/>
                  </a:lnTo>
                  <a:lnTo>
                    <a:pt x="454" y="211"/>
                  </a:lnTo>
                  <a:lnTo>
                    <a:pt x="451" y="211"/>
                  </a:lnTo>
                  <a:lnTo>
                    <a:pt x="447" y="208"/>
                  </a:lnTo>
                  <a:lnTo>
                    <a:pt x="447" y="205"/>
                  </a:lnTo>
                  <a:lnTo>
                    <a:pt x="446" y="205"/>
                  </a:lnTo>
                  <a:lnTo>
                    <a:pt x="446" y="203"/>
                  </a:lnTo>
                  <a:lnTo>
                    <a:pt x="446" y="198"/>
                  </a:lnTo>
                  <a:lnTo>
                    <a:pt x="443" y="193"/>
                  </a:lnTo>
                  <a:lnTo>
                    <a:pt x="439" y="192"/>
                  </a:lnTo>
                  <a:lnTo>
                    <a:pt x="439" y="189"/>
                  </a:lnTo>
                  <a:lnTo>
                    <a:pt x="439" y="188"/>
                  </a:lnTo>
                  <a:lnTo>
                    <a:pt x="436" y="188"/>
                  </a:lnTo>
                  <a:lnTo>
                    <a:pt x="435" y="186"/>
                  </a:lnTo>
                  <a:lnTo>
                    <a:pt x="436" y="184"/>
                  </a:lnTo>
                  <a:lnTo>
                    <a:pt x="436" y="181"/>
                  </a:lnTo>
                  <a:lnTo>
                    <a:pt x="433" y="179"/>
                  </a:lnTo>
                  <a:lnTo>
                    <a:pt x="435" y="178"/>
                  </a:lnTo>
                  <a:lnTo>
                    <a:pt x="439" y="178"/>
                  </a:lnTo>
                  <a:lnTo>
                    <a:pt x="442" y="175"/>
                  </a:lnTo>
                  <a:lnTo>
                    <a:pt x="444" y="175"/>
                  </a:lnTo>
                  <a:lnTo>
                    <a:pt x="451" y="174"/>
                  </a:lnTo>
                  <a:lnTo>
                    <a:pt x="459" y="170"/>
                  </a:lnTo>
                  <a:lnTo>
                    <a:pt x="463" y="167"/>
                  </a:lnTo>
                  <a:lnTo>
                    <a:pt x="466" y="167"/>
                  </a:lnTo>
                  <a:lnTo>
                    <a:pt x="467" y="167"/>
                  </a:lnTo>
                  <a:lnTo>
                    <a:pt x="471" y="166"/>
                  </a:lnTo>
                  <a:lnTo>
                    <a:pt x="471" y="163"/>
                  </a:lnTo>
                  <a:lnTo>
                    <a:pt x="477" y="162"/>
                  </a:lnTo>
                  <a:lnTo>
                    <a:pt x="485" y="159"/>
                  </a:lnTo>
                  <a:lnTo>
                    <a:pt x="485" y="159"/>
                  </a:lnTo>
                  <a:lnTo>
                    <a:pt x="484" y="162"/>
                  </a:lnTo>
                  <a:lnTo>
                    <a:pt x="484" y="163"/>
                  </a:lnTo>
                  <a:lnTo>
                    <a:pt x="482" y="164"/>
                  </a:lnTo>
                  <a:lnTo>
                    <a:pt x="480" y="170"/>
                  </a:lnTo>
                  <a:lnTo>
                    <a:pt x="481" y="173"/>
                  </a:lnTo>
                  <a:lnTo>
                    <a:pt x="485" y="177"/>
                  </a:lnTo>
                  <a:lnTo>
                    <a:pt x="489" y="175"/>
                  </a:lnTo>
                  <a:lnTo>
                    <a:pt x="486" y="175"/>
                  </a:lnTo>
                  <a:lnTo>
                    <a:pt x="482" y="171"/>
                  </a:lnTo>
                  <a:lnTo>
                    <a:pt x="482" y="169"/>
                  </a:lnTo>
                  <a:lnTo>
                    <a:pt x="485" y="167"/>
                  </a:lnTo>
                  <a:lnTo>
                    <a:pt x="489" y="163"/>
                  </a:lnTo>
                  <a:lnTo>
                    <a:pt x="490" y="159"/>
                  </a:lnTo>
                  <a:lnTo>
                    <a:pt x="489" y="156"/>
                  </a:lnTo>
                  <a:lnTo>
                    <a:pt x="486" y="156"/>
                  </a:lnTo>
                  <a:lnTo>
                    <a:pt x="484" y="154"/>
                  </a:lnTo>
                  <a:lnTo>
                    <a:pt x="484" y="152"/>
                  </a:lnTo>
                  <a:lnTo>
                    <a:pt x="480" y="152"/>
                  </a:lnTo>
                  <a:lnTo>
                    <a:pt x="480" y="154"/>
                  </a:lnTo>
                  <a:lnTo>
                    <a:pt x="478" y="152"/>
                  </a:lnTo>
                  <a:lnTo>
                    <a:pt x="477" y="148"/>
                  </a:lnTo>
                  <a:lnTo>
                    <a:pt x="473" y="150"/>
                  </a:lnTo>
                  <a:lnTo>
                    <a:pt x="470" y="150"/>
                  </a:lnTo>
                  <a:lnTo>
                    <a:pt x="467" y="147"/>
                  </a:lnTo>
                  <a:lnTo>
                    <a:pt x="469" y="145"/>
                  </a:lnTo>
                  <a:lnTo>
                    <a:pt x="470" y="144"/>
                  </a:lnTo>
                  <a:lnTo>
                    <a:pt x="471" y="143"/>
                  </a:lnTo>
                  <a:lnTo>
                    <a:pt x="473" y="145"/>
                  </a:lnTo>
                  <a:lnTo>
                    <a:pt x="475" y="145"/>
                  </a:lnTo>
                  <a:lnTo>
                    <a:pt x="478" y="144"/>
                  </a:lnTo>
                  <a:lnTo>
                    <a:pt x="477" y="143"/>
                  </a:lnTo>
                  <a:lnTo>
                    <a:pt x="475" y="143"/>
                  </a:lnTo>
                  <a:lnTo>
                    <a:pt x="474" y="144"/>
                  </a:lnTo>
                  <a:lnTo>
                    <a:pt x="471" y="141"/>
                  </a:lnTo>
                  <a:lnTo>
                    <a:pt x="471" y="140"/>
                  </a:lnTo>
                  <a:lnTo>
                    <a:pt x="469" y="139"/>
                  </a:lnTo>
                  <a:lnTo>
                    <a:pt x="465" y="139"/>
                  </a:lnTo>
                  <a:lnTo>
                    <a:pt x="462" y="139"/>
                  </a:lnTo>
                  <a:lnTo>
                    <a:pt x="461" y="137"/>
                  </a:lnTo>
                  <a:lnTo>
                    <a:pt x="462" y="136"/>
                  </a:lnTo>
                  <a:lnTo>
                    <a:pt x="462" y="133"/>
                  </a:lnTo>
                  <a:lnTo>
                    <a:pt x="461" y="132"/>
                  </a:lnTo>
                  <a:lnTo>
                    <a:pt x="461" y="130"/>
                  </a:lnTo>
                  <a:lnTo>
                    <a:pt x="463" y="132"/>
                  </a:lnTo>
                  <a:lnTo>
                    <a:pt x="466" y="135"/>
                  </a:lnTo>
                  <a:lnTo>
                    <a:pt x="467" y="135"/>
                  </a:lnTo>
                  <a:lnTo>
                    <a:pt x="470" y="137"/>
                  </a:lnTo>
                  <a:lnTo>
                    <a:pt x="470" y="136"/>
                  </a:lnTo>
                  <a:lnTo>
                    <a:pt x="470" y="133"/>
                  </a:lnTo>
                  <a:lnTo>
                    <a:pt x="471" y="132"/>
                  </a:lnTo>
                  <a:lnTo>
                    <a:pt x="473" y="128"/>
                  </a:lnTo>
                  <a:lnTo>
                    <a:pt x="470" y="126"/>
                  </a:lnTo>
                  <a:lnTo>
                    <a:pt x="471" y="125"/>
                  </a:lnTo>
                  <a:lnTo>
                    <a:pt x="474" y="125"/>
                  </a:lnTo>
                  <a:lnTo>
                    <a:pt x="475" y="124"/>
                  </a:lnTo>
                  <a:lnTo>
                    <a:pt x="470" y="122"/>
                  </a:lnTo>
                  <a:lnTo>
                    <a:pt x="469" y="124"/>
                  </a:lnTo>
                  <a:lnTo>
                    <a:pt x="466" y="124"/>
                  </a:lnTo>
                  <a:lnTo>
                    <a:pt x="466" y="122"/>
                  </a:lnTo>
                  <a:lnTo>
                    <a:pt x="469" y="120"/>
                  </a:lnTo>
                  <a:lnTo>
                    <a:pt x="473" y="120"/>
                  </a:lnTo>
                  <a:lnTo>
                    <a:pt x="475" y="118"/>
                  </a:lnTo>
                  <a:lnTo>
                    <a:pt x="475" y="117"/>
                  </a:lnTo>
                  <a:lnTo>
                    <a:pt x="478" y="114"/>
                  </a:lnTo>
                  <a:lnTo>
                    <a:pt x="478" y="111"/>
                  </a:lnTo>
                  <a:lnTo>
                    <a:pt x="478" y="111"/>
                  </a:lnTo>
                  <a:lnTo>
                    <a:pt x="478" y="110"/>
                  </a:lnTo>
                  <a:lnTo>
                    <a:pt x="481" y="106"/>
                  </a:lnTo>
                  <a:lnTo>
                    <a:pt x="481" y="106"/>
                  </a:lnTo>
                  <a:lnTo>
                    <a:pt x="482" y="109"/>
                  </a:lnTo>
                  <a:lnTo>
                    <a:pt x="484" y="107"/>
                  </a:lnTo>
                  <a:lnTo>
                    <a:pt x="484" y="106"/>
                  </a:lnTo>
                  <a:lnTo>
                    <a:pt x="485" y="106"/>
                  </a:lnTo>
                  <a:lnTo>
                    <a:pt x="484" y="103"/>
                  </a:lnTo>
                  <a:lnTo>
                    <a:pt x="485" y="102"/>
                  </a:lnTo>
                  <a:lnTo>
                    <a:pt x="488" y="101"/>
                  </a:lnTo>
                  <a:lnTo>
                    <a:pt x="489" y="101"/>
                  </a:lnTo>
                  <a:lnTo>
                    <a:pt x="489" y="98"/>
                  </a:lnTo>
                  <a:lnTo>
                    <a:pt x="490" y="98"/>
                  </a:lnTo>
                  <a:lnTo>
                    <a:pt x="493" y="99"/>
                  </a:lnTo>
                  <a:lnTo>
                    <a:pt x="497" y="98"/>
                  </a:lnTo>
                  <a:lnTo>
                    <a:pt x="496" y="97"/>
                  </a:lnTo>
                  <a:lnTo>
                    <a:pt x="496" y="95"/>
                  </a:lnTo>
                  <a:lnTo>
                    <a:pt x="501" y="94"/>
                  </a:lnTo>
                  <a:lnTo>
                    <a:pt x="504" y="92"/>
                  </a:lnTo>
                  <a:lnTo>
                    <a:pt x="505" y="90"/>
                  </a:lnTo>
                  <a:lnTo>
                    <a:pt x="512" y="87"/>
                  </a:lnTo>
                  <a:lnTo>
                    <a:pt x="512" y="84"/>
                  </a:lnTo>
                  <a:lnTo>
                    <a:pt x="511" y="84"/>
                  </a:lnTo>
                  <a:lnTo>
                    <a:pt x="507" y="87"/>
                  </a:lnTo>
                  <a:lnTo>
                    <a:pt x="505" y="86"/>
                  </a:lnTo>
                  <a:lnTo>
                    <a:pt x="503" y="88"/>
                  </a:lnTo>
                  <a:lnTo>
                    <a:pt x="501" y="87"/>
                  </a:lnTo>
                  <a:lnTo>
                    <a:pt x="501" y="82"/>
                  </a:lnTo>
                  <a:lnTo>
                    <a:pt x="503" y="80"/>
                  </a:lnTo>
                  <a:lnTo>
                    <a:pt x="504" y="79"/>
                  </a:lnTo>
                  <a:lnTo>
                    <a:pt x="505" y="79"/>
                  </a:lnTo>
                  <a:lnTo>
                    <a:pt x="505" y="80"/>
                  </a:lnTo>
                  <a:lnTo>
                    <a:pt x="507" y="80"/>
                  </a:lnTo>
                  <a:lnTo>
                    <a:pt x="508" y="79"/>
                  </a:lnTo>
                  <a:lnTo>
                    <a:pt x="505" y="76"/>
                  </a:lnTo>
                  <a:lnTo>
                    <a:pt x="508" y="76"/>
                  </a:lnTo>
                  <a:lnTo>
                    <a:pt x="511" y="77"/>
                  </a:lnTo>
                  <a:lnTo>
                    <a:pt x="512" y="77"/>
                  </a:lnTo>
                  <a:lnTo>
                    <a:pt x="516" y="75"/>
                  </a:lnTo>
                  <a:lnTo>
                    <a:pt x="518" y="76"/>
                  </a:lnTo>
                  <a:lnTo>
                    <a:pt x="524" y="73"/>
                  </a:lnTo>
                  <a:lnTo>
                    <a:pt x="527" y="75"/>
                  </a:lnTo>
                  <a:lnTo>
                    <a:pt x="529" y="76"/>
                  </a:lnTo>
                  <a:lnTo>
                    <a:pt x="526" y="82"/>
                  </a:lnTo>
                  <a:lnTo>
                    <a:pt x="526" y="83"/>
                  </a:lnTo>
                  <a:lnTo>
                    <a:pt x="529" y="84"/>
                  </a:lnTo>
                  <a:lnTo>
                    <a:pt x="529" y="82"/>
                  </a:lnTo>
                  <a:lnTo>
                    <a:pt x="531" y="77"/>
                  </a:lnTo>
                  <a:lnTo>
                    <a:pt x="530" y="76"/>
                  </a:lnTo>
                  <a:lnTo>
                    <a:pt x="531" y="75"/>
                  </a:lnTo>
                  <a:lnTo>
                    <a:pt x="533" y="77"/>
                  </a:lnTo>
                  <a:lnTo>
                    <a:pt x="533" y="80"/>
                  </a:lnTo>
                  <a:lnTo>
                    <a:pt x="535" y="80"/>
                  </a:lnTo>
                  <a:lnTo>
                    <a:pt x="537" y="77"/>
                  </a:lnTo>
                  <a:lnTo>
                    <a:pt x="535" y="76"/>
                  </a:lnTo>
                  <a:lnTo>
                    <a:pt x="537" y="75"/>
                  </a:lnTo>
                  <a:lnTo>
                    <a:pt x="538" y="75"/>
                  </a:lnTo>
                  <a:lnTo>
                    <a:pt x="538" y="77"/>
                  </a:lnTo>
                  <a:lnTo>
                    <a:pt x="542" y="75"/>
                  </a:lnTo>
                  <a:lnTo>
                    <a:pt x="542" y="73"/>
                  </a:lnTo>
                  <a:lnTo>
                    <a:pt x="541" y="71"/>
                  </a:lnTo>
                  <a:lnTo>
                    <a:pt x="543" y="71"/>
                  </a:lnTo>
                  <a:lnTo>
                    <a:pt x="545" y="69"/>
                  </a:lnTo>
                  <a:lnTo>
                    <a:pt x="542" y="69"/>
                  </a:lnTo>
                  <a:lnTo>
                    <a:pt x="545" y="67"/>
                  </a:lnTo>
                  <a:lnTo>
                    <a:pt x="548" y="67"/>
                  </a:lnTo>
                  <a:lnTo>
                    <a:pt x="550" y="65"/>
                  </a:lnTo>
                  <a:lnTo>
                    <a:pt x="552" y="65"/>
                  </a:lnTo>
                  <a:lnTo>
                    <a:pt x="552" y="67"/>
                  </a:lnTo>
                  <a:lnTo>
                    <a:pt x="552" y="68"/>
                  </a:lnTo>
                  <a:lnTo>
                    <a:pt x="556" y="68"/>
                  </a:lnTo>
                  <a:lnTo>
                    <a:pt x="556" y="71"/>
                  </a:lnTo>
                  <a:lnTo>
                    <a:pt x="557" y="72"/>
                  </a:lnTo>
                  <a:lnTo>
                    <a:pt x="556" y="77"/>
                  </a:lnTo>
                  <a:lnTo>
                    <a:pt x="558" y="76"/>
                  </a:lnTo>
                  <a:lnTo>
                    <a:pt x="561" y="71"/>
                  </a:lnTo>
                  <a:lnTo>
                    <a:pt x="558" y="67"/>
                  </a:lnTo>
                  <a:lnTo>
                    <a:pt x="556" y="65"/>
                  </a:lnTo>
                  <a:lnTo>
                    <a:pt x="553" y="61"/>
                  </a:lnTo>
                  <a:lnTo>
                    <a:pt x="550" y="63"/>
                  </a:lnTo>
                  <a:lnTo>
                    <a:pt x="549" y="63"/>
                  </a:lnTo>
                  <a:lnTo>
                    <a:pt x="546" y="63"/>
                  </a:lnTo>
                  <a:lnTo>
                    <a:pt x="546" y="61"/>
                  </a:lnTo>
                  <a:lnTo>
                    <a:pt x="543" y="60"/>
                  </a:lnTo>
                  <a:lnTo>
                    <a:pt x="543" y="58"/>
                  </a:lnTo>
                  <a:lnTo>
                    <a:pt x="545" y="57"/>
                  </a:lnTo>
                  <a:lnTo>
                    <a:pt x="549" y="57"/>
                  </a:lnTo>
                  <a:lnTo>
                    <a:pt x="552" y="56"/>
                  </a:lnTo>
                  <a:lnTo>
                    <a:pt x="553" y="56"/>
                  </a:lnTo>
                  <a:lnTo>
                    <a:pt x="556" y="56"/>
                  </a:lnTo>
                  <a:lnTo>
                    <a:pt x="557" y="54"/>
                  </a:lnTo>
                  <a:lnTo>
                    <a:pt x="560" y="56"/>
                  </a:lnTo>
                  <a:lnTo>
                    <a:pt x="565" y="54"/>
                  </a:lnTo>
                  <a:lnTo>
                    <a:pt x="568" y="56"/>
                  </a:lnTo>
                  <a:lnTo>
                    <a:pt x="569" y="54"/>
                  </a:lnTo>
                  <a:lnTo>
                    <a:pt x="571" y="56"/>
                  </a:lnTo>
                  <a:lnTo>
                    <a:pt x="573" y="54"/>
                  </a:lnTo>
                  <a:lnTo>
                    <a:pt x="572" y="53"/>
                  </a:lnTo>
                  <a:lnTo>
                    <a:pt x="568" y="53"/>
                  </a:lnTo>
                  <a:lnTo>
                    <a:pt x="565" y="50"/>
                  </a:lnTo>
                  <a:lnTo>
                    <a:pt x="563" y="52"/>
                  </a:lnTo>
                  <a:lnTo>
                    <a:pt x="558" y="52"/>
                  </a:lnTo>
                  <a:lnTo>
                    <a:pt x="558" y="50"/>
                  </a:lnTo>
                  <a:lnTo>
                    <a:pt x="557" y="48"/>
                  </a:lnTo>
                  <a:lnTo>
                    <a:pt x="560" y="45"/>
                  </a:lnTo>
                  <a:lnTo>
                    <a:pt x="557" y="43"/>
                  </a:lnTo>
                  <a:lnTo>
                    <a:pt x="554" y="41"/>
                  </a:lnTo>
                  <a:lnTo>
                    <a:pt x="552" y="41"/>
                  </a:lnTo>
                  <a:lnTo>
                    <a:pt x="550" y="38"/>
                  </a:lnTo>
                  <a:lnTo>
                    <a:pt x="549" y="35"/>
                  </a:lnTo>
                  <a:lnTo>
                    <a:pt x="552" y="35"/>
                  </a:lnTo>
                  <a:lnTo>
                    <a:pt x="552" y="33"/>
                  </a:lnTo>
                  <a:lnTo>
                    <a:pt x="549" y="30"/>
                  </a:lnTo>
                  <a:lnTo>
                    <a:pt x="549" y="19"/>
                  </a:lnTo>
                  <a:lnTo>
                    <a:pt x="552" y="16"/>
                  </a:lnTo>
                  <a:lnTo>
                    <a:pt x="550" y="14"/>
                  </a:lnTo>
                  <a:lnTo>
                    <a:pt x="552" y="10"/>
                  </a:lnTo>
                  <a:lnTo>
                    <a:pt x="553" y="7"/>
                  </a:lnTo>
                  <a:lnTo>
                    <a:pt x="552" y="5"/>
                  </a:lnTo>
                  <a:lnTo>
                    <a:pt x="554" y="4"/>
                  </a:lnTo>
                  <a:lnTo>
                    <a:pt x="554" y="3"/>
                  </a:lnTo>
                  <a:lnTo>
                    <a:pt x="558" y="0"/>
                  </a:lnTo>
                  <a:lnTo>
                    <a:pt x="560" y="0"/>
                  </a:lnTo>
                  <a:lnTo>
                    <a:pt x="563" y="3"/>
                  </a:lnTo>
                  <a:lnTo>
                    <a:pt x="564" y="0"/>
                  </a:lnTo>
                  <a:lnTo>
                    <a:pt x="567" y="0"/>
                  </a:lnTo>
                  <a:lnTo>
                    <a:pt x="568" y="4"/>
                  </a:lnTo>
                  <a:lnTo>
                    <a:pt x="571" y="4"/>
                  </a:lnTo>
                  <a:lnTo>
                    <a:pt x="573" y="1"/>
                  </a:lnTo>
                  <a:lnTo>
                    <a:pt x="575" y="3"/>
                  </a:lnTo>
                  <a:lnTo>
                    <a:pt x="575" y="5"/>
                  </a:lnTo>
                  <a:lnTo>
                    <a:pt x="576" y="7"/>
                  </a:lnTo>
                  <a:lnTo>
                    <a:pt x="580" y="7"/>
                  </a:lnTo>
                  <a:lnTo>
                    <a:pt x="580" y="8"/>
                  </a:lnTo>
                  <a:lnTo>
                    <a:pt x="577" y="10"/>
                  </a:lnTo>
                  <a:lnTo>
                    <a:pt x="577" y="11"/>
                  </a:lnTo>
                  <a:lnTo>
                    <a:pt x="576" y="12"/>
                  </a:lnTo>
                  <a:lnTo>
                    <a:pt x="577" y="15"/>
                  </a:lnTo>
                  <a:lnTo>
                    <a:pt x="575" y="19"/>
                  </a:lnTo>
                  <a:lnTo>
                    <a:pt x="572" y="20"/>
                  </a:lnTo>
                  <a:lnTo>
                    <a:pt x="571" y="23"/>
                  </a:lnTo>
                  <a:lnTo>
                    <a:pt x="572" y="23"/>
                  </a:lnTo>
                  <a:lnTo>
                    <a:pt x="577" y="22"/>
                  </a:lnTo>
                  <a:lnTo>
                    <a:pt x="582" y="15"/>
                  </a:lnTo>
                  <a:lnTo>
                    <a:pt x="583" y="16"/>
                  </a:lnTo>
                  <a:lnTo>
                    <a:pt x="583" y="18"/>
                  </a:lnTo>
                  <a:lnTo>
                    <a:pt x="582" y="20"/>
                  </a:lnTo>
                  <a:lnTo>
                    <a:pt x="582" y="22"/>
                  </a:lnTo>
                  <a:lnTo>
                    <a:pt x="584" y="22"/>
                  </a:lnTo>
                  <a:lnTo>
                    <a:pt x="586" y="19"/>
                  </a:lnTo>
                  <a:lnTo>
                    <a:pt x="588" y="18"/>
                  </a:lnTo>
                  <a:lnTo>
                    <a:pt x="590" y="19"/>
                  </a:lnTo>
                  <a:lnTo>
                    <a:pt x="592" y="18"/>
                  </a:lnTo>
                  <a:lnTo>
                    <a:pt x="592" y="15"/>
                  </a:lnTo>
                  <a:lnTo>
                    <a:pt x="594" y="15"/>
                  </a:lnTo>
                  <a:lnTo>
                    <a:pt x="595" y="16"/>
                  </a:lnTo>
                  <a:lnTo>
                    <a:pt x="598" y="15"/>
                  </a:lnTo>
                  <a:lnTo>
                    <a:pt x="601" y="19"/>
                  </a:lnTo>
                  <a:lnTo>
                    <a:pt x="601" y="20"/>
                  </a:lnTo>
                  <a:lnTo>
                    <a:pt x="602" y="24"/>
                  </a:lnTo>
                  <a:lnTo>
                    <a:pt x="601" y="26"/>
                  </a:lnTo>
                  <a:lnTo>
                    <a:pt x="601" y="27"/>
                  </a:lnTo>
                  <a:lnTo>
                    <a:pt x="599" y="31"/>
                  </a:lnTo>
                  <a:lnTo>
                    <a:pt x="602" y="35"/>
                  </a:lnTo>
                  <a:lnTo>
                    <a:pt x="602" y="38"/>
                  </a:lnTo>
                  <a:lnTo>
                    <a:pt x="601" y="39"/>
                  </a:lnTo>
                  <a:lnTo>
                    <a:pt x="598" y="41"/>
                  </a:lnTo>
                  <a:lnTo>
                    <a:pt x="599" y="41"/>
                  </a:lnTo>
                  <a:lnTo>
                    <a:pt x="605" y="41"/>
                  </a:lnTo>
                  <a:lnTo>
                    <a:pt x="607" y="38"/>
                  </a:lnTo>
                  <a:lnTo>
                    <a:pt x="610" y="37"/>
                  </a:lnTo>
                  <a:lnTo>
                    <a:pt x="613" y="34"/>
                  </a:lnTo>
                  <a:lnTo>
                    <a:pt x="611" y="30"/>
                  </a:lnTo>
                  <a:lnTo>
                    <a:pt x="610" y="27"/>
                  </a:lnTo>
                  <a:lnTo>
                    <a:pt x="610" y="27"/>
                  </a:lnTo>
                  <a:lnTo>
                    <a:pt x="607" y="26"/>
                  </a:lnTo>
                  <a:lnTo>
                    <a:pt x="607" y="23"/>
                  </a:lnTo>
                  <a:lnTo>
                    <a:pt x="609" y="23"/>
                  </a:lnTo>
                  <a:lnTo>
                    <a:pt x="610" y="23"/>
                  </a:lnTo>
                  <a:lnTo>
                    <a:pt x="611" y="23"/>
                  </a:lnTo>
                  <a:lnTo>
                    <a:pt x="613" y="23"/>
                  </a:lnTo>
                  <a:lnTo>
                    <a:pt x="617" y="22"/>
                  </a:lnTo>
                  <a:lnTo>
                    <a:pt x="620" y="19"/>
                  </a:lnTo>
                  <a:lnTo>
                    <a:pt x="621" y="19"/>
                  </a:lnTo>
                  <a:lnTo>
                    <a:pt x="625" y="19"/>
                  </a:lnTo>
                  <a:lnTo>
                    <a:pt x="625" y="18"/>
                  </a:lnTo>
                  <a:lnTo>
                    <a:pt x="628" y="15"/>
                  </a:lnTo>
                  <a:lnTo>
                    <a:pt x="629" y="16"/>
                  </a:lnTo>
                  <a:lnTo>
                    <a:pt x="631" y="14"/>
                  </a:lnTo>
                  <a:lnTo>
                    <a:pt x="633" y="14"/>
                  </a:lnTo>
                  <a:lnTo>
                    <a:pt x="633" y="15"/>
                  </a:lnTo>
                  <a:lnTo>
                    <a:pt x="636" y="14"/>
                  </a:lnTo>
                  <a:lnTo>
                    <a:pt x="636" y="15"/>
                  </a:lnTo>
                  <a:lnTo>
                    <a:pt x="636" y="16"/>
                  </a:lnTo>
                  <a:lnTo>
                    <a:pt x="636" y="18"/>
                  </a:lnTo>
                  <a:lnTo>
                    <a:pt x="641" y="18"/>
                  </a:lnTo>
                  <a:lnTo>
                    <a:pt x="641" y="19"/>
                  </a:lnTo>
                  <a:lnTo>
                    <a:pt x="644" y="19"/>
                  </a:lnTo>
                  <a:lnTo>
                    <a:pt x="654" y="24"/>
                  </a:lnTo>
                  <a:lnTo>
                    <a:pt x="655" y="24"/>
                  </a:lnTo>
                  <a:lnTo>
                    <a:pt x="656" y="27"/>
                  </a:lnTo>
                  <a:lnTo>
                    <a:pt x="656" y="29"/>
                  </a:lnTo>
                  <a:lnTo>
                    <a:pt x="660" y="34"/>
                  </a:lnTo>
                  <a:lnTo>
                    <a:pt x="662" y="34"/>
                  </a:lnTo>
                  <a:lnTo>
                    <a:pt x="662" y="31"/>
                  </a:lnTo>
                  <a:lnTo>
                    <a:pt x="663" y="31"/>
                  </a:lnTo>
                  <a:lnTo>
                    <a:pt x="663" y="30"/>
                  </a:lnTo>
                  <a:lnTo>
                    <a:pt x="662" y="29"/>
                  </a:lnTo>
                  <a:lnTo>
                    <a:pt x="659" y="29"/>
                  </a:lnTo>
                  <a:lnTo>
                    <a:pt x="659" y="26"/>
                  </a:lnTo>
                  <a:lnTo>
                    <a:pt x="662" y="24"/>
                  </a:lnTo>
                  <a:lnTo>
                    <a:pt x="663" y="24"/>
                  </a:lnTo>
                  <a:lnTo>
                    <a:pt x="665" y="27"/>
                  </a:lnTo>
                  <a:lnTo>
                    <a:pt x="666" y="29"/>
                  </a:lnTo>
                  <a:lnTo>
                    <a:pt x="666" y="30"/>
                  </a:lnTo>
                  <a:lnTo>
                    <a:pt x="670" y="34"/>
                  </a:lnTo>
                  <a:lnTo>
                    <a:pt x="670" y="35"/>
                  </a:lnTo>
                  <a:lnTo>
                    <a:pt x="671" y="37"/>
                  </a:lnTo>
                  <a:lnTo>
                    <a:pt x="673" y="35"/>
                  </a:lnTo>
                  <a:lnTo>
                    <a:pt x="674" y="35"/>
                  </a:lnTo>
                  <a:lnTo>
                    <a:pt x="675" y="37"/>
                  </a:lnTo>
                  <a:lnTo>
                    <a:pt x="677" y="39"/>
                  </a:lnTo>
                  <a:lnTo>
                    <a:pt x="677" y="41"/>
                  </a:lnTo>
                  <a:lnTo>
                    <a:pt x="678" y="43"/>
                  </a:lnTo>
                  <a:lnTo>
                    <a:pt x="678" y="45"/>
                  </a:lnTo>
                  <a:lnTo>
                    <a:pt x="678" y="45"/>
                  </a:lnTo>
                  <a:lnTo>
                    <a:pt x="677" y="43"/>
                  </a:lnTo>
                  <a:lnTo>
                    <a:pt x="677" y="42"/>
                  </a:lnTo>
                  <a:lnTo>
                    <a:pt x="675" y="42"/>
                  </a:lnTo>
                  <a:lnTo>
                    <a:pt x="674" y="43"/>
                  </a:lnTo>
                  <a:lnTo>
                    <a:pt x="673" y="42"/>
                  </a:lnTo>
                  <a:lnTo>
                    <a:pt x="669" y="41"/>
                  </a:lnTo>
                  <a:lnTo>
                    <a:pt x="666" y="41"/>
                  </a:lnTo>
                  <a:lnTo>
                    <a:pt x="665" y="41"/>
                  </a:lnTo>
                  <a:lnTo>
                    <a:pt x="666" y="43"/>
                  </a:lnTo>
                  <a:lnTo>
                    <a:pt x="670" y="43"/>
                  </a:lnTo>
                  <a:lnTo>
                    <a:pt x="670" y="45"/>
                  </a:lnTo>
                  <a:lnTo>
                    <a:pt x="670" y="45"/>
                  </a:lnTo>
                  <a:lnTo>
                    <a:pt x="671" y="48"/>
                  </a:lnTo>
                  <a:lnTo>
                    <a:pt x="673" y="49"/>
                  </a:lnTo>
                  <a:lnTo>
                    <a:pt x="674" y="48"/>
                  </a:lnTo>
                  <a:lnTo>
                    <a:pt x="675" y="45"/>
                  </a:lnTo>
                  <a:lnTo>
                    <a:pt x="675" y="45"/>
                  </a:lnTo>
                  <a:lnTo>
                    <a:pt x="677" y="48"/>
                  </a:lnTo>
                  <a:lnTo>
                    <a:pt x="678" y="49"/>
                  </a:lnTo>
                  <a:lnTo>
                    <a:pt x="679" y="48"/>
                  </a:lnTo>
                  <a:lnTo>
                    <a:pt x="681" y="48"/>
                  </a:lnTo>
                  <a:lnTo>
                    <a:pt x="682" y="49"/>
                  </a:lnTo>
                  <a:lnTo>
                    <a:pt x="681" y="50"/>
                  </a:lnTo>
                  <a:lnTo>
                    <a:pt x="684" y="54"/>
                  </a:lnTo>
                  <a:lnTo>
                    <a:pt x="684" y="58"/>
                  </a:lnTo>
                  <a:lnTo>
                    <a:pt x="684" y="63"/>
                  </a:lnTo>
                  <a:lnTo>
                    <a:pt x="682" y="67"/>
                  </a:lnTo>
                  <a:lnTo>
                    <a:pt x="681" y="67"/>
                  </a:lnTo>
                  <a:lnTo>
                    <a:pt x="679" y="69"/>
                  </a:lnTo>
                  <a:lnTo>
                    <a:pt x="681" y="71"/>
                  </a:lnTo>
                  <a:lnTo>
                    <a:pt x="679" y="75"/>
                  </a:lnTo>
                  <a:lnTo>
                    <a:pt x="679" y="75"/>
                  </a:lnTo>
                  <a:lnTo>
                    <a:pt x="681" y="77"/>
                  </a:lnTo>
                  <a:lnTo>
                    <a:pt x="681" y="79"/>
                  </a:lnTo>
                  <a:lnTo>
                    <a:pt x="678" y="80"/>
                  </a:lnTo>
                  <a:lnTo>
                    <a:pt x="677" y="83"/>
                  </a:lnTo>
                  <a:lnTo>
                    <a:pt x="678" y="84"/>
                  </a:lnTo>
                  <a:lnTo>
                    <a:pt x="675" y="87"/>
                  </a:lnTo>
                  <a:lnTo>
                    <a:pt x="674" y="88"/>
                  </a:lnTo>
                  <a:lnTo>
                    <a:pt x="675" y="90"/>
                  </a:lnTo>
                  <a:lnTo>
                    <a:pt x="674" y="92"/>
                  </a:lnTo>
                  <a:lnTo>
                    <a:pt x="671" y="94"/>
                  </a:lnTo>
                  <a:lnTo>
                    <a:pt x="669" y="97"/>
                  </a:lnTo>
                  <a:lnTo>
                    <a:pt x="666" y="97"/>
                  </a:lnTo>
                  <a:lnTo>
                    <a:pt x="669" y="97"/>
                  </a:lnTo>
                  <a:lnTo>
                    <a:pt x="671" y="97"/>
                  </a:lnTo>
                  <a:lnTo>
                    <a:pt x="673" y="95"/>
                  </a:lnTo>
                  <a:lnTo>
                    <a:pt x="673" y="95"/>
                  </a:lnTo>
                  <a:lnTo>
                    <a:pt x="674" y="98"/>
                  </a:lnTo>
                  <a:lnTo>
                    <a:pt x="673" y="102"/>
                  </a:lnTo>
                  <a:lnTo>
                    <a:pt x="670" y="105"/>
                  </a:lnTo>
                  <a:lnTo>
                    <a:pt x="669" y="110"/>
                  </a:lnTo>
                  <a:lnTo>
                    <a:pt x="670" y="113"/>
                  </a:lnTo>
                  <a:lnTo>
                    <a:pt x="671" y="116"/>
                  </a:lnTo>
                  <a:lnTo>
                    <a:pt x="669" y="120"/>
                  </a:lnTo>
                  <a:lnTo>
                    <a:pt x="666" y="121"/>
                  </a:lnTo>
                  <a:lnTo>
                    <a:pt x="665" y="121"/>
                  </a:lnTo>
                  <a:lnTo>
                    <a:pt x="663" y="121"/>
                  </a:lnTo>
                  <a:lnTo>
                    <a:pt x="662" y="122"/>
                  </a:lnTo>
                  <a:lnTo>
                    <a:pt x="663" y="124"/>
                  </a:lnTo>
                  <a:lnTo>
                    <a:pt x="665" y="129"/>
                  </a:lnTo>
                  <a:lnTo>
                    <a:pt x="663" y="130"/>
                  </a:lnTo>
                  <a:lnTo>
                    <a:pt x="662" y="132"/>
                  </a:lnTo>
                  <a:lnTo>
                    <a:pt x="660" y="135"/>
                  </a:lnTo>
                  <a:lnTo>
                    <a:pt x="662" y="139"/>
                  </a:lnTo>
                  <a:lnTo>
                    <a:pt x="662" y="141"/>
                  </a:lnTo>
                  <a:lnTo>
                    <a:pt x="660" y="143"/>
                  </a:lnTo>
                  <a:lnTo>
                    <a:pt x="660" y="144"/>
                  </a:lnTo>
                  <a:lnTo>
                    <a:pt x="662" y="145"/>
                  </a:lnTo>
                  <a:lnTo>
                    <a:pt x="660" y="152"/>
                  </a:lnTo>
                  <a:lnTo>
                    <a:pt x="659" y="154"/>
                  </a:lnTo>
                  <a:lnTo>
                    <a:pt x="658" y="155"/>
                  </a:lnTo>
                  <a:lnTo>
                    <a:pt x="659" y="154"/>
                  </a:lnTo>
                  <a:lnTo>
                    <a:pt x="662" y="154"/>
                  </a:lnTo>
                  <a:lnTo>
                    <a:pt x="663" y="151"/>
                  </a:lnTo>
                  <a:lnTo>
                    <a:pt x="665" y="150"/>
                  </a:lnTo>
                  <a:lnTo>
                    <a:pt x="665" y="148"/>
                  </a:lnTo>
                  <a:lnTo>
                    <a:pt x="665" y="147"/>
                  </a:lnTo>
                  <a:lnTo>
                    <a:pt x="667" y="147"/>
                  </a:lnTo>
                  <a:lnTo>
                    <a:pt x="670" y="145"/>
                  </a:lnTo>
                  <a:lnTo>
                    <a:pt x="667" y="145"/>
                  </a:lnTo>
                  <a:lnTo>
                    <a:pt x="665" y="141"/>
                  </a:lnTo>
                  <a:lnTo>
                    <a:pt x="663" y="139"/>
                  </a:lnTo>
                  <a:lnTo>
                    <a:pt x="665" y="136"/>
                  </a:lnTo>
                  <a:lnTo>
                    <a:pt x="669" y="136"/>
                  </a:lnTo>
                  <a:lnTo>
                    <a:pt x="673" y="135"/>
                  </a:lnTo>
                  <a:lnTo>
                    <a:pt x="675" y="132"/>
                  </a:lnTo>
                  <a:lnTo>
                    <a:pt x="677" y="132"/>
                  </a:lnTo>
                  <a:lnTo>
                    <a:pt x="678" y="130"/>
                  </a:lnTo>
                  <a:lnTo>
                    <a:pt x="677" y="129"/>
                  </a:lnTo>
                  <a:lnTo>
                    <a:pt x="681" y="126"/>
                  </a:lnTo>
                  <a:lnTo>
                    <a:pt x="682" y="124"/>
                  </a:lnTo>
                  <a:lnTo>
                    <a:pt x="681" y="121"/>
                  </a:lnTo>
                  <a:lnTo>
                    <a:pt x="681" y="120"/>
                  </a:lnTo>
                  <a:lnTo>
                    <a:pt x="684" y="121"/>
                  </a:lnTo>
                  <a:lnTo>
                    <a:pt x="686" y="121"/>
                  </a:lnTo>
                  <a:lnTo>
                    <a:pt x="688" y="118"/>
                  </a:lnTo>
                  <a:lnTo>
                    <a:pt x="686" y="116"/>
                  </a:lnTo>
                  <a:lnTo>
                    <a:pt x="692" y="113"/>
                  </a:lnTo>
                  <a:lnTo>
                    <a:pt x="692" y="110"/>
                  </a:lnTo>
                  <a:lnTo>
                    <a:pt x="690" y="109"/>
                  </a:lnTo>
                  <a:lnTo>
                    <a:pt x="686" y="111"/>
                  </a:lnTo>
                  <a:lnTo>
                    <a:pt x="686" y="113"/>
                  </a:lnTo>
                  <a:lnTo>
                    <a:pt x="682" y="116"/>
                  </a:lnTo>
                  <a:lnTo>
                    <a:pt x="679" y="114"/>
                  </a:lnTo>
                  <a:lnTo>
                    <a:pt x="678" y="111"/>
                  </a:lnTo>
                  <a:lnTo>
                    <a:pt x="679" y="109"/>
                  </a:lnTo>
                  <a:lnTo>
                    <a:pt x="679" y="105"/>
                  </a:lnTo>
                  <a:lnTo>
                    <a:pt x="682" y="102"/>
                  </a:lnTo>
                  <a:lnTo>
                    <a:pt x="685" y="102"/>
                  </a:lnTo>
                  <a:lnTo>
                    <a:pt x="689" y="105"/>
                  </a:lnTo>
                  <a:lnTo>
                    <a:pt x="690" y="103"/>
                  </a:lnTo>
                  <a:lnTo>
                    <a:pt x="690" y="101"/>
                  </a:lnTo>
                  <a:lnTo>
                    <a:pt x="693" y="99"/>
                  </a:lnTo>
                  <a:lnTo>
                    <a:pt x="694" y="101"/>
                  </a:lnTo>
                  <a:lnTo>
                    <a:pt x="693" y="102"/>
                  </a:lnTo>
                  <a:lnTo>
                    <a:pt x="693" y="105"/>
                  </a:lnTo>
                  <a:lnTo>
                    <a:pt x="700" y="110"/>
                  </a:lnTo>
                  <a:lnTo>
                    <a:pt x="703" y="110"/>
                  </a:lnTo>
                  <a:lnTo>
                    <a:pt x="704" y="109"/>
                  </a:lnTo>
                  <a:lnTo>
                    <a:pt x="708" y="109"/>
                  </a:lnTo>
                  <a:lnTo>
                    <a:pt x="711" y="106"/>
                  </a:lnTo>
                  <a:lnTo>
                    <a:pt x="709" y="103"/>
                  </a:lnTo>
                  <a:lnTo>
                    <a:pt x="707" y="99"/>
                  </a:lnTo>
                  <a:lnTo>
                    <a:pt x="707" y="98"/>
                  </a:lnTo>
                  <a:lnTo>
                    <a:pt x="708" y="98"/>
                  </a:lnTo>
                  <a:lnTo>
                    <a:pt x="712" y="103"/>
                  </a:lnTo>
                  <a:lnTo>
                    <a:pt x="713" y="103"/>
                  </a:lnTo>
                  <a:lnTo>
                    <a:pt x="716" y="105"/>
                  </a:lnTo>
                  <a:lnTo>
                    <a:pt x="716" y="107"/>
                  </a:lnTo>
                  <a:lnTo>
                    <a:pt x="716" y="109"/>
                  </a:lnTo>
                  <a:lnTo>
                    <a:pt x="719" y="111"/>
                  </a:lnTo>
                  <a:lnTo>
                    <a:pt x="720" y="116"/>
                  </a:lnTo>
                  <a:lnTo>
                    <a:pt x="720" y="117"/>
                  </a:lnTo>
                  <a:lnTo>
                    <a:pt x="720" y="116"/>
                  </a:lnTo>
                  <a:lnTo>
                    <a:pt x="723" y="113"/>
                  </a:lnTo>
                  <a:lnTo>
                    <a:pt x="724" y="113"/>
                  </a:lnTo>
                  <a:lnTo>
                    <a:pt x="724" y="111"/>
                  </a:lnTo>
                  <a:lnTo>
                    <a:pt x="724" y="110"/>
                  </a:lnTo>
                  <a:lnTo>
                    <a:pt x="722" y="111"/>
                  </a:lnTo>
                  <a:lnTo>
                    <a:pt x="720" y="110"/>
                  </a:lnTo>
                  <a:lnTo>
                    <a:pt x="719" y="107"/>
                  </a:lnTo>
                  <a:lnTo>
                    <a:pt x="722" y="105"/>
                  </a:lnTo>
                  <a:lnTo>
                    <a:pt x="724" y="103"/>
                  </a:lnTo>
                  <a:lnTo>
                    <a:pt x="726" y="102"/>
                  </a:lnTo>
                  <a:lnTo>
                    <a:pt x="727" y="102"/>
                  </a:lnTo>
                  <a:lnTo>
                    <a:pt x="728" y="101"/>
                  </a:lnTo>
                  <a:lnTo>
                    <a:pt x="732" y="99"/>
                  </a:lnTo>
                  <a:lnTo>
                    <a:pt x="741" y="97"/>
                  </a:lnTo>
                  <a:lnTo>
                    <a:pt x="750" y="97"/>
                  </a:lnTo>
                  <a:lnTo>
                    <a:pt x="757" y="94"/>
                  </a:lnTo>
                  <a:lnTo>
                    <a:pt x="761" y="94"/>
                  </a:lnTo>
                  <a:lnTo>
                    <a:pt x="764" y="95"/>
                  </a:lnTo>
                  <a:lnTo>
                    <a:pt x="764" y="97"/>
                  </a:lnTo>
                  <a:lnTo>
                    <a:pt x="762" y="97"/>
                  </a:lnTo>
                  <a:lnTo>
                    <a:pt x="761" y="99"/>
                  </a:lnTo>
                  <a:lnTo>
                    <a:pt x="762" y="105"/>
                  </a:lnTo>
                  <a:lnTo>
                    <a:pt x="765" y="107"/>
                  </a:lnTo>
                  <a:lnTo>
                    <a:pt x="776" y="107"/>
                  </a:lnTo>
                  <a:lnTo>
                    <a:pt x="779" y="107"/>
                  </a:lnTo>
                  <a:lnTo>
                    <a:pt x="779" y="107"/>
                  </a:lnTo>
                  <a:lnTo>
                    <a:pt x="783" y="107"/>
                  </a:lnTo>
                  <a:lnTo>
                    <a:pt x="786" y="109"/>
                  </a:lnTo>
                  <a:lnTo>
                    <a:pt x="792" y="107"/>
                  </a:lnTo>
                  <a:lnTo>
                    <a:pt x="798" y="105"/>
                  </a:lnTo>
                  <a:lnTo>
                    <a:pt x="799" y="105"/>
                  </a:lnTo>
                  <a:lnTo>
                    <a:pt x="802" y="105"/>
                  </a:lnTo>
                  <a:lnTo>
                    <a:pt x="803" y="102"/>
                  </a:lnTo>
                  <a:lnTo>
                    <a:pt x="803" y="101"/>
                  </a:lnTo>
                  <a:lnTo>
                    <a:pt x="805" y="101"/>
                  </a:lnTo>
                  <a:lnTo>
                    <a:pt x="807" y="101"/>
                  </a:lnTo>
                  <a:lnTo>
                    <a:pt x="810" y="101"/>
                  </a:lnTo>
                  <a:lnTo>
                    <a:pt x="811" y="102"/>
                  </a:lnTo>
                  <a:lnTo>
                    <a:pt x="811" y="102"/>
                  </a:lnTo>
                  <a:lnTo>
                    <a:pt x="813" y="101"/>
                  </a:lnTo>
                  <a:lnTo>
                    <a:pt x="813" y="98"/>
                  </a:lnTo>
                  <a:lnTo>
                    <a:pt x="811" y="97"/>
                  </a:lnTo>
                  <a:lnTo>
                    <a:pt x="811" y="94"/>
                  </a:lnTo>
                  <a:lnTo>
                    <a:pt x="810" y="92"/>
                  </a:lnTo>
                  <a:lnTo>
                    <a:pt x="807" y="91"/>
                  </a:lnTo>
                  <a:lnTo>
                    <a:pt x="807" y="88"/>
                  </a:lnTo>
                  <a:lnTo>
                    <a:pt x="806" y="88"/>
                  </a:lnTo>
                  <a:lnTo>
                    <a:pt x="805" y="86"/>
                  </a:lnTo>
                  <a:lnTo>
                    <a:pt x="803" y="84"/>
                  </a:lnTo>
                  <a:lnTo>
                    <a:pt x="803" y="82"/>
                  </a:lnTo>
                  <a:lnTo>
                    <a:pt x="805" y="79"/>
                  </a:lnTo>
                  <a:lnTo>
                    <a:pt x="805" y="80"/>
                  </a:lnTo>
                  <a:lnTo>
                    <a:pt x="806" y="82"/>
                  </a:lnTo>
                  <a:lnTo>
                    <a:pt x="809" y="79"/>
                  </a:lnTo>
                  <a:lnTo>
                    <a:pt x="807" y="77"/>
                  </a:lnTo>
                  <a:lnTo>
                    <a:pt x="807" y="76"/>
                  </a:lnTo>
                  <a:lnTo>
                    <a:pt x="809" y="76"/>
                  </a:lnTo>
                  <a:lnTo>
                    <a:pt x="811" y="77"/>
                  </a:lnTo>
                  <a:lnTo>
                    <a:pt x="813" y="76"/>
                  </a:lnTo>
                  <a:lnTo>
                    <a:pt x="814" y="75"/>
                  </a:lnTo>
                  <a:lnTo>
                    <a:pt x="814" y="76"/>
                  </a:lnTo>
                  <a:lnTo>
                    <a:pt x="818" y="76"/>
                  </a:lnTo>
                  <a:lnTo>
                    <a:pt x="820" y="76"/>
                  </a:lnTo>
                  <a:lnTo>
                    <a:pt x="821" y="75"/>
                  </a:lnTo>
                  <a:lnTo>
                    <a:pt x="822" y="76"/>
                  </a:lnTo>
                  <a:lnTo>
                    <a:pt x="825" y="77"/>
                  </a:lnTo>
                  <a:lnTo>
                    <a:pt x="826" y="79"/>
                  </a:lnTo>
                  <a:lnTo>
                    <a:pt x="828" y="77"/>
                  </a:lnTo>
                  <a:lnTo>
                    <a:pt x="828" y="76"/>
                  </a:lnTo>
                  <a:lnTo>
                    <a:pt x="829" y="76"/>
                  </a:lnTo>
                  <a:lnTo>
                    <a:pt x="830" y="79"/>
                  </a:lnTo>
                  <a:lnTo>
                    <a:pt x="829" y="80"/>
                  </a:lnTo>
                  <a:lnTo>
                    <a:pt x="828" y="82"/>
                  </a:lnTo>
                  <a:lnTo>
                    <a:pt x="829" y="83"/>
                  </a:lnTo>
                  <a:lnTo>
                    <a:pt x="832" y="82"/>
                  </a:lnTo>
                  <a:lnTo>
                    <a:pt x="832" y="82"/>
                  </a:lnTo>
                  <a:lnTo>
                    <a:pt x="832" y="80"/>
                  </a:lnTo>
                  <a:lnTo>
                    <a:pt x="833" y="80"/>
                  </a:lnTo>
                  <a:lnTo>
                    <a:pt x="834" y="80"/>
                  </a:lnTo>
                  <a:lnTo>
                    <a:pt x="834" y="77"/>
                  </a:lnTo>
                  <a:lnTo>
                    <a:pt x="833" y="76"/>
                  </a:lnTo>
                  <a:lnTo>
                    <a:pt x="833" y="76"/>
                  </a:lnTo>
                  <a:lnTo>
                    <a:pt x="836" y="76"/>
                  </a:lnTo>
                  <a:lnTo>
                    <a:pt x="839" y="75"/>
                  </a:lnTo>
                  <a:lnTo>
                    <a:pt x="840" y="76"/>
                  </a:lnTo>
                  <a:lnTo>
                    <a:pt x="841" y="75"/>
                  </a:lnTo>
                  <a:lnTo>
                    <a:pt x="844" y="75"/>
                  </a:lnTo>
                  <a:lnTo>
                    <a:pt x="844" y="76"/>
                  </a:lnTo>
                  <a:lnTo>
                    <a:pt x="845" y="80"/>
                  </a:lnTo>
                  <a:lnTo>
                    <a:pt x="845" y="79"/>
                  </a:lnTo>
                  <a:lnTo>
                    <a:pt x="847" y="79"/>
                  </a:lnTo>
                  <a:lnTo>
                    <a:pt x="849" y="76"/>
                  </a:lnTo>
                  <a:lnTo>
                    <a:pt x="849" y="80"/>
                  </a:lnTo>
                  <a:lnTo>
                    <a:pt x="851" y="80"/>
                  </a:lnTo>
                  <a:lnTo>
                    <a:pt x="854" y="77"/>
                  </a:lnTo>
                  <a:lnTo>
                    <a:pt x="856" y="80"/>
                  </a:lnTo>
                  <a:lnTo>
                    <a:pt x="856" y="84"/>
                  </a:lnTo>
                  <a:lnTo>
                    <a:pt x="858" y="82"/>
                  </a:lnTo>
                  <a:lnTo>
                    <a:pt x="859" y="80"/>
                  </a:lnTo>
                  <a:lnTo>
                    <a:pt x="860" y="82"/>
                  </a:lnTo>
                  <a:lnTo>
                    <a:pt x="859" y="84"/>
                  </a:lnTo>
                  <a:lnTo>
                    <a:pt x="860" y="86"/>
                  </a:lnTo>
                  <a:lnTo>
                    <a:pt x="862" y="87"/>
                  </a:lnTo>
                  <a:lnTo>
                    <a:pt x="864" y="87"/>
                  </a:lnTo>
                  <a:lnTo>
                    <a:pt x="864" y="90"/>
                  </a:lnTo>
                  <a:lnTo>
                    <a:pt x="866" y="88"/>
                  </a:lnTo>
                  <a:lnTo>
                    <a:pt x="866" y="88"/>
                  </a:lnTo>
                  <a:lnTo>
                    <a:pt x="867" y="91"/>
                  </a:lnTo>
                  <a:lnTo>
                    <a:pt x="866" y="92"/>
                  </a:lnTo>
                  <a:lnTo>
                    <a:pt x="866" y="95"/>
                  </a:lnTo>
                  <a:lnTo>
                    <a:pt x="868" y="92"/>
                  </a:lnTo>
                  <a:lnTo>
                    <a:pt x="871" y="92"/>
                  </a:lnTo>
                  <a:lnTo>
                    <a:pt x="871" y="94"/>
                  </a:lnTo>
                  <a:lnTo>
                    <a:pt x="867" y="98"/>
                  </a:lnTo>
                  <a:lnTo>
                    <a:pt x="867" y="101"/>
                  </a:lnTo>
                  <a:lnTo>
                    <a:pt x="871" y="102"/>
                  </a:lnTo>
                  <a:lnTo>
                    <a:pt x="871" y="101"/>
                  </a:lnTo>
                  <a:lnTo>
                    <a:pt x="874" y="99"/>
                  </a:lnTo>
                  <a:lnTo>
                    <a:pt x="875" y="101"/>
                  </a:lnTo>
                  <a:lnTo>
                    <a:pt x="875" y="102"/>
                  </a:lnTo>
                  <a:lnTo>
                    <a:pt x="877" y="101"/>
                  </a:lnTo>
                  <a:lnTo>
                    <a:pt x="879" y="103"/>
                  </a:lnTo>
                  <a:lnTo>
                    <a:pt x="879" y="107"/>
                  </a:lnTo>
                  <a:lnTo>
                    <a:pt x="881" y="107"/>
                  </a:lnTo>
                  <a:lnTo>
                    <a:pt x="882" y="109"/>
                  </a:lnTo>
                  <a:lnTo>
                    <a:pt x="883" y="107"/>
                  </a:lnTo>
                  <a:lnTo>
                    <a:pt x="883" y="110"/>
                  </a:lnTo>
                  <a:lnTo>
                    <a:pt x="882" y="113"/>
                  </a:lnTo>
                  <a:lnTo>
                    <a:pt x="879" y="114"/>
                  </a:lnTo>
                  <a:lnTo>
                    <a:pt x="877" y="113"/>
                  </a:lnTo>
                  <a:lnTo>
                    <a:pt x="873" y="111"/>
                  </a:lnTo>
                  <a:lnTo>
                    <a:pt x="867" y="111"/>
                  </a:lnTo>
                  <a:lnTo>
                    <a:pt x="870" y="113"/>
                  </a:lnTo>
                  <a:lnTo>
                    <a:pt x="870" y="116"/>
                  </a:lnTo>
                  <a:lnTo>
                    <a:pt x="875" y="116"/>
                  </a:lnTo>
                  <a:lnTo>
                    <a:pt x="875" y="118"/>
                  </a:lnTo>
                  <a:lnTo>
                    <a:pt x="879" y="121"/>
                  </a:lnTo>
                  <a:lnTo>
                    <a:pt x="885" y="122"/>
                  </a:lnTo>
                  <a:lnTo>
                    <a:pt x="888" y="121"/>
                  </a:lnTo>
                  <a:lnTo>
                    <a:pt x="888" y="118"/>
                  </a:lnTo>
                  <a:lnTo>
                    <a:pt x="885" y="116"/>
                  </a:lnTo>
                  <a:lnTo>
                    <a:pt x="885" y="114"/>
                  </a:lnTo>
                  <a:lnTo>
                    <a:pt x="885" y="114"/>
                  </a:lnTo>
                  <a:lnTo>
                    <a:pt x="888" y="117"/>
                  </a:lnTo>
                  <a:lnTo>
                    <a:pt x="890" y="118"/>
                  </a:lnTo>
                  <a:lnTo>
                    <a:pt x="892" y="120"/>
                  </a:lnTo>
                  <a:lnTo>
                    <a:pt x="890" y="120"/>
                  </a:lnTo>
                  <a:lnTo>
                    <a:pt x="885" y="124"/>
                  </a:lnTo>
                  <a:lnTo>
                    <a:pt x="886" y="125"/>
                  </a:lnTo>
                  <a:lnTo>
                    <a:pt x="889" y="125"/>
                  </a:lnTo>
                  <a:lnTo>
                    <a:pt x="890" y="124"/>
                  </a:lnTo>
                  <a:lnTo>
                    <a:pt x="892" y="124"/>
                  </a:lnTo>
                  <a:lnTo>
                    <a:pt x="898" y="130"/>
                  </a:lnTo>
                  <a:lnTo>
                    <a:pt x="901" y="132"/>
                  </a:lnTo>
                  <a:lnTo>
                    <a:pt x="904" y="135"/>
                  </a:lnTo>
                  <a:lnTo>
                    <a:pt x="909" y="136"/>
                  </a:lnTo>
                  <a:lnTo>
                    <a:pt x="912" y="140"/>
                  </a:lnTo>
                  <a:lnTo>
                    <a:pt x="916" y="140"/>
                  </a:lnTo>
                  <a:lnTo>
                    <a:pt x="916" y="139"/>
                  </a:lnTo>
                  <a:lnTo>
                    <a:pt x="916" y="137"/>
                  </a:lnTo>
                  <a:lnTo>
                    <a:pt x="917" y="136"/>
                  </a:lnTo>
                  <a:lnTo>
                    <a:pt x="919" y="139"/>
                  </a:lnTo>
                  <a:lnTo>
                    <a:pt x="920" y="140"/>
                  </a:lnTo>
                  <a:lnTo>
                    <a:pt x="922" y="143"/>
                  </a:lnTo>
                  <a:lnTo>
                    <a:pt x="923" y="143"/>
                  </a:lnTo>
                  <a:lnTo>
                    <a:pt x="923" y="140"/>
                  </a:lnTo>
                  <a:lnTo>
                    <a:pt x="920" y="128"/>
                  </a:lnTo>
                  <a:lnTo>
                    <a:pt x="917" y="121"/>
                  </a:lnTo>
                  <a:lnTo>
                    <a:pt x="915" y="114"/>
                  </a:lnTo>
                  <a:lnTo>
                    <a:pt x="915" y="109"/>
                  </a:lnTo>
                  <a:lnTo>
                    <a:pt x="912" y="105"/>
                  </a:lnTo>
                  <a:lnTo>
                    <a:pt x="912" y="103"/>
                  </a:lnTo>
                  <a:lnTo>
                    <a:pt x="915" y="103"/>
                  </a:lnTo>
                  <a:lnTo>
                    <a:pt x="916" y="106"/>
                  </a:lnTo>
                  <a:lnTo>
                    <a:pt x="919" y="109"/>
                  </a:lnTo>
                  <a:lnTo>
                    <a:pt x="922" y="110"/>
                  </a:lnTo>
                  <a:lnTo>
                    <a:pt x="923" y="113"/>
                  </a:lnTo>
                  <a:lnTo>
                    <a:pt x="928" y="113"/>
                  </a:lnTo>
                  <a:lnTo>
                    <a:pt x="936" y="113"/>
                  </a:lnTo>
                  <a:lnTo>
                    <a:pt x="939" y="113"/>
                  </a:lnTo>
                  <a:lnTo>
                    <a:pt x="941" y="113"/>
                  </a:lnTo>
                  <a:lnTo>
                    <a:pt x="943" y="114"/>
                  </a:lnTo>
                  <a:lnTo>
                    <a:pt x="943" y="114"/>
                  </a:lnTo>
                  <a:lnTo>
                    <a:pt x="942" y="111"/>
                  </a:lnTo>
                  <a:lnTo>
                    <a:pt x="942" y="109"/>
                  </a:lnTo>
                  <a:lnTo>
                    <a:pt x="941" y="107"/>
                  </a:lnTo>
                  <a:lnTo>
                    <a:pt x="942" y="106"/>
                  </a:lnTo>
                  <a:lnTo>
                    <a:pt x="942" y="105"/>
                  </a:lnTo>
                  <a:lnTo>
                    <a:pt x="950" y="101"/>
                  </a:lnTo>
                  <a:lnTo>
                    <a:pt x="951" y="102"/>
                  </a:lnTo>
                  <a:lnTo>
                    <a:pt x="953" y="102"/>
                  </a:lnTo>
                  <a:lnTo>
                    <a:pt x="955" y="103"/>
                  </a:lnTo>
                  <a:lnTo>
                    <a:pt x="960" y="103"/>
                  </a:lnTo>
                  <a:lnTo>
                    <a:pt x="962" y="106"/>
                  </a:lnTo>
                  <a:lnTo>
                    <a:pt x="965" y="106"/>
                  </a:lnTo>
                  <a:lnTo>
                    <a:pt x="966" y="109"/>
                  </a:lnTo>
                  <a:lnTo>
                    <a:pt x="970" y="109"/>
                  </a:lnTo>
                  <a:lnTo>
                    <a:pt x="972" y="111"/>
                  </a:lnTo>
                  <a:lnTo>
                    <a:pt x="976" y="111"/>
                  </a:lnTo>
                  <a:lnTo>
                    <a:pt x="973" y="109"/>
                  </a:lnTo>
                  <a:lnTo>
                    <a:pt x="973" y="109"/>
                  </a:lnTo>
                  <a:lnTo>
                    <a:pt x="976" y="109"/>
                  </a:lnTo>
                  <a:lnTo>
                    <a:pt x="979" y="107"/>
                  </a:lnTo>
                  <a:lnTo>
                    <a:pt x="976" y="106"/>
                  </a:lnTo>
                  <a:lnTo>
                    <a:pt x="977" y="105"/>
                  </a:lnTo>
                  <a:lnTo>
                    <a:pt x="976" y="102"/>
                  </a:lnTo>
                  <a:lnTo>
                    <a:pt x="973" y="103"/>
                  </a:lnTo>
                  <a:lnTo>
                    <a:pt x="970" y="103"/>
                  </a:lnTo>
                  <a:lnTo>
                    <a:pt x="969" y="99"/>
                  </a:lnTo>
                  <a:lnTo>
                    <a:pt x="969" y="97"/>
                  </a:lnTo>
                  <a:lnTo>
                    <a:pt x="970" y="95"/>
                  </a:lnTo>
                  <a:lnTo>
                    <a:pt x="972" y="97"/>
                  </a:lnTo>
                  <a:lnTo>
                    <a:pt x="973" y="95"/>
                  </a:lnTo>
                  <a:lnTo>
                    <a:pt x="972" y="94"/>
                  </a:lnTo>
                  <a:lnTo>
                    <a:pt x="975" y="94"/>
                  </a:lnTo>
                  <a:lnTo>
                    <a:pt x="977" y="97"/>
                  </a:lnTo>
                  <a:lnTo>
                    <a:pt x="979" y="98"/>
                  </a:lnTo>
                  <a:lnTo>
                    <a:pt x="980" y="98"/>
                  </a:lnTo>
                  <a:lnTo>
                    <a:pt x="981" y="99"/>
                  </a:lnTo>
                  <a:lnTo>
                    <a:pt x="983" y="98"/>
                  </a:lnTo>
                  <a:lnTo>
                    <a:pt x="981" y="95"/>
                  </a:lnTo>
                  <a:lnTo>
                    <a:pt x="984" y="95"/>
                  </a:lnTo>
                  <a:lnTo>
                    <a:pt x="987" y="95"/>
                  </a:lnTo>
                  <a:lnTo>
                    <a:pt x="987" y="94"/>
                  </a:lnTo>
                  <a:lnTo>
                    <a:pt x="983" y="90"/>
                  </a:lnTo>
                  <a:lnTo>
                    <a:pt x="980" y="90"/>
                  </a:lnTo>
                  <a:lnTo>
                    <a:pt x="977" y="86"/>
                  </a:lnTo>
                  <a:lnTo>
                    <a:pt x="979" y="83"/>
                  </a:lnTo>
                  <a:lnTo>
                    <a:pt x="977" y="82"/>
                  </a:lnTo>
                  <a:lnTo>
                    <a:pt x="975" y="83"/>
                  </a:lnTo>
                  <a:lnTo>
                    <a:pt x="972" y="82"/>
                  </a:lnTo>
                  <a:lnTo>
                    <a:pt x="975" y="80"/>
                  </a:lnTo>
                  <a:lnTo>
                    <a:pt x="973" y="79"/>
                  </a:lnTo>
                  <a:lnTo>
                    <a:pt x="975" y="77"/>
                  </a:lnTo>
                  <a:lnTo>
                    <a:pt x="972" y="75"/>
                  </a:lnTo>
                  <a:lnTo>
                    <a:pt x="976" y="75"/>
                  </a:lnTo>
                  <a:lnTo>
                    <a:pt x="977" y="71"/>
                  </a:lnTo>
                  <a:lnTo>
                    <a:pt x="973" y="72"/>
                  </a:lnTo>
                  <a:lnTo>
                    <a:pt x="970" y="75"/>
                  </a:lnTo>
                  <a:lnTo>
                    <a:pt x="970" y="77"/>
                  </a:lnTo>
                  <a:lnTo>
                    <a:pt x="966" y="76"/>
                  </a:lnTo>
                  <a:lnTo>
                    <a:pt x="964" y="71"/>
                  </a:lnTo>
                  <a:lnTo>
                    <a:pt x="965" y="69"/>
                  </a:lnTo>
                  <a:lnTo>
                    <a:pt x="965" y="65"/>
                  </a:lnTo>
                  <a:lnTo>
                    <a:pt x="969" y="64"/>
                  </a:lnTo>
                  <a:lnTo>
                    <a:pt x="972" y="65"/>
                  </a:lnTo>
                  <a:lnTo>
                    <a:pt x="976" y="61"/>
                  </a:lnTo>
                  <a:lnTo>
                    <a:pt x="976" y="60"/>
                  </a:lnTo>
                  <a:lnTo>
                    <a:pt x="973" y="56"/>
                  </a:lnTo>
                  <a:lnTo>
                    <a:pt x="972" y="57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2" y="53"/>
                  </a:lnTo>
                  <a:lnTo>
                    <a:pt x="966" y="52"/>
                  </a:lnTo>
                  <a:lnTo>
                    <a:pt x="970" y="50"/>
                  </a:lnTo>
                  <a:lnTo>
                    <a:pt x="976" y="53"/>
                  </a:lnTo>
                  <a:lnTo>
                    <a:pt x="980" y="52"/>
                  </a:lnTo>
                  <a:lnTo>
                    <a:pt x="988" y="52"/>
                  </a:lnTo>
                  <a:lnTo>
                    <a:pt x="1002" y="50"/>
                  </a:lnTo>
                  <a:lnTo>
                    <a:pt x="1004" y="49"/>
                  </a:lnTo>
                  <a:lnTo>
                    <a:pt x="1014" y="49"/>
                  </a:lnTo>
                  <a:lnTo>
                    <a:pt x="1019" y="50"/>
                  </a:lnTo>
                  <a:lnTo>
                    <a:pt x="1022" y="49"/>
                  </a:lnTo>
                  <a:lnTo>
                    <a:pt x="1028" y="49"/>
                  </a:lnTo>
                  <a:lnTo>
                    <a:pt x="1025" y="50"/>
                  </a:lnTo>
                  <a:lnTo>
                    <a:pt x="1017" y="54"/>
                  </a:lnTo>
                  <a:lnTo>
                    <a:pt x="1014" y="53"/>
                  </a:lnTo>
                  <a:lnTo>
                    <a:pt x="1013" y="53"/>
                  </a:lnTo>
                  <a:lnTo>
                    <a:pt x="1011" y="52"/>
                  </a:lnTo>
                  <a:lnTo>
                    <a:pt x="1009" y="57"/>
                  </a:lnTo>
                  <a:lnTo>
                    <a:pt x="1011" y="60"/>
                  </a:lnTo>
                  <a:lnTo>
                    <a:pt x="1010" y="60"/>
                  </a:lnTo>
                  <a:lnTo>
                    <a:pt x="1009" y="63"/>
                  </a:lnTo>
                  <a:lnTo>
                    <a:pt x="1011" y="64"/>
                  </a:lnTo>
                  <a:lnTo>
                    <a:pt x="1015" y="61"/>
                  </a:lnTo>
                  <a:lnTo>
                    <a:pt x="1015" y="58"/>
                  </a:lnTo>
                  <a:lnTo>
                    <a:pt x="1021" y="54"/>
                  </a:lnTo>
                  <a:lnTo>
                    <a:pt x="1029" y="52"/>
                  </a:lnTo>
                  <a:lnTo>
                    <a:pt x="1030" y="56"/>
                  </a:lnTo>
                  <a:lnTo>
                    <a:pt x="1030" y="61"/>
                  </a:lnTo>
                  <a:lnTo>
                    <a:pt x="1030" y="63"/>
                  </a:lnTo>
                  <a:lnTo>
                    <a:pt x="1029" y="60"/>
                  </a:lnTo>
                  <a:lnTo>
                    <a:pt x="1026" y="57"/>
                  </a:lnTo>
                  <a:lnTo>
                    <a:pt x="1026" y="54"/>
                  </a:lnTo>
                  <a:lnTo>
                    <a:pt x="1023" y="57"/>
                  </a:lnTo>
                  <a:lnTo>
                    <a:pt x="1022" y="56"/>
                  </a:lnTo>
                  <a:lnTo>
                    <a:pt x="1023" y="60"/>
                  </a:lnTo>
                  <a:lnTo>
                    <a:pt x="1026" y="61"/>
                  </a:lnTo>
                  <a:lnTo>
                    <a:pt x="1026" y="65"/>
                  </a:lnTo>
                  <a:lnTo>
                    <a:pt x="1025" y="69"/>
                  </a:lnTo>
                  <a:lnTo>
                    <a:pt x="1023" y="69"/>
                  </a:lnTo>
                  <a:lnTo>
                    <a:pt x="1022" y="71"/>
                  </a:lnTo>
                  <a:lnTo>
                    <a:pt x="1025" y="72"/>
                  </a:lnTo>
                  <a:lnTo>
                    <a:pt x="1025" y="73"/>
                  </a:lnTo>
                  <a:lnTo>
                    <a:pt x="1025" y="75"/>
                  </a:lnTo>
                  <a:lnTo>
                    <a:pt x="1028" y="75"/>
                  </a:lnTo>
                  <a:lnTo>
                    <a:pt x="1030" y="72"/>
                  </a:lnTo>
                  <a:lnTo>
                    <a:pt x="1030" y="69"/>
                  </a:lnTo>
                  <a:lnTo>
                    <a:pt x="1033" y="67"/>
                  </a:lnTo>
                  <a:lnTo>
                    <a:pt x="1032" y="64"/>
                  </a:lnTo>
                  <a:lnTo>
                    <a:pt x="1032" y="61"/>
                  </a:lnTo>
                  <a:lnTo>
                    <a:pt x="1032" y="49"/>
                  </a:lnTo>
                  <a:lnTo>
                    <a:pt x="1036" y="45"/>
                  </a:lnTo>
                  <a:lnTo>
                    <a:pt x="1041" y="43"/>
                  </a:lnTo>
                  <a:lnTo>
                    <a:pt x="1048" y="42"/>
                  </a:lnTo>
                  <a:lnTo>
                    <a:pt x="1055" y="43"/>
                  </a:lnTo>
                  <a:lnTo>
                    <a:pt x="1063" y="46"/>
                  </a:lnTo>
                  <a:lnTo>
                    <a:pt x="1067" y="50"/>
                  </a:lnTo>
                  <a:lnTo>
                    <a:pt x="1066" y="53"/>
                  </a:lnTo>
                  <a:lnTo>
                    <a:pt x="1064" y="54"/>
                  </a:lnTo>
                  <a:lnTo>
                    <a:pt x="1060" y="52"/>
                  </a:lnTo>
                  <a:lnTo>
                    <a:pt x="1059" y="53"/>
                  </a:lnTo>
                  <a:lnTo>
                    <a:pt x="1060" y="54"/>
                  </a:lnTo>
                  <a:lnTo>
                    <a:pt x="1060" y="57"/>
                  </a:lnTo>
                  <a:lnTo>
                    <a:pt x="1060" y="60"/>
                  </a:lnTo>
                  <a:lnTo>
                    <a:pt x="1059" y="61"/>
                  </a:lnTo>
                  <a:lnTo>
                    <a:pt x="1060" y="63"/>
                  </a:lnTo>
                  <a:lnTo>
                    <a:pt x="1063" y="60"/>
                  </a:lnTo>
                  <a:lnTo>
                    <a:pt x="1067" y="60"/>
                  </a:lnTo>
                  <a:lnTo>
                    <a:pt x="1070" y="57"/>
                  </a:lnTo>
                  <a:lnTo>
                    <a:pt x="1070" y="61"/>
                  </a:lnTo>
                  <a:lnTo>
                    <a:pt x="1071" y="64"/>
                  </a:lnTo>
                  <a:lnTo>
                    <a:pt x="1072" y="67"/>
                  </a:lnTo>
                  <a:lnTo>
                    <a:pt x="1074" y="68"/>
                  </a:lnTo>
                  <a:lnTo>
                    <a:pt x="1075" y="65"/>
                  </a:lnTo>
                  <a:lnTo>
                    <a:pt x="1074" y="64"/>
                  </a:lnTo>
                  <a:lnTo>
                    <a:pt x="1077" y="61"/>
                  </a:lnTo>
                  <a:lnTo>
                    <a:pt x="1081" y="63"/>
                  </a:lnTo>
                  <a:lnTo>
                    <a:pt x="1081" y="65"/>
                  </a:lnTo>
                  <a:lnTo>
                    <a:pt x="1081" y="67"/>
                  </a:lnTo>
                  <a:lnTo>
                    <a:pt x="1079" y="71"/>
                  </a:lnTo>
                  <a:lnTo>
                    <a:pt x="1079" y="72"/>
                  </a:lnTo>
                  <a:lnTo>
                    <a:pt x="1082" y="71"/>
                  </a:lnTo>
                  <a:lnTo>
                    <a:pt x="1083" y="68"/>
                  </a:lnTo>
                  <a:lnTo>
                    <a:pt x="1083" y="67"/>
                  </a:lnTo>
                  <a:lnTo>
                    <a:pt x="1085" y="69"/>
                  </a:lnTo>
                  <a:lnTo>
                    <a:pt x="1085" y="67"/>
                  </a:lnTo>
                  <a:lnTo>
                    <a:pt x="1087" y="61"/>
                  </a:lnTo>
                  <a:lnTo>
                    <a:pt x="1089" y="61"/>
                  </a:lnTo>
                  <a:lnTo>
                    <a:pt x="1090" y="61"/>
                  </a:lnTo>
                  <a:lnTo>
                    <a:pt x="1096" y="65"/>
                  </a:lnTo>
                  <a:lnTo>
                    <a:pt x="1101" y="67"/>
                  </a:lnTo>
                  <a:lnTo>
                    <a:pt x="1105" y="71"/>
                  </a:lnTo>
                  <a:lnTo>
                    <a:pt x="1104" y="72"/>
                  </a:lnTo>
                  <a:lnTo>
                    <a:pt x="1100" y="75"/>
                  </a:lnTo>
                  <a:lnTo>
                    <a:pt x="1098" y="77"/>
                  </a:lnTo>
                  <a:lnTo>
                    <a:pt x="1101" y="76"/>
                  </a:lnTo>
                  <a:lnTo>
                    <a:pt x="1106" y="75"/>
                  </a:lnTo>
                  <a:lnTo>
                    <a:pt x="1109" y="76"/>
                  </a:lnTo>
                  <a:lnTo>
                    <a:pt x="1113" y="75"/>
                  </a:lnTo>
                  <a:lnTo>
                    <a:pt x="1116" y="72"/>
                  </a:lnTo>
                  <a:lnTo>
                    <a:pt x="1119" y="71"/>
                  </a:lnTo>
                  <a:lnTo>
                    <a:pt x="1123" y="67"/>
                  </a:lnTo>
                  <a:lnTo>
                    <a:pt x="1125" y="67"/>
                  </a:lnTo>
                  <a:lnTo>
                    <a:pt x="1130" y="63"/>
                  </a:lnTo>
                  <a:lnTo>
                    <a:pt x="1132" y="61"/>
                  </a:lnTo>
                  <a:lnTo>
                    <a:pt x="1142" y="57"/>
                  </a:lnTo>
                  <a:lnTo>
                    <a:pt x="1146" y="56"/>
                  </a:lnTo>
                  <a:lnTo>
                    <a:pt x="1149" y="56"/>
                  </a:lnTo>
                  <a:lnTo>
                    <a:pt x="1149" y="56"/>
                  </a:lnTo>
                  <a:lnTo>
                    <a:pt x="1154" y="52"/>
                  </a:lnTo>
                  <a:lnTo>
                    <a:pt x="1157" y="52"/>
                  </a:lnTo>
                  <a:lnTo>
                    <a:pt x="1162" y="52"/>
                  </a:lnTo>
                  <a:lnTo>
                    <a:pt x="1174" y="56"/>
                  </a:lnTo>
                  <a:lnTo>
                    <a:pt x="1179" y="61"/>
                  </a:lnTo>
                  <a:lnTo>
                    <a:pt x="1184" y="64"/>
                  </a:lnTo>
                  <a:lnTo>
                    <a:pt x="1188" y="68"/>
                  </a:lnTo>
                  <a:lnTo>
                    <a:pt x="1191" y="72"/>
                  </a:lnTo>
                  <a:lnTo>
                    <a:pt x="1191" y="75"/>
                  </a:lnTo>
                  <a:lnTo>
                    <a:pt x="1191" y="76"/>
                  </a:lnTo>
                  <a:lnTo>
                    <a:pt x="1191" y="79"/>
                  </a:lnTo>
                  <a:lnTo>
                    <a:pt x="1193" y="84"/>
                  </a:lnTo>
                  <a:lnTo>
                    <a:pt x="1193" y="86"/>
                  </a:lnTo>
                  <a:lnTo>
                    <a:pt x="1192" y="88"/>
                  </a:lnTo>
                  <a:lnTo>
                    <a:pt x="1195" y="88"/>
                  </a:lnTo>
                  <a:lnTo>
                    <a:pt x="1198" y="84"/>
                  </a:lnTo>
                  <a:lnTo>
                    <a:pt x="1200" y="84"/>
                  </a:lnTo>
                  <a:lnTo>
                    <a:pt x="1203" y="86"/>
                  </a:lnTo>
                  <a:lnTo>
                    <a:pt x="1203" y="84"/>
                  </a:lnTo>
                  <a:lnTo>
                    <a:pt x="1206" y="84"/>
                  </a:lnTo>
                  <a:lnTo>
                    <a:pt x="1208" y="86"/>
                  </a:lnTo>
                  <a:lnTo>
                    <a:pt x="1210" y="88"/>
                  </a:lnTo>
                  <a:lnTo>
                    <a:pt x="1210" y="86"/>
                  </a:lnTo>
                  <a:lnTo>
                    <a:pt x="1208" y="83"/>
                  </a:lnTo>
                  <a:lnTo>
                    <a:pt x="1211" y="82"/>
                  </a:lnTo>
                  <a:lnTo>
                    <a:pt x="1212" y="86"/>
                  </a:lnTo>
                  <a:lnTo>
                    <a:pt x="1217" y="88"/>
                  </a:lnTo>
                  <a:lnTo>
                    <a:pt x="1218" y="94"/>
                  </a:lnTo>
                  <a:lnTo>
                    <a:pt x="1219" y="94"/>
                  </a:lnTo>
                  <a:lnTo>
                    <a:pt x="1223" y="98"/>
                  </a:lnTo>
                  <a:lnTo>
                    <a:pt x="1223" y="97"/>
                  </a:lnTo>
                  <a:lnTo>
                    <a:pt x="1222" y="92"/>
                  </a:lnTo>
                  <a:lnTo>
                    <a:pt x="1219" y="91"/>
                  </a:lnTo>
                  <a:lnTo>
                    <a:pt x="1219" y="90"/>
                  </a:lnTo>
                  <a:lnTo>
                    <a:pt x="1222" y="91"/>
                  </a:lnTo>
                  <a:lnTo>
                    <a:pt x="1223" y="90"/>
                  </a:lnTo>
                  <a:lnTo>
                    <a:pt x="1226" y="92"/>
                  </a:lnTo>
                  <a:lnTo>
                    <a:pt x="1229" y="97"/>
                  </a:lnTo>
                  <a:lnTo>
                    <a:pt x="1229" y="94"/>
                  </a:lnTo>
                  <a:lnTo>
                    <a:pt x="1223" y="87"/>
                  </a:lnTo>
                  <a:lnTo>
                    <a:pt x="1225" y="82"/>
                  </a:lnTo>
                  <a:lnTo>
                    <a:pt x="1223" y="77"/>
                  </a:lnTo>
                  <a:lnTo>
                    <a:pt x="1227" y="75"/>
                  </a:lnTo>
                  <a:lnTo>
                    <a:pt x="1232" y="73"/>
                  </a:lnTo>
                  <a:lnTo>
                    <a:pt x="1234" y="72"/>
                  </a:lnTo>
                  <a:lnTo>
                    <a:pt x="1238" y="71"/>
                  </a:lnTo>
                  <a:lnTo>
                    <a:pt x="1237" y="69"/>
                  </a:lnTo>
                  <a:lnTo>
                    <a:pt x="1238" y="68"/>
                  </a:lnTo>
                  <a:lnTo>
                    <a:pt x="1240" y="68"/>
                  </a:lnTo>
                  <a:lnTo>
                    <a:pt x="1242" y="71"/>
                  </a:lnTo>
                  <a:lnTo>
                    <a:pt x="1244" y="71"/>
                  </a:lnTo>
                  <a:lnTo>
                    <a:pt x="1248" y="69"/>
                  </a:lnTo>
                  <a:lnTo>
                    <a:pt x="1251" y="68"/>
                  </a:lnTo>
                  <a:lnTo>
                    <a:pt x="1252" y="68"/>
                  </a:lnTo>
                  <a:lnTo>
                    <a:pt x="1256" y="67"/>
                  </a:lnTo>
                  <a:lnTo>
                    <a:pt x="1261" y="67"/>
                  </a:lnTo>
                  <a:lnTo>
                    <a:pt x="1264" y="65"/>
                  </a:lnTo>
                  <a:lnTo>
                    <a:pt x="1264" y="65"/>
                  </a:lnTo>
                  <a:lnTo>
                    <a:pt x="1266" y="67"/>
                  </a:lnTo>
                  <a:lnTo>
                    <a:pt x="1267" y="68"/>
                  </a:lnTo>
                  <a:lnTo>
                    <a:pt x="1268" y="67"/>
                  </a:lnTo>
                  <a:lnTo>
                    <a:pt x="1271" y="63"/>
                  </a:lnTo>
                  <a:lnTo>
                    <a:pt x="1270" y="60"/>
                  </a:lnTo>
                  <a:lnTo>
                    <a:pt x="1270" y="57"/>
                  </a:lnTo>
                  <a:lnTo>
                    <a:pt x="1270" y="54"/>
                  </a:lnTo>
                  <a:lnTo>
                    <a:pt x="1271" y="53"/>
                  </a:lnTo>
                  <a:lnTo>
                    <a:pt x="1275" y="54"/>
                  </a:lnTo>
                  <a:lnTo>
                    <a:pt x="1276" y="57"/>
                  </a:lnTo>
                  <a:lnTo>
                    <a:pt x="1276" y="58"/>
                  </a:lnTo>
                  <a:lnTo>
                    <a:pt x="1280" y="58"/>
                  </a:lnTo>
                  <a:lnTo>
                    <a:pt x="1282" y="61"/>
                  </a:lnTo>
                  <a:lnTo>
                    <a:pt x="1282" y="64"/>
                  </a:lnTo>
                  <a:lnTo>
                    <a:pt x="1286" y="67"/>
                  </a:lnTo>
                  <a:lnTo>
                    <a:pt x="1287" y="68"/>
                  </a:lnTo>
                  <a:lnTo>
                    <a:pt x="1290" y="68"/>
                  </a:lnTo>
                  <a:lnTo>
                    <a:pt x="1295" y="69"/>
                  </a:lnTo>
                  <a:lnTo>
                    <a:pt x="1297" y="68"/>
                  </a:lnTo>
                  <a:lnTo>
                    <a:pt x="1298" y="68"/>
                  </a:lnTo>
                  <a:lnTo>
                    <a:pt x="1302" y="73"/>
                  </a:lnTo>
                  <a:lnTo>
                    <a:pt x="1302" y="76"/>
                  </a:lnTo>
                  <a:lnTo>
                    <a:pt x="1304" y="77"/>
                  </a:lnTo>
                  <a:lnTo>
                    <a:pt x="1308" y="79"/>
                  </a:lnTo>
                  <a:lnTo>
                    <a:pt x="1310" y="77"/>
                  </a:lnTo>
                  <a:lnTo>
                    <a:pt x="1313" y="76"/>
                  </a:lnTo>
                  <a:lnTo>
                    <a:pt x="1312" y="75"/>
                  </a:lnTo>
                  <a:lnTo>
                    <a:pt x="1314" y="73"/>
                  </a:lnTo>
                  <a:lnTo>
                    <a:pt x="1317" y="73"/>
                  </a:lnTo>
                  <a:lnTo>
                    <a:pt x="1317" y="72"/>
                  </a:lnTo>
                  <a:lnTo>
                    <a:pt x="1316" y="71"/>
                  </a:lnTo>
                  <a:lnTo>
                    <a:pt x="1317" y="69"/>
                  </a:lnTo>
                  <a:lnTo>
                    <a:pt x="1316" y="68"/>
                  </a:lnTo>
                  <a:lnTo>
                    <a:pt x="1317" y="67"/>
                  </a:lnTo>
                  <a:lnTo>
                    <a:pt x="1314" y="64"/>
                  </a:lnTo>
                  <a:lnTo>
                    <a:pt x="1310" y="63"/>
                  </a:lnTo>
                  <a:lnTo>
                    <a:pt x="1310" y="58"/>
                  </a:lnTo>
                  <a:lnTo>
                    <a:pt x="1306" y="54"/>
                  </a:lnTo>
                  <a:lnTo>
                    <a:pt x="1304" y="54"/>
                  </a:lnTo>
                  <a:lnTo>
                    <a:pt x="1304" y="52"/>
                  </a:lnTo>
                  <a:lnTo>
                    <a:pt x="1300" y="50"/>
                  </a:lnTo>
                  <a:lnTo>
                    <a:pt x="1297" y="52"/>
                  </a:lnTo>
                  <a:lnTo>
                    <a:pt x="1295" y="52"/>
                  </a:lnTo>
                  <a:lnTo>
                    <a:pt x="1295" y="49"/>
                  </a:lnTo>
                  <a:lnTo>
                    <a:pt x="1297" y="48"/>
                  </a:lnTo>
                  <a:lnTo>
                    <a:pt x="1294" y="43"/>
                  </a:lnTo>
                  <a:lnTo>
                    <a:pt x="1294" y="42"/>
                  </a:lnTo>
                  <a:lnTo>
                    <a:pt x="1293" y="41"/>
                  </a:lnTo>
                  <a:lnTo>
                    <a:pt x="1291" y="37"/>
                  </a:lnTo>
                  <a:lnTo>
                    <a:pt x="1287" y="34"/>
                  </a:lnTo>
                  <a:lnTo>
                    <a:pt x="1289" y="34"/>
                  </a:lnTo>
                  <a:lnTo>
                    <a:pt x="1294" y="33"/>
                  </a:lnTo>
                  <a:lnTo>
                    <a:pt x="1295" y="34"/>
                  </a:lnTo>
                  <a:lnTo>
                    <a:pt x="1301" y="34"/>
                  </a:lnTo>
                  <a:lnTo>
                    <a:pt x="1306" y="34"/>
                  </a:lnTo>
                  <a:lnTo>
                    <a:pt x="1308" y="31"/>
                  </a:lnTo>
                  <a:lnTo>
                    <a:pt x="1310" y="31"/>
                  </a:lnTo>
                  <a:lnTo>
                    <a:pt x="1313" y="33"/>
                  </a:lnTo>
                  <a:lnTo>
                    <a:pt x="1314" y="31"/>
                  </a:lnTo>
                  <a:lnTo>
                    <a:pt x="1316" y="33"/>
                  </a:lnTo>
                  <a:lnTo>
                    <a:pt x="1316" y="30"/>
                  </a:lnTo>
                  <a:lnTo>
                    <a:pt x="1320" y="30"/>
                  </a:lnTo>
                  <a:lnTo>
                    <a:pt x="1320" y="31"/>
                  </a:lnTo>
                  <a:lnTo>
                    <a:pt x="1321" y="31"/>
                  </a:lnTo>
                  <a:lnTo>
                    <a:pt x="1323" y="29"/>
                  </a:lnTo>
                  <a:lnTo>
                    <a:pt x="1325" y="29"/>
                  </a:lnTo>
                  <a:lnTo>
                    <a:pt x="1325" y="27"/>
                  </a:lnTo>
                  <a:lnTo>
                    <a:pt x="1335" y="24"/>
                  </a:lnTo>
                  <a:lnTo>
                    <a:pt x="1336" y="27"/>
                  </a:lnTo>
                  <a:lnTo>
                    <a:pt x="1336" y="24"/>
                  </a:lnTo>
                  <a:lnTo>
                    <a:pt x="1338" y="23"/>
                  </a:lnTo>
                  <a:lnTo>
                    <a:pt x="1339" y="23"/>
                  </a:lnTo>
                  <a:lnTo>
                    <a:pt x="1342" y="23"/>
                  </a:lnTo>
                  <a:lnTo>
                    <a:pt x="1343" y="23"/>
                  </a:lnTo>
                  <a:lnTo>
                    <a:pt x="1346" y="24"/>
                  </a:lnTo>
                  <a:lnTo>
                    <a:pt x="1350" y="24"/>
                  </a:lnTo>
                  <a:lnTo>
                    <a:pt x="1353" y="23"/>
                  </a:lnTo>
                  <a:lnTo>
                    <a:pt x="1353" y="24"/>
                  </a:lnTo>
                  <a:lnTo>
                    <a:pt x="1355" y="26"/>
                  </a:lnTo>
                  <a:lnTo>
                    <a:pt x="1357" y="24"/>
                  </a:lnTo>
                  <a:lnTo>
                    <a:pt x="1359" y="23"/>
                  </a:lnTo>
                  <a:lnTo>
                    <a:pt x="1368" y="26"/>
                  </a:lnTo>
                  <a:lnTo>
                    <a:pt x="1370" y="27"/>
                  </a:lnTo>
                  <a:lnTo>
                    <a:pt x="1372" y="27"/>
                  </a:lnTo>
                  <a:lnTo>
                    <a:pt x="1370" y="26"/>
                  </a:lnTo>
                  <a:lnTo>
                    <a:pt x="1373" y="26"/>
                  </a:lnTo>
                  <a:lnTo>
                    <a:pt x="1376" y="27"/>
                  </a:lnTo>
                  <a:lnTo>
                    <a:pt x="1374" y="29"/>
                  </a:lnTo>
                  <a:lnTo>
                    <a:pt x="1374" y="29"/>
                  </a:lnTo>
                  <a:lnTo>
                    <a:pt x="1378" y="27"/>
                  </a:lnTo>
                  <a:lnTo>
                    <a:pt x="1387" y="29"/>
                  </a:lnTo>
                  <a:lnTo>
                    <a:pt x="1393" y="34"/>
                  </a:lnTo>
                  <a:lnTo>
                    <a:pt x="1393" y="34"/>
                  </a:lnTo>
                  <a:lnTo>
                    <a:pt x="1391" y="34"/>
                  </a:lnTo>
                  <a:lnTo>
                    <a:pt x="1387" y="31"/>
                  </a:lnTo>
                  <a:lnTo>
                    <a:pt x="1387" y="33"/>
                  </a:lnTo>
                  <a:lnTo>
                    <a:pt x="1393" y="35"/>
                  </a:lnTo>
                  <a:lnTo>
                    <a:pt x="1397" y="35"/>
                  </a:lnTo>
                  <a:lnTo>
                    <a:pt x="1397" y="34"/>
                  </a:lnTo>
                  <a:lnTo>
                    <a:pt x="1400" y="33"/>
                  </a:lnTo>
                  <a:lnTo>
                    <a:pt x="1404" y="34"/>
                  </a:lnTo>
                  <a:lnTo>
                    <a:pt x="1404" y="31"/>
                  </a:lnTo>
                  <a:lnTo>
                    <a:pt x="1406" y="31"/>
                  </a:lnTo>
                  <a:lnTo>
                    <a:pt x="1407" y="33"/>
                  </a:lnTo>
                  <a:lnTo>
                    <a:pt x="1410" y="33"/>
                  </a:lnTo>
                  <a:lnTo>
                    <a:pt x="1411" y="34"/>
                  </a:lnTo>
                  <a:lnTo>
                    <a:pt x="1411" y="33"/>
                  </a:lnTo>
                  <a:lnTo>
                    <a:pt x="1411" y="33"/>
                  </a:lnTo>
                  <a:lnTo>
                    <a:pt x="1415" y="33"/>
                  </a:lnTo>
                  <a:lnTo>
                    <a:pt x="1415" y="34"/>
                  </a:lnTo>
                  <a:lnTo>
                    <a:pt x="1418" y="35"/>
                  </a:lnTo>
                  <a:lnTo>
                    <a:pt x="1421" y="35"/>
                  </a:lnTo>
                  <a:lnTo>
                    <a:pt x="1431" y="37"/>
                  </a:lnTo>
                  <a:lnTo>
                    <a:pt x="1430" y="35"/>
                  </a:lnTo>
                  <a:lnTo>
                    <a:pt x="1433" y="35"/>
                  </a:lnTo>
                  <a:lnTo>
                    <a:pt x="1434" y="37"/>
                  </a:lnTo>
                  <a:lnTo>
                    <a:pt x="1437" y="38"/>
                  </a:lnTo>
                  <a:lnTo>
                    <a:pt x="1435" y="35"/>
                  </a:lnTo>
                  <a:lnTo>
                    <a:pt x="1437" y="35"/>
                  </a:lnTo>
                  <a:lnTo>
                    <a:pt x="1441" y="35"/>
                  </a:lnTo>
                  <a:lnTo>
                    <a:pt x="1440" y="37"/>
                  </a:lnTo>
                  <a:lnTo>
                    <a:pt x="1442" y="39"/>
                  </a:lnTo>
                  <a:lnTo>
                    <a:pt x="1445" y="38"/>
                  </a:lnTo>
                  <a:lnTo>
                    <a:pt x="1445" y="37"/>
                  </a:lnTo>
                  <a:lnTo>
                    <a:pt x="1444" y="37"/>
                  </a:lnTo>
                  <a:lnTo>
                    <a:pt x="1448" y="37"/>
                  </a:lnTo>
                  <a:lnTo>
                    <a:pt x="1449" y="37"/>
                  </a:lnTo>
                  <a:lnTo>
                    <a:pt x="1448" y="39"/>
                  </a:lnTo>
                  <a:lnTo>
                    <a:pt x="1450" y="41"/>
                  </a:lnTo>
                  <a:lnTo>
                    <a:pt x="1455" y="42"/>
                  </a:lnTo>
                  <a:lnTo>
                    <a:pt x="1457" y="41"/>
                  </a:lnTo>
                  <a:lnTo>
                    <a:pt x="1453" y="39"/>
                  </a:lnTo>
                  <a:lnTo>
                    <a:pt x="1450" y="38"/>
                  </a:lnTo>
                  <a:lnTo>
                    <a:pt x="1450" y="37"/>
                  </a:lnTo>
                  <a:lnTo>
                    <a:pt x="1453" y="37"/>
                  </a:lnTo>
                  <a:lnTo>
                    <a:pt x="1456" y="37"/>
                  </a:lnTo>
                  <a:lnTo>
                    <a:pt x="1460" y="39"/>
                  </a:lnTo>
                  <a:lnTo>
                    <a:pt x="1461" y="42"/>
                  </a:lnTo>
                  <a:lnTo>
                    <a:pt x="1463" y="42"/>
                  </a:lnTo>
                  <a:lnTo>
                    <a:pt x="1463" y="41"/>
                  </a:lnTo>
                  <a:lnTo>
                    <a:pt x="1463" y="39"/>
                  </a:lnTo>
                  <a:lnTo>
                    <a:pt x="1464" y="41"/>
                  </a:lnTo>
                  <a:lnTo>
                    <a:pt x="1465" y="42"/>
                  </a:lnTo>
                  <a:lnTo>
                    <a:pt x="1465" y="42"/>
                  </a:lnTo>
                  <a:lnTo>
                    <a:pt x="1468" y="45"/>
                  </a:lnTo>
                  <a:lnTo>
                    <a:pt x="1472" y="52"/>
                  </a:lnTo>
                  <a:lnTo>
                    <a:pt x="1476" y="53"/>
                  </a:lnTo>
                  <a:lnTo>
                    <a:pt x="1476" y="56"/>
                  </a:lnTo>
                  <a:lnTo>
                    <a:pt x="1479" y="57"/>
                  </a:lnTo>
                  <a:lnTo>
                    <a:pt x="1480" y="60"/>
                  </a:lnTo>
                  <a:lnTo>
                    <a:pt x="1479" y="61"/>
                  </a:lnTo>
                  <a:lnTo>
                    <a:pt x="1479" y="64"/>
                  </a:lnTo>
                  <a:lnTo>
                    <a:pt x="1482" y="65"/>
                  </a:lnTo>
                  <a:lnTo>
                    <a:pt x="1483" y="63"/>
                  </a:lnTo>
                  <a:lnTo>
                    <a:pt x="1487" y="63"/>
                  </a:lnTo>
                  <a:lnTo>
                    <a:pt x="1489" y="67"/>
                  </a:lnTo>
                  <a:lnTo>
                    <a:pt x="1491" y="67"/>
                  </a:lnTo>
                  <a:lnTo>
                    <a:pt x="1491" y="67"/>
                  </a:lnTo>
                  <a:lnTo>
                    <a:pt x="1490" y="65"/>
                  </a:lnTo>
                  <a:lnTo>
                    <a:pt x="1490" y="63"/>
                  </a:lnTo>
                  <a:lnTo>
                    <a:pt x="1491" y="61"/>
                  </a:lnTo>
                  <a:lnTo>
                    <a:pt x="1493" y="61"/>
                  </a:lnTo>
                  <a:lnTo>
                    <a:pt x="1494" y="65"/>
                  </a:lnTo>
                  <a:lnTo>
                    <a:pt x="1495" y="67"/>
                  </a:lnTo>
                  <a:lnTo>
                    <a:pt x="1495" y="65"/>
                  </a:lnTo>
                  <a:lnTo>
                    <a:pt x="1494" y="63"/>
                  </a:lnTo>
                  <a:lnTo>
                    <a:pt x="1494" y="60"/>
                  </a:lnTo>
                  <a:lnTo>
                    <a:pt x="1493" y="58"/>
                  </a:lnTo>
                  <a:lnTo>
                    <a:pt x="1489" y="60"/>
                  </a:lnTo>
                  <a:lnTo>
                    <a:pt x="1486" y="60"/>
                  </a:lnTo>
                  <a:lnTo>
                    <a:pt x="1486" y="58"/>
                  </a:lnTo>
                  <a:lnTo>
                    <a:pt x="1487" y="57"/>
                  </a:lnTo>
                  <a:lnTo>
                    <a:pt x="1486" y="54"/>
                  </a:lnTo>
                  <a:lnTo>
                    <a:pt x="1482" y="50"/>
                  </a:lnTo>
                  <a:lnTo>
                    <a:pt x="1480" y="49"/>
                  </a:lnTo>
                  <a:lnTo>
                    <a:pt x="1479" y="46"/>
                  </a:lnTo>
                  <a:lnTo>
                    <a:pt x="1478" y="46"/>
                  </a:lnTo>
                  <a:lnTo>
                    <a:pt x="1475" y="49"/>
                  </a:lnTo>
                  <a:lnTo>
                    <a:pt x="1474" y="48"/>
                  </a:lnTo>
                  <a:lnTo>
                    <a:pt x="1476" y="46"/>
                  </a:lnTo>
                  <a:lnTo>
                    <a:pt x="1478" y="42"/>
                  </a:lnTo>
                  <a:lnTo>
                    <a:pt x="1482" y="38"/>
                  </a:lnTo>
                  <a:lnTo>
                    <a:pt x="1483" y="38"/>
                  </a:lnTo>
                  <a:lnTo>
                    <a:pt x="1482" y="39"/>
                  </a:lnTo>
                  <a:lnTo>
                    <a:pt x="1484" y="43"/>
                  </a:lnTo>
                  <a:lnTo>
                    <a:pt x="1487" y="43"/>
                  </a:lnTo>
                  <a:lnTo>
                    <a:pt x="1487" y="43"/>
                  </a:lnTo>
                  <a:lnTo>
                    <a:pt x="1484" y="41"/>
                  </a:lnTo>
                  <a:lnTo>
                    <a:pt x="1484" y="39"/>
                  </a:lnTo>
                  <a:lnTo>
                    <a:pt x="1486" y="39"/>
                  </a:lnTo>
                  <a:lnTo>
                    <a:pt x="1489" y="37"/>
                  </a:lnTo>
                  <a:lnTo>
                    <a:pt x="1489" y="35"/>
                  </a:lnTo>
                  <a:lnTo>
                    <a:pt x="1486" y="35"/>
                  </a:lnTo>
                  <a:lnTo>
                    <a:pt x="1487" y="34"/>
                  </a:lnTo>
                  <a:lnTo>
                    <a:pt x="1489" y="34"/>
                  </a:lnTo>
                  <a:lnTo>
                    <a:pt x="1491" y="34"/>
                  </a:lnTo>
                  <a:lnTo>
                    <a:pt x="1493" y="30"/>
                  </a:lnTo>
                  <a:lnTo>
                    <a:pt x="1495" y="30"/>
                  </a:lnTo>
                  <a:lnTo>
                    <a:pt x="1495" y="31"/>
                  </a:lnTo>
                  <a:lnTo>
                    <a:pt x="1497" y="31"/>
                  </a:lnTo>
                  <a:lnTo>
                    <a:pt x="1499" y="31"/>
                  </a:lnTo>
                  <a:lnTo>
                    <a:pt x="1499" y="33"/>
                  </a:lnTo>
                  <a:lnTo>
                    <a:pt x="1501" y="35"/>
                  </a:lnTo>
                  <a:lnTo>
                    <a:pt x="1505" y="35"/>
                  </a:lnTo>
                  <a:lnTo>
                    <a:pt x="1506" y="34"/>
                  </a:lnTo>
                  <a:lnTo>
                    <a:pt x="1513" y="35"/>
                  </a:lnTo>
                  <a:lnTo>
                    <a:pt x="1513" y="38"/>
                  </a:lnTo>
                  <a:lnTo>
                    <a:pt x="1513" y="39"/>
                  </a:lnTo>
                  <a:lnTo>
                    <a:pt x="1514" y="39"/>
                  </a:lnTo>
                  <a:lnTo>
                    <a:pt x="1516" y="37"/>
                  </a:lnTo>
                  <a:lnTo>
                    <a:pt x="1517" y="37"/>
                  </a:lnTo>
                  <a:lnTo>
                    <a:pt x="1517" y="41"/>
                  </a:lnTo>
                  <a:lnTo>
                    <a:pt x="1520" y="39"/>
                  </a:lnTo>
                  <a:lnTo>
                    <a:pt x="1521" y="37"/>
                  </a:lnTo>
                  <a:lnTo>
                    <a:pt x="1524" y="37"/>
                  </a:lnTo>
                  <a:lnTo>
                    <a:pt x="1524" y="39"/>
                  </a:lnTo>
                  <a:lnTo>
                    <a:pt x="1523" y="41"/>
                  </a:lnTo>
                  <a:lnTo>
                    <a:pt x="1523" y="42"/>
                  </a:lnTo>
                  <a:lnTo>
                    <a:pt x="1524" y="49"/>
                  </a:lnTo>
                  <a:lnTo>
                    <a:pt x="1523" y="52"/>
                  </a:lnTo>
                  <a:lnTo>
                    <a:pt x="1524" y="53"/>
                  </a:lnTo>
                  <a:lnTo>
                    <a:pt x="1525" y="52"/>
                  </a:lnTo>
                  <a:lnTo>
                    <a:pt x="1527" y="54"/>
                  </a:lnTo>
                  <a:lnTo>
                    <a:pt x="1529" y="56"/>
                  </a:lnTo>
                  <a:lnTo>
                    <a:pt x="1531" y="58"/>
                  </a:lnTo>
                  <a:lnTo>
                    <a:pt x="1529" y="60"/>
                  </a:lnTo>
                  <a:lnTo>
                    <a:pt x="1525" y="60"/>
                  </a:lnTo>
                  <a:lnTo>
                    <a:pt x="1521" y="60"/>
                  </a:lnTo>
                  <a:lnTo>
                    <a:pt x="1527" y="61"/>
                  </a:lnTo>
                  <a:lnTo>
                    <a:pt x="1528" y="64"/>
                  </a:lnTo>
                  <a:lnTo>
                    <a:pt x="1528" y="65"/>
                  </a:lnTo>
                  <a:lnTo>
                    <a:pt x="1525" y="67"/>
                  </a:lnTo>
                  <a:lnTo>
                    <a:pt x="1523" y="71"/>
                  </a:lnTo>
                  <a:lnTo>
                    <a:pt x="1523" y="69"/>
                  </a:lnTo>
                  <a:lnTo>
                    <a:pt x="1518" y="71"/>
                  </a:lnTo>
                  <a:lnTo>
                    <a:pt x="1516" y="71"/>
                  </a:lnTo>
                  <a:lnTo>
                    <a:pt x="1513" y="73"/>
                  </a:lnTo>
                  <a:lnTo>
                    <a:pt x="1517" y="72"/>
                  </a:lnTo>
                  <a:lnTo>
                    <a:pt x="1518" y="73"/>
                  </a:lnTo>
                  <a:lnTo>
                    <a:pt x="1520" y="75"/>
                  </a:lnTo>
                  <a:lnTo>
                    <a:pt x="1521" y="73"/>
                  </a:lnTo>
                  <a:lnTo>
                    <a:pt x="1523" y="73"/>
                  </a:lnTo>
                  <a:lnTo>
                    <a:pt x="1523" y="76"/>
                  </a:lnTo>
                  <a:lnTo>
                    <a:pt x="1525" y="79"/>
                  </a:lnTo>
                  <a:lnTo>
                    <a:pt x="1523" y="80"/>
                  </a:lnTo>
                  <a:lnTo>
                    <a:pt x="1523" y="83"/>
                  </a:lnTo>
                  <a:lnTo>
                    <a:pt x="1525" y="80"/>
                  </a:lnTo>
                  <a:lnTo>
                    <a:pt x="1528" y="80"/>
                  </a:lnTo>
                  <a:lnTo>
                    <a:pt x="1532" y="83"/>
                  </a:lnTo>
                  <a:lnTo>
                    <a:pt x="1531" y="84"/>
                  </a:lnTo>
                  <a:lnTo>
                    <a:pt x="1533" y="87"/>
                  </a:lnTo>
                  <a:lnTo>
                    <a:pt x="1531" y="90"/>
                  </a:lnTo>
                  <a:lnTo>
                    <a:pt x="1532" y="90"/>
                  </a:lnTo>
                  <a:lnTo>
                    <a:pt x="1532" y="94"/>
                  </a:lnTo>
                  <a:lnTo>
                    <a:pt x="1529" y="95"/>
                  </a:lnTo>
                  <a:lnTo>
                    <a:pt x="1529" y="97"/>
                  </a:lnTo>
                  <a:lnTo>
                    <a:pt x="1531" y="98"/>
                  </a:lnTo>
                  <a:lnTo>
                    <a:pt x="1531" y="97"/>
                  </a:lnTo>
                  <a:lnTo>
                    <a:pt x="1532" y="95"/>
                  </a:lnTo>
                  <a:lnTo>
                    <a:pt x="1533" y="98"/>
                  </a:lnTo>
                  <a:lnTo>
                    <a:pt x="1533" y="101"/>
                  </a:lnTo>
                  <a:lnTo>
                    <a:pt x="1536" y="99"/>
                  </a:lnTo>
                  <a:lnTo>
                    <a:pt x="1537" y="102"/>
                  </a:lnTo>
                  <a:lnTo>
                    <a:pt x="1537" y="99"/>
                  </a:lnTo>
                  <a:lnTo>
                    <a:pt x="1539" y="98"/>
                  </a:lnTo>
                  <a:lnTo>
                    <a:pt x="1540" y="99"/>
                  </a:lnTo>
                  <a:lnTo>
                    <a:pt x="1543" y="99"/>
                  </a:lnTo>
                  <a:lnTo>
                    <a:pt x="1543" y="102"/>
                  </a:lnTo>
                  <a:lnTo>
                    <a:pt x="1542" y="103"/>
                  </a:lnTo>
                  <a:lnTo>
                    <a:pt x="1539" y="102"/>
                  </a:lnTo>
                  <a:lnTo>
                    <a:pt x="1537" y="103"/>
                  </a:lnTo>
                  <a:lnTo>
                    <a:pt x="1540" y="106"/>
                  </a:lnTo>
                  <a:lnTo>
                    <a:pt x="1542" y="105"/>
                  </a:lnTo>
                  <a:lnTo>
                    <a:pt x="1544" y="109"/>
                  </a:lnTo>
                  <a:lnTo>
                    <a:pt x="1543" y="110"/>
                  </a:lnTo>
                  <a:lnTo>
                    <a:pt x="1540" y="111"/>
                  </a:lnTo>
                  <a:lnTo>
                    <a:pt x="1537" y="107"/>
                  </a:lnTo>
                  <a:lnTo>
                    <a:pt x="1537" y="107"/>
                  </a:lnTo>
                  <a:lnTo>
                    <a:pt x="1537" y="111"/>
                  </a:lnTo>
                  <a:lnTo>
                    <a:pt x="1536" y="113"/>
                  </a:lnTo>
                  <a:lnTo>
                    <a:pt x="1535" y="113"/>
                  </a:lnTo>
                  <a:lnTo>
                    <a:pt x="1535" y="111"/>
                  </a:lnTo>
                  <a:lnTo>
                    <a:pt x="1533" y="113"/>
                  </a:lnTo>
                  <a:lnTo>
                    <a:pt x="1531" y="111"/>
                  </a:lnTo>
                  <a:lnTo>
                    <a:pt x="1525" y="111"/>
                  </a:lnTo>
                  <a:lnTo>
                    <a:pt x="1524" y="111"/>
                  </a:lnTo>
                  <a:lnTo>
                    <a:pt x="1521" y="111"/>
                  </a:lnTo>
                  <a:lnTo>
                    <a:pt x="1523" y="110"/>
                  </a:lnTo>
                  <a:lnTo>
                    <a:pt x="1521" y="109"/>
                  </a:lnTo>
                  <a:lnTo>
                    <a:pt x="1520" y="109"/>
                  </a:lnTo>
                  <a:lnTo>
                    <a:pt x="1520" y="111"/>
                  </a:lnTo>
                  <a:lnTo>
                    <a:pt x="1518" y="111"/>
                  </a:lnTo>
                  <a:lnTo>
                    <a:pt x="1518" y="111"/>
                  </a:lnTo>
                  <a:lnTo>
                    <a:pt x="1520" y="114"/>
                  </a:lnTo>
                  <a:lnTo>
                    <a:pt x="1517" y="116"/>
                  </a:lnTo>
                  <a:lnTo>
                    <a:pt x="1517" y="116"/>
                  </a:lnTo>
                  <a:lnTo>
                    <a:pt x="1517" y="116"/>
                  </a:lnTo>
                  <a:lnTo>
                    <a:pt x="1516" y="114"/>
                  </a:lnTo>
                  <a:lnTo>
                    <a:pt x="1510" y="116"/>
                  </a:lnTo>
                  <a:lnTo>
                    <a:pt x="1509" y="116"/>
                  </a:lnTo>
                  <a:lnTo>
                    <a:pt x="1510" y="114"/>
                  </a:lnTo>
                  <a:lnTo>
                    <a:pt x="1509" y="110"/>
                  </a:lnTo>
                  <a:lnTo>
                    <a:pt x="1508" y="110"/>
                  </a:lnTo>
                  <a:lnTo>
                    <a:pt x="1502" y="106"/>
                  </a:lnTo>
                  <a:lnTo>
                    <a:pt x="1502" y="105"/>
                  </a:lnTo>
                  <a:lnTo>
                    <a:pt x="1502" y="105"/>
                  </a:lnTo>
                  <a:lnTo>
                    <a:pt x="1498" y="103"/>
                  </a:lnTo>
                  <a:lnTo>
                    <a:pt x="1498" y="105"/>
                  </a:lnTo>
                  <a:lnTo>
                    <a:pt x="1494" y="106"/>
                  </a:lnTo>
                  <a:lnTo>
                    <a:pt x="1491" y="109"/>
                  </a:lnTo>
                  <a:lnTo>
                    <a:pt x="1490" y="109"/>
                  </a:lnTo>
                  <a:lnTo>
                    <a:pt x="1490" y="106"/>
                  </a:lnTo>
                  <a:lnTo>
                    <a:pt x="1489" y="103"/>
                  </a:lnTo>
                  <a:lnTo>
                    <a:pt x="1490" y="106"/>
                  </a:lnTo>
                  <a:lnTo>
                    <a:pt x="1489" y="110"/>
                  </a:lnTo>
                  <a:lnTo>
                    <a:pt x="1490" y="113"/>
                  </a:lnTo>
                  <a:lnTo>
                    <a:pt x="1489" y="116"/>
                  </a:lnTo>
                  <a:lnTo>
                    <a:pt x="1484" y="122"/>
                  </a:lnTo>
                  <a:lnTo>
                    <a:pt x="1483" y="121"/>
                  </a:lnTo>
                  <a:lnTo>
                    <a:pt x="1483" y="117"/>
                  </a:lnTo>
                  <a:lnTo>
                    <a:pt x="1480" y="117"/>
                  </a:lnTo>
                  <a:lnTo>
                    <a:pt x="1478" y="118"/>
                  </a:lnTo>
                  <a:lnTo>
                    <a:pt x="1472" y="113"/>
                  </a:lnTo>
                  <a:lnTo>
                    <a:pt x="1472" y="111"/>
                  </a:lnTo>
                  <a:lnTo>
                    <a:pt x="1472" y="106"/>
                  </a:lnTo>
                  <a:lnTo>
                    <a:pt x="1469" y="105"/>
                  </a:lnTo>
                  <a:lnTo>
                    <a:pt x="1468" y="103"/>
                  </a:lnTo>
                  <a:lnTo>
                    <a:pt x="1468" y="102"/>
                  </a:lnTo>
                  <a:lnTo>
                    <a:pt x="1467" y="103"/>
                  </a:lnTo>
                  <a:lnTo>
                    <a:pt x="1467" y="105"/>
                  </a:lnTo>
                  <a:lnTo>
                    <a:pt x="1467" y="107"/>
                  </a:lnTo>
                  <a:lnTo>
                    <a:pt x="1468" y="109"/>
                  </a:lnTo>
                  <a:lnTo>
                    <a:pt x="1468" y="110"/>
                  </a:lnTo>
                  <a:lnTo>
                    <a:pt x="1464" y="109"/>
                  </a:lnTo>
                  <a:lnTo>
                    <a:pt x="1461" y="105"/>
                  </a:lnTo>
                  <a:lnTo>
                    <a:pt x="1461" y="105"/>
                  </a:lnTo>
                  <a:lnTo>
                    <a:pt x="1463" y="109"/>
                  </a:lnTo>
                  <a:lnTo>
                    <a:pt x="1461" y="109"/>
                  </a:lnTo>
                  <a:lnTo>
                    <a:pt x="1461" y="110"/>
                  </a:lnTo>
                  <a:lnTo>
                    <a:pt x="1464" y="110"/>
                  </a:lnTo>
                  <a:lnTo>
                    <a:pt x="1467" y="113"/>
                  </a:lnTo>
                  <a:lnTo>
                    <a:pt x="1465" y="114"/>
                  </a:lnTo>
                  <a:lnTo>
                    <a:pt x="1461" y="116"/>
                  </a:lnTo>
                  <a:lnTo>
                    <a:pt x="1461" y="117"/>
                  </a:lnTo>
                  <a:lnTo>
                    <a:pt x="1463" y="117"/>
                  </a:lnTo>
                  <a:lnTo>
                    <a:pt x="1469" y="125"/>
                  </a:lnTo>
                  <a:lnTo>
                    <a:pt x="1474" y="126"/>
                  </a:lnTo>
                  <a:lnTo>
                    <a:pt x="1476" y="125"/>
                  </a:lnTo>
                  <a:lnTo>
                    <a:pt x="1480" y="126"/>
                  </a:lnTo>
                  <a:lnTo>
                    <a:pt x="1480" y="130"/>
                  </a:lnTo>
                  <a:lnTo>
                    <a:pt x="1480" y="130"/>
                  </a:lnTo>
                  <a:lnTo>
                    <a:pt x="1478" y="128"/>
                  </a:lnTo>
                  <a:lnTo>
                    <a:pt x="1478" y="126"/>
                  </a:lnTo>
                  <a:lnTo>
                    <a:pt x="1479" y="130"/>
                  </a:lnTo>
                  <a:lnTo>
                    <a:pt x="1482" y="133"/>
                  </a:lnTo>
                  <a:lnTo>
                    <a:pt x="1483" y="136"/>
                  </a:lnTo>
                  <a:lnTo>
                    <a:pt x="1484" y="139"/>
                  </a:lnTo>
                  <a:lnTo>
                    <a:pt x="1484" y="144"/>
                  </a:lnTo>
                  <a:lnTo>
                    <a:pt x="1483" y="151"/>
                  </a:lnTo>
                  <a:lnTo>
                    <a:pt x="1484" y="156"/>
                  </a:lnTo>
                  <a:lnTo>
                    <a:pt x="1484" y="159"/>
                  </a:lnTo>
                  <a:lnTo>
                    <a:pt x="1484" y="160"/>
                  </a:lnTo>
                  <a:lnTo>
                    <a:pt x="1482" y="164"/>
                  </a:lnTo>
                  <a:lnTo>
                    <a:pt x="1482" y="167"/>
                  </a:lnTo>
                  <a:lnTo>
                    <a:pt x="1480" y="170"/>
                  </a:lnTo>
                  <a:lnTo>
                    <a:pt x="1480" y="167"/>
                  </a:lnTo>
                  <a:lnTo>
                    <a:pt x="1480" y="166"/>
                  </a:lnTo>
                  <a:lnTo>
                    <a:pt x="1475" y="170"/>
                  </a:lnTo>
                  <a:lnTo>
                    <a:pt x="1474" y="169"/>
                  </a:lnTo>
                  <a:lnTo>
                    <a:pt x="1471" y="170"/>
                  </a:lnTo>
                  <a:lnTo>
                    <a:pt x="1469" y="170"/>
                  </a:lnTo>
                  <a:lnTo>
                    <a:pt x="1468" y="167"/>
                  </a:lnTo>
                  <a:lnTo>
                    <a:pt x="1465" y="167"/>
                  </a:lnTo>
                  <a:lnTo>
                    <a:pt x="1461" y="164"/>
                  </a:lnTo>
                  <a:lnTo>
                    <a:pt x="1459" y="162"/>
                  </a:lnTo>
                  <a:lnTo>
                    <a:pt x="1456" y="162"/>
                  </a:lnTo>
                  <a:lnTo>
                    <a:pt x="1455" y="160"/>
                  </a:lnTo>
                  <a:lnTo>
                    <a:pt x="1452" y="160"/>
                  </a:lnTo>
                  <a:lnTo>
                    <a:pt x="1450" y="164"/>
                  </a:lnTo>
                  <a:lnTo>
                    <a:pt x="1448" y="163"/>
                  </a:lnTo>
                  <a:lnTo>
                    <a:pt x="1450" y="164"/>
                  </a:lnTo>
                  <a:lnTo>
                    <a:pt x="1453" y="164"/>
                  </a:lnTo>
                  <a:lnTo>
                    <a:pt x="1455" y="163"/>
                  </a:lnTo>
                  <a:lnTo>
                    <a:pt x="1461" y="166"/>
                  </a:lnTo>
                  <a:lnTo>
                    <a:pt x="1463" y="167"/>
                  </a:lnTo>
                  <a:lnTo>
                    <a:pt x="1459" y="170"/>
                  </a:lnTo>
                  <a:lnTo>
                    <a:pt x="1457" y="169"/>
                  </a:lnTo>
                  <a:lnTo>
                    <a:pt x="1455" y="169"/>
                  </a:lnTo>
                  <a:lnTo>
                    <a:pt x="1455" y="171"/>
                  </a:lnTo>
                  <a:lnTo>
                    <a:pt x="1452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2" y="171"/>
                  </a:lnTo>
                  <a:lnTo>
                    <a:pt x="1456" y="174"/>
                  </a:lnTo>
                  <a:lnTo>
                    <a:pt x="1455" y="177"/>
                  </a:lnTo>
                  <a:lnTo>
                    <a:pt x="1456" y="181"/>
                  </a:lnTo>
                  <a:lnTo>
                    <a:pt x="1459" y="182"/>
                  </a:lnTo>
                  <a:lnTo>
                    <a:pt x="1457" y="181"/>
                  </a:lnTo>
                  <a:lnTo>
                    <a:pt x="1457" y="175"/>
                  </a:lnTo>
                  <a:lnTo>
                    <a:pt x="1459" y="175"/>
                  </a:lnTo>
                  <a:lnTo>
                    <a:pt x="1461" y="175"/>
                  </a:lnTo>
                  <a:lnTo>
                    <a:pt x="1461" y="174"/>
                  </a:lnTo>
                  <a:lnTo>
                    <a:pt x="1464" y="171"/>
                  </a:lnTo>
                  <a:lnTo>
                    <a:pt x="1467" y="170"/>
                  </a:lnTo>
                  <a:lnTo>
                    <a:pt x="1468" y="171"/>
                  </a:lnTo>
                  <a:lnTo>
                    <a:pt x="1468" y="173"/>
                  </a:lnTo>
                  <a:lnTo>
                    <a:pt x="1471" y="178"/>
                  </a:lnTo>
                  <a:lnTo>
                    <a:pt x="1474" y="178"/>
                  </a:lnTo>
                  <a:lnTo>
                    <a:pt x="1476" y="181"/>
                  </a:lnTo>
                  <a:lnTo>
                    <a:pt x="1480" y="181"/>
                  </a:lnTo>
                  <a:lnTo>
                    <a:pt x="1482" y="178"/>
                  </a:lnTo>
                  <a:lnTo>
                    <a:pt x="1480" y="177"/>
                  </a:lnTo>
                  <a:lnTo>
                    <a:pt x="1482" y="177"/>
                  </a:lnTo>
                  <a:lnTo>
                    <a:pt x="1487" y="182"/>
                  </a:lnTo>
                  <a:lnTo>
                    <a:pt x="1489" y="185"/>
                  </a:lnTo>
                  <a:lnTo>
                    <a:pt x="1486" y="184"/>
                  </a:lnTo>
                  <a:lnTo>
                    <a:pt x="1486" y="186"/>
                  </a:lnTo>
                  <a:lnTo>
                    <a:pt x="1490" y="190"/>
                  </a:lnTo>
                  <a:lnTo>
                    <a:pt x="1493" y="190"/>
                  </a:lnTo>
                  <a:lnTo>
                    <a:pt x="1491" y="189"/>
                  </a:lnTo>
                  <a:lnTo>
                    <a:pt x="1493" y="186"/>
                  </a:lnTo>
                  <a:lnTo>
                    <a:pt x="1495" y="188"/>
                  </a:lnTo>
                  <a:lnTo>
                    <a:pt x="1501" y="196"/>
                  </a:lnTo>
                  <a:lnTo>
                    <a:pt x="1498" y="194"/>
                  </a:lnTo>
                  <a:lnTo>
                    <a:pt x="1497" y="194"/>
                  </a:lnTo>
                  <a:lnTo>
                    <a:pt x="1497" y="194"/>
                  </a:lnTo>
                  <a:lnTo>
                    <a:pt x="1498" y="197"/>
                  </a:lnTo>
                  <a:lnTo>
                    <a:pt x="1495" y="198"/>
                  </a:lnTo>
                  <a:lnTo>
                    <a:pt x="1495" y="201"/>
                  </a:lnTo>
                  <a:lnTo>
                    <a:pt x="1497" y="203"/>
                  </a:lnTo>
                  <a:lnTo>
                    <a:pt x="1498" y="203"/>
                  </a:lnTo>
                  <a:lnTo>
                    <a:pt x="1499" y="200"/>
                  </a:lnTo>
                  <a:lnTo>
                    <a:pt x="1499" y="198"/>
                  </a:lnTo>
                  <a:lnTo>
                    <a:pt x="1502" y="200"/>
                  </a:lnTo>
                  <a:lnTo>
                    <a:pt x="1502" y="197"/>
                  </a:lnTo>
                  <a:lnTo>
                    <a:pt x="1505" y="201"/>
                  </a:lnTo>
                  <a:lnTo>
                    <a:pt x="1509" y="204"/>
                  </a:lnTo>
                  <a:lnTo>
                    <a:pt x="1514" y="205"/>
                  </a:lnTo>
                  <a:lnTo>
                    <a:pt x="1518" y="208"/>
                  </a:lnTo>
                  <a:lnTo>
                    <a:pt x="1516" y="209"/>
                  </a:lnTo>
                  <a:lnTo>
                    <a:pt x="1520" y="215"/>
                  </a:lnTo>
                  <a:lnTo>
                    <a:pt x="1521" y="215"/>
                  </a:lnTo>
                  <a:lnTo>
                    <a:pt x="1525" y="220"/>
                  </a:lnTo>
                  <a:lnTo>
                    <a:pt x="1525" y="227"/>
                  </a:lnTo>
                  <a:lnTo>
                    <a:pt x="1524" y="227"/>
                  </a:lnTo>
                  <a:lnTo>
                    <a:pt x="1524" y="228"/>
                  </a:lnTo>
                  <a:lnTo>
                    <a:pt x="1525" y="230"/>
                  </a:lnTo>
                  <a:lnTo>
                    <a:pt x="1527" y="232"/>
                  </a:lnTo>
                  <a:lnTo>
                    <a:pt x="1527" y="232"/>
                  </a:lnTo>
                  <a:lnTo>
                    <a:pt x="1524" y="231"/>
                  </a:lnTo>
                  <a:lnTo>
                    <a:pt x="1516" y="231"/>
                  </a:lnTo>
                  <a:lnTo>
                    <a:pt x="1513" y="230"/>
                  </a:lnTo>
                  <a:lnTo>
                    <a:pt x="1512" y="231"/>
                  </a:lnTo>
                  <a:lnTo>
                    <a:pt x="1509" y="231"/>
                  </a:lnTo>
                  <a:lnTo>
                    <a:pt x="1509" y="228"/>
                  </a:lnTo>
                  <a:lnTo>
                    <a:pt x="1508" y="227"/>
                  </a:lnTo>
                  <a:lnTo>
                    <a:pt x="1508" y="228"/>
                  </a:lnTo>
                  <a:lnTo>
                    <a:pt x="1508" y="231"/>
                  </a:lnTo>
                  <a:lnTo>
                    <a:pt x="1505" y="232"/>
                  </a:lnTo>
                  <a:lnTo>
                    <a:pt x="1502" y="232"/>
                  </a:lnTo>
                  <a:lnTo>
                    <a:pt x="1501" y="234"/>
                  </a:lnTo>
                  <a:lnTo>
                    <a:pt x="1502" y="235"/>
                  </a:lnTo>
                  <a:lnTo>
                    <a:pt x="1498" y="238"/>
                  </a:lnTo>
                  <a:lnTo>
                    <a:pt x="1497" y="238"/>
                  </a:lnTo>
                  <a:lnTo>
                    <a:pt x="1497" y="241"/>
                  </a:lnTo>
                  <a:lnTo>
                    <a:pt x="1498" y="241"/>
                  </a:lnTo>
                  <a:lnTo>
                    <a:pt x="1494" y="246"/>
                  </a:lnTo>
                  <a:lnTo>
                    <a:pt x="1493" y="247"/>
                  </a:lnTo>
                  <a:lnTo>
                    <a:pt x="1493" y="246"/>
                  </a:lnTo>
                  <a:lnTo>
                    <a:pt x="1490" y="246"/>
                  </a:lnTo>
                  <a:lnTo>
                    <a:pt x="1490" y="250"/>
                  </a:lnTo>
                  <a:lnTo>
                    <a:pt x="1493" y="253"/>
                  </a:lnTo>
                  <a:lnTo>
                    <a:pt x="1490" y="256"/>
                  </a:lnTo>
                  <a:lnTo>
                    <a:pt x="1489" y="254"/>
                  </a:lnTo>
                  <a:lnTo>
                    <a:pt x="1487" y="256"/>
                  </a:lnTo>
                  <a:lnTo>
                    <a:pt x="1489" y="258"/>
                  </a:lnTo>
                  <a:lnTo>
                    <a:pt x="1486" y="261"/>
                  </a:lnTo>
                  <a:lnTo>
                    <a:pt x="1484" y="261"/>
                  </a:lnTo>
                  <a:lnTo>
                    <a:pt x="1486" y="262"/>
                  </a:lnTo>
                  <a:lnTo>
                    <a:pt x="1484" y="264"/>
                  </a:lnTo>
                  <a:lnTo>
                    <a:pt x="1484" y="265"/>
                  </a:lnTo>
                  <a:lnTo>
                    <a:pt x="1483" y="265"/>
                  </a:lnTo>
                  <a:lnTo>
                    <a:pt x="1480" y="266"/>
                  </a:lnTo>
                  <a:lnTo>
                    <a:pt x="1482" y="268"/>
                  </a:lnTo>
                  <a:lnTo>
                    <a:pt x="1482" y="269"/>
                  </a:lnTo>
                  <a:lnTo>
                    <a:pt x="1480" y="271"/>
                  </a:lnTo>
                  <a:lnTo>
                    <a:pt x="1482" y="273"/>
                  </a:lnTo>
                  <a:lnTo>
                    <a:pt x="1480" y="275"/>
                  </a:lnTo>
                  <a:lnTo>
                    <a:pt x="1479" y="275"/>
                  </a:lnTo>
                  <a:lnTo>
                    <a:pt x="1478" y="273"/>
                  </a:lnTo>
                  <a:lnTo>
                    <a:pt x="1476" y="275"/>
                  </a:lnTo>
                  <a:lnTo>
                    <a:pt x="1478" y="276"/>
                  </a:lnTo>
                  <a:lnTo>
                    <a:pt x="1480" y="277"/>
                  </a:lnTo>
                  <a:lnTo>
                    <a:pt x="1480" y="280"/>
                  </a:lnTo>
                  <a:lnTo>
                    <a:pt x="1476" y="280"/>
                  </a:lnTo>
                  <a:lnTo>
                    <a:pt x="1476" y="281"/>
                  </a:lnTo>
                  <a:lnTo>
                    <a:pt x="1478" y="283"/>
                  </a:lnTo>
                  <a:lnTo>
                    <a:pt x="1480" y="287"/>
                  </a:lnTo>
                  <a:lnTo>
                    <a:pt x="1479" y="288"/>
                  </a:lnTo>
                  <a:lnTo>
                    <a:pt x="1479" y="290"/>
                  </a:lnTo>
                  <a:lnTo>
                    <a:pt x="1476" y="292"/>
                  </a:lnTo>
                  <a:lnTo>
                    <a:pt x="1478" y="295"/>
                  </a:lnTo>
                  <a:lnTo>
                    <a:pt x="1476" y="299"/>
                  </a:lnTo>
                  <a:lnTo>
                    <a:pt x="1475" y="304"/>
                  </a:lnTo>
                  <a:lnTo>
                    <a:pt x="1474" y="306"/>
                  </a:lnTo>
                  <a:lnTo>
                    <a:pt x="1474" y="309"/>
                  </a:lnTo>
                  <a:lnTo>
                    <a:pt x="1475" y="309"/>
                  </a:lnTo>
                  <a:lnTo>
                    <a:pt x="1475" y="310"/>
                  </a:lnTo>
                  <a:lnTo>
                    <a:pt x="1475" y="311"/>
                  </a:lnTo>
                  <a:lnTo>
                    <a:pt x="1478" y="317"/>
                  </a:lnTo>
                  <a:lnTo>
                    <a:pt x="1478" y="318"/>
                  </a:lnTo>
                  <a:lnTo>
                    <a:pt x="1476" y="318"/>
                  </a:lnTo>
                  <a:lnTo>
                    <a:pt x="1474" y="318"/>
                  </a:lnTo>
                  <a:lnTo>
                    <a:pt x="1472" y="317"/>
                  </a:lnTo>
                  <a:lnTo>
                    <a:pt x="1471" y="317"/>
                  </a:lnTo>
                  <a:lnTo>
                    <a:pt x="1467" y="314"/>
                  </a:lnTo>
                  <a:lnTo>
                    <a:pt x="1468" y="313"/>
                  </a:lnTo>
                  <a:lnTo>
                    <a:pt x="1467" y="313"/>
                  </a:lnTo>
                  <a:lnTo>
                    <a:pt x="1465" y="313"/>
                  </a:lnTo>
                  <a:lnTo>
                    <a:pt x="1463" y="313"/>
                  </a:lnTo>
                  <a:lnTo>
                    <a:pt x="1463" y="310"/>
                  </a:lnTo>
                  <a:lnTo>
                    <a:pt x="1456" y="306"/>
                  </a:lnTo>
                  <a:lnTo>
                    <a:pt x="1453" y="306"/>
                  </a:lnTo>
                  <a:lnTo>
                    <a:pt x="1449" y="309"/>
                  </a:lnTo>
                  <a:lnTo>
                    <a:pt x="1448" y="307"/>
                  </a:lnTo>
                  <a:lnTo>
                    <a:pt x="1445" y="309"/>
                  </a:lnTo>
                  <a:lnTo>
                    <a:pt x="1444" y="311"/>
                  </a:lnTo>
                  <a:lnTo>
                    <a:pt x="1441" y="311"/>
                  </a:lnTo>
                  <a:lnTo>
                    <a:pt x="1440" y="315"/>
                  </a:lnTo>
                  <a:lnTo>
                    <a:pt x="1438" y="317"/>
                  </a:lnTo>
                  <a:lnTo>
                    <a:pt x="1435" y="315"/>
                  </a:lnTo>
                  <a:lnTo>
                    <a:pt x="1437" y="319"/>
                  </a:lnTo>
                  <a:lnTo>
                    <a:pt x="1435" y="321"/>
                  </a:lnTo>
                  <a:lnTo>
                    <a:pt x="1437" y="324"/>
                  </a:lnTo>
                  <a:lnTo>
                    <a:pt x="1435" y="326"/>
                  </a:lnTo>
                  <a:lnTo>
                    <a:pt x="1435" y="332"/>
                  </a:lnTo>
                  <a:lnTo>
                    <a:pt x="1434" y="333"/>
                  </a:lnTo>
                  <a:lnTo>
                    <a:pt x="1433" y="332"/>
                  </a:lnTo>
                  <a:lnTo>
                    <a:pt x="1430" y="324"/>
                  </a:lnTo>
                  <a:lnTo>
                    <a:pt x="1430" y="321"/>
                  </a:lnTo>
                  <a:lnTo>
                    <a:pt x="1427" y="319"/>
                  </a:lnTo>
                  <a:lnTo>
                    <a:pt x="1426" y="318"/>
                  </a:lnTo>
                  <a:lnTo>
                    <a:pt x="1425" y="321"/>
                  </a:lnTo>
                  <a:lnTo>
                    <a:pt x="1422" y="325"/>
                  </a:lnTo>
                  <a:lnTo>
                    <a:pt x="1421" y="326"/>
                  </a:lnTo>
                  <a:lnTo>
                    <a:pt x="1421" y="329"/>
                  </a:lnTo>
                  <a:lnTo>
                    <a:pt x="1423" y="329"/>
                  </a:lnTo>
                  <a:lnTo>
                    <a:pt x="1421" y="334"/>
                  </a:lnTo>
                  <a:lnTo>
                    <a:pt x="1418" y="332"/>
                  </a:lnTo>
                  <a:lnTo>
                    <a:pt x="1418" y="332"/>
                  </a:lnTo>
                  <a:lnTo>
                    <a:pt x="1416" y="330"/>
                  </a:lnTo>
                  <a:lnTo>
                    <a:pt x="1414" y="330"/>
                  </a:lnTo>
                  <a:lnTo>
                    <a:pt x="1414" y="334"/>
                  </a:lnTo>
                  <a:lnTo>
                    <a:pt x="1412" y="334"/>
                  </a:lnTo>
                  <a:lnTo>
                    <a:pt x="1410" y="333"/>
                  </a:lnTo>
                  <a:lnTo>
                    <a:pt x="1408" y="333"/>
                  </a:lnTo>
                  <a:lnTo>
                    <a:pt x="1407" y="334"/>
                  </a:lnTo>
                  <a:lnTo>
                    <a:pt x="1410" y="337"/>
                  </a:lnTo>
                  <a:lnTo>
                    <a:pt x="1408" y="338"/>
                  </a:lnTo>
                  <a:lnTo>
                    <a:pt x="1407" y="340"/>
                  </a:lnTo>
                  <a:lnTo>
                    <a:pt x="1407" y="343"/>
                  </a:lnTo>
                  <a:lnTo>
                    <a:pt x="1410" y="344"/>
                  </a:lnTo>
                  <a:lnTo>
                    <a:pt x="1410" y="347"/>
                  </a:lnTo>
                  <a:lnTo>
                    <a:pt x="1408" y="348"/>
                  </a:lnTo>
                  <a:lnTo>
                    <a:pt x="1410" y="349"/>
                  </a:lnTo>
                  <a:lnTo>
                    <a:pt x="1411" y="349"/>
                  </a:lnTo>
                  <a:lnTo>
                    <a:pt x="1414" y="352"/>
                  </a:lnTo>
                  <a:lnTo>
                    <a:pt x="1414" y="353"/>
                  </a:lnTo>
                  <a:lnTo>
                    <a:pt x="1412" y="353"/>
                  </a:lnTo>
                  <a:lnTo>
                    <a:pt x="1412" y="355"/>
                  </a:lnTo>
                  <a:lnTo>
                    <a:pt x="1414" y="356"/>
                  </a:lnTo>
                  <a:lnTo>
                    <a:pt x="1415" y="358"/>
                  </a:lnTo>
                  <a:lnTo>
                    <a:pt x="1415" y="359"/>
                  </a:lnTo>
                  <a:lnTo>
                    <a:pt x="1414" y="358"/>
                  </a:lnTo>
                  <a:lnTo>
                    <a:pt x="1411" y="358"/>
                  </a:lnTo>
                  <a:lnTo>
                    <a:pt x="1411" y="359"/>
                  </a:lnTo>
                  <a:lnTo>
                    <a:pt x="1414" y="362"/>
                  </a:lnTo>
                  <a:lnTo>
                    <a:pt x="1415" y="360"/>
                  </a:lnTo>
                  <a:lnTo>
                    <a:pt x="1415" y="363"/>
                  </a:lnTo>
                  <a:lnTo>
                    <a:pt x="1414" y="366"/>
                  </a:lnTo>
                  <a:lnTo>
                    <a:pt x="1415" y="368"/>
                  </a:lnTo>
                  <a:lnTo>
                    <a:pt x="1412" y="370"/>
                  </a:lnTo>
                  <a:lnTo>
                    <a:pt x="1414" y="374"/>
                  </a:lnTo>
                  <a:lnTo>
                    <a:pt x="1414" y="375"/>
                  </a:lnTo>
                  <a:lnTo>
                    <a:pt x="1415" y="378"/>
                  </a:lnTo>
                  <a:lnTo>
                    <a:pt x="1415" y="379"/>
                  </a:lnTo>
                  <a:lnTo>
                    <a:pt x="1415" y="381"/>
                  </a:lnTo>
                  <a:lnTo>
                    <a:pt x="1416" y="386"/>
                  </a:lnTo>
                  <a:lnTo>
                    <a:pt x="1415" y="386"/>
                  </a:lnTo>
                  <a:lnTo>
                    <a:pt x="1418" y="387"/>
                  </a:lnTo>
                  <a:lnTo>
                    <a:pt x="1419" y="390"/>
                  </a:lnTo>
                  <a:lnTo>
                    <a:pt x="1423" y="394"/>
                  </a:lnTo>
                  <a:lnTo>
                    <a:pt x="1426" y="396"/>
                  </a:lnTo>
                  <a:lnTo>
                    <a:pt x="1426" y="394"/>
                  </a:lnTo>
                  <a:lnTo>
                    <a:pt x="1427" y="393"/>
                  </a:lnTo>
                  <a:lnTo>
                    <a:pt x="1423" y="389"/>
                  </a:lnTo>
                  <a:lnTo>
                    <a:pt x="1423" y="387"/>
                  </a:lnTo>
                  <a:lnTo>
                    <a:pt x="1426" y="386"/>
                  </a:lnTo>
                  <a:lnTo>
                    <a:pt x="1427" y="386"/>
                  </a:lnTo>
                  <a:lnTo>
                    <a:pt x="1431" y="390"/>
                  </a:lnTo>
                  <a:lnTo>
                    <a:pt x="1434" y="389"/>
                  </a:lnTo>
                  <a:lnTo>
                    <a:pt x="1435" y="390"/>
                  </a:lnTo>
                  <a:lnTo>
                    <a:pt x="1435" y="391"/>
                  </a:lnTo>
                  <a:lnTo>
                    <a:pt x="1435" y="393"/>
                  </a:lnTo>
                  <a:lnTo>
                    <a:pt x="1437" y="396"/>
                  </a:lnTo>
                  <a:lnTo>
                    <a:pt x="1435" y="397"/>
                  </a:lnTo>
                  <a:lnTo>
                    <a:pt x="1435" y="400"/>
                  </a:lnTo>
                  <a:lnTo>
                    <a:pt x="1434" y="400"/>
                  </a:lnTo>
                  <a:lnTo>
                    <a:pt x="1433" y="402"/>
                  </a:lnTo>
                  <a:lnTo>
                    <a:pt x="1435" y="406"/>
                  </a:lnTo>
                  <a:lnTo>
                    <a:pt x="1437" y="409"/>
                  </a:lnTo>
                  <a:lnTo>
                    <a:pt x="1437" y="413"/>
                  </a:lnTo>
                  <a:lnTo>
                    <a:pt x="1440" y="415"/>
                  </a:lnTo>
                  <a:lnTo>
                    <a:pt x="1441" y="413"/>
                  </a:lnTo>
                  <a:lnTo>
                    <a:pt x="1441" y="413"/>
                  </a:lnTo>
                  <a:lnTo>
                    <a:pt x="1442" y="412"/>
                  </a:lnTo>
                  <a:lnTo>
                    <a:pt x="1442" y="411"/>
                  </a:lnTo>
                  <a:lnTo>
                    <a:pt x="1444" y="411"/>
                  </a:lnTo>
                  <a:lnTo>
                    <a:pt x="1446" y="412"/>
                  </a:lnTo>
                  <a:lnTo>
                    <a:pt x="1446" y="417"/>
                  </a:lnTo>
                  <a:lnTo>
                    <a:pt x="1452" y="423"/>
                  </a:lnTo>
                  <a:lnTo>
                    <a:pt x="1453" y="425"/>
                  </a:lnTo>
                  <a:lnTo>
                    <a:pt x="1452" y="427"/>
                  </a:lnTo>
                  <a:lnTo>
                    <a:pt x="1452" y="431"/>
                  </a:lnTo>
                  <a:lnTo>
                    <a:pt x="1450" y="431"/>
                  </a:lnTo>
                  <a:lnTo>
                    <a:pt x="1448" y="430"/>
                  </a:lnTo>
                  <a:lnTo>
                    <a:pt x="1444" y="428"/>
                  </a:lnTo>
                  <a:lnTo>
                    <a:pt x="1444" y="424"/>
                  </a:lnTo>
                  <a:lnTo>
                    <a:pt x="1445" y="421"/>
                  </a:lnTo>
                  <a:lnTo>
                    <a:pt x="1445" y="419"/>
                  </a:lnTo>
                  <a:lnTo>
                    <a:pt x="1444" y="417"/>
                  </a:lnTo>
                  <a:lnTo>
                    <a:pt x="1442" y="419"/>
                  </a:lnTo>
                  <a:lnTo>
                    <a:pt x="1444" y="419"/>
                  </a:lnTo>
                  <a:lnTo>
                    <a:pt x="1444" y="421"/>
                  </a:lnTo>
                  <a:lnTo>
                    <a:pt x="1441" y="421"/>
                  </a:lnTo>
                  <a:lnTo>
                    <a:pt x="1438" y="424"/>
                  </a:lnTo>
                  <a:lnTo>
                    <a:pt x="1440" y="425"/>
                  </a:lnTo>
                  <a:lnTo>
                    <a:pt x="1442" y="425"/>
                  </a:lnTo>
                  <a:lnTo>
                    <a:pt x="1442" y="428"/>
                  </a:lnTo>
                  <a:lnTo>
                    <a:pt x="1441" y="431"/>
                  </a:lnTo>
                  <a:lnTo>
                    <a:pt x="1441" y="434"/>
                  </a:lnTo>
                  <a:lnTo>
                    <a:pt x="1441" y="435"/>
                  </a:lnTo>
                  <a:lnTo>
                    <a:pt x="1441" y="443"/>
                  </a:lnTo>
                  <a:lnTo>
                    <a:pt x="1442" y="445"/>
                  </a:lnTo>
                  <a:lnTo>
                    <a:pt x="1442" y="447"/>
                  </a:lnTo>
                  <a:lnTo>
                    <a:pt x="1449" y="455"/>
                  </a:lnTo>
                  <a:lnTo>
                    <a:pt x="1450" y="455"/>
                  </a:lnTo>
                  <a:lnTo>
                    <a:pt x="1455" y="462"/>
                  </a:lnTo>
                  <a:lnTo>
                    <a:pt x="1457" y="464"/>
                  </a:lnTo>
                  <a:lnTo>
                    <a:pt x="1456" y="465"/>
                  </a:lnTo>
                  <a:lnTo>
                    <a:pt x="1456" y="468"/>
                  </a:lnTo>
                  <a:lnTo>
                    <a:pt x="1449" y="470"/>
                  </a:lnTo>
                  <a:lnTo>
                    <a:pt x="1449" y="469"/>
                  </a:lnTo>
                  <a:lnTo>
                    <a:pt x="1445" y="472"/>
                  </a:lnTo>
                  <a:lnTo>
                    <a:pt x="1442" y="472"/>
                  </a:lnTo>
                  <a:lnTo>
                    <a:pt x="1444" y="473"/>
                  </a:lnTo>
                  <a:lnTo>
                    <a:pt x="1442" y="477"/>
                  </a:lnTo>
                  <a:lnTo>
                    <a:pt x="1441" y="480"/>
                  </a:lnTo>
                  <a:lnTo>
                    <a:pt x="1440" y="481"/>
                  </a:lnTo>
                  <a:lnTo>
                    <a:pt x="1442" y="484"/>
                  </a:lnTo>
                  <a:lnTo>
                    <a:pt x="1441" y="489"/>
                  </a:lnTo>
                  <a:lnTo>
                    <a:pt x="1442" y="496"/>
                  </a:lnTo>
                  <a:lnTo>
                    <a:pt x="1446" y="498"/>
                  </a:lnTo>
                  <a:lnTo>
                    <a:pt x="1445" y="500"/>
                  </a:lnTo>
                  <a:lnTo>
                    <a:pt x="1449" y="503"/>
                  </a:lnTo>
                  <a:lnTo>
                    <a:pt x="1450" y="504"/>
                  </a:lnTo>
                  <a:lnTo>
                    <a:pt x="1448" y="504"/>
                  </a:lnTo>
                  <a:lnTo>
                    <a:pt x="1448" y="504"/>
                  </a:lnTo>
                  <a:lnTo>
                    <a:pt x="1445" y="506"/>
                  </a:lnTo>
                  <a:lnTo>
                    <a:pt x="1442" y="507"/>
                  </a:lnTo>
                  <a:lnTo>
                    <a:pt x="1441" y="507"/>
                  </a:lnTo>
                  <a:lnTo>
                    <a:pt x="1438" y="510"/>
                  </a:lnTo>
                  <a:lnTo>
                    <a:pt x="1435" y="508"/>
                  </a:lnTo>
                  <a:lnTo>
                    <a:pt x="1434" y="510"/>
                  </a:lnTo>
                  <a:lnTo>
                    <a:pt x="1435" y="511"/>
                  </a:lnTo>
                  <a:lnTo>
                    <a:pt x="1438" y="511"/>
                  </a:lnTo>
                  <a:lnTo>
                    <a:pt x="1437" y="514"/>
                  </a:lnTo>
                  <a:lnTo>
                    <a:pt x="1437" y="515"/>
                  </a:lnTo>
                  <a:lnTo>
                    <a:pt x="1440" y="518"/>
                  </a:lnTo>
                  <a:lnTo>
                    <a:pt x="1438" y="519"/>
                  </a:lnTo>
                  <a:lnTo>
                    <a:pt x="1437" y="518"/>
                  </a:lnTo>
                  <a:lnTo>
                    <a:pt x="1438" y="522"/>
                  </a:lnTo>
                  <a:lnTo>
                    <a:pt x="1438" y="523"/>
                  </a:lnTo>
                  <a:lnTo>
                    <a:pt x="1440" y="523"/>
                  </a:lnTo>
                  <a:lnTo>
                    <a:pt x="1441" y="523"/>
                  </a:lnTo>
                  <a:lnTo>
                    <a:pt x="1442" y="526"/>
                  </a:lnTo>
                  <a:lnTo>
                    <a:pt x="1441" y="527"/>
                  </a:lnTo>
                  <a:lnTo>
                    <a:pt x="1441" y="530"/>
                  </a:lnTo>
                  <a:lnTo>
                    <a:pt x="1442" y="533"/>
                  </a:lnTo>
                  <a:lnTo>
                    <a:pt x="1441" y="538"/>
                  </a:lnTo>
                  <a:lnTo>
                    <a:pt x="1440" y="540"/>
                  </a:lnTo>
                  <a:lnTo>
                    <a:pt x="1441" y="541"/>
                  </a:lnTo>
                  <a:lnTo>
                    <a:pt x="1440" y="542"/>
                  </a:lnTo>
                  <a:lnTo>
                    <a:pt x="1437" y="545"/>
                  </a:lnTo>
                  <a:lnTo>
                    <a:pt x="1437" y="548"/>
                  </a:lnTo>
                  <a:lnTo>
                    <a:pt x="1437" y="548"/>
                  </a:lnTo>
                  <a:lnTo>
                    <a:pt x="1435" y="553"/>
                  </a:lnTo>
                  <a:lnTo>
                    <a:pt x="1433" y="559"/>
                  </a:lnTo>
                  <a:lnTo>
                    <a:pt x="1433" y="556"/>
                  </a:lnTo>
                  <a:lnTo>
                    <a:pt x="1433" y="555"/>
                  </a:lnTo>
                  <a:lnTo>
                    <a:pt x="1433" y="552"/>
                  </a:lnTo>
                  <a:lnTo>
                    <a:pt x="1431" y="551"/>
                  </a:lnTo>
                  <a:lnTo>
                    <a:pt x="1427" y="551"/>
                  </a:lnTo>
                  <a:lnTo>
                    <a:pt x="1425" y="546"/>
                  </a:lnTo>
                  <a:lnTo>
                    <a:pt x="1425" y="542"/>
                  </a:lnTo>
                  <a:lnTo>
                    <a:pt x="1419" y="533"/>
                  </a:lnTo>
                  <a:lnTo>
                    <a:pt x="1416" y="527"/>
                  </a:lnTo>
                  <a:lnTo>
                    <a:pt x="1418" y="527"/>
                  </a:lnTo>
                  <a:lnTo>
                    <a:pt x="1421" y="526"/>
                  </a:lnTo>
                  <a:lnTo>
                    <a:pt x="1421" y="525"/>
                  </a:lnTo>
                  <a:lnTo>
                    <a:pt x="1419" y="526"/>
                  </a:lnTo>
                  <a:lnTo>
                    <a:pt x="1416" y="526"/>
                  </a:lnTo>
                  <a:lnTo>
                    <a:pt x="1412" y="523"/>
                  </a:lnTo>
                  <a:lnTo>
                    <a:pt x="1403" y="507"/>
                  </a:lnTo>
                  <a:lnTo>
                    <a:pt x="1395" y="498"/>
                  </a:lnTo>
                  <a:lnTo>
                    <a:pt x="1395" y="493"/>
                  </a:lnTo>
                  <a:lnTo>
                    <a:pt x="1392" y="491"/>
                  </a:lnTo>
                  <a:lnTo>
                    <a:pt x="1385" y="480"/>
                  </a:lnTo>
                  <a:lnTo>
                    <a:pt x="1378" y="468"/>
                  </a:lnTo>
                  <a:lnTo>
                    <a:pt x="1374" y="457"/>
                  </a:lnTo>
                  <a:lnTo>
                    <a:pt x="1374" y="453"/>
                  </a:lnTo>
                  <a:lnTo>
                    <a:pt x="1370" y="447"/>
                  </a:lnTo>
                  <a:lnTo>
                    <a:pt x="1369" y="439"/>
                  </a:lnTo>
                  <a:lnTo>
                    <a:pt x="1368" y="435"/>
                  </a:lnTo>
                  <a:lnTo>
                    <a:pt x="1368" y="430"/>
                  </a:lnTo>
                  <a:lnTo>
                    <a:pt x="1370" y="427"/>
                  </a:lnTo>
                  <a:lnTo>
                    <a:pt x="1372" y="423"/>
                  </a:lnTo>
                  <a:lnTo>
                    <a:pt x="1373" y="421"/>
                  </a:lnTo>
                  <a:lnTo>
                    <a:pt x="1372" y="420"/>
                  </a:lnTo>
                  <a:lnTo>
                    <a:pt x="1373" y="419"/>
                  </a:lnTo>
                  <a:lnTo>
                    <a:pt x="1373" y="413"/>
                  </a:lnTo>
                  <a:lnTo>
                    <a:pt x="1369" y="406"/>
                  </a:lnTo>
                  <a:lnTo>
                    <a:pt x="1366" y="406"/>
                  </a:lnTo>
                  <a:lnTo>
                    <a:pt x="1365" y="405"/>
                  </a:lnTo>
                  <a:lnTo>
                    <a:pt x="1368" y="404"/>
                  </a:lnTo>
                  <a:lnTo>
                    <a:pt x="1373" y="405"/>
                  </a:lnTo>
                  <a:lnTo>
                    <a:pt x="1374" y="402"/>
                  </a:lnTo>
                  <a:lnTo>
                    <a:pt x="1374" y="401"/>
                  </a:lnTo>
                  <a:lnTo>
                    <a:pt x="1374" y="397"/>
                  </a:lnTo>
                  <a:lnTo>
                    <a:pt x="1378" y="396"/>
                  </a:lnTo>
                  <a:lnTo>
                    <a:pt x="1381" y="397"/>
                  </a:lnTo>
                  <a:lnTo>
                    <a:pt x="1378" y="394"/>
                  </a:lnTo>
                  <a:lnTo>
                    <a:pt x="1382" y="386"/>
                  </a:lnTo>
                  <a:lnTo>
                    <a:pt x="1381" y="382"/>
                  </a:lnTo>
                  <a:lnTo>
                    <a:pt x="1381" y="378"/>
                  </a:lnTo>
                  <a:lnTo>
                    <a:pt x="1380" y="375"/>
                  </a:lnTo>
                  <a:lnTo>
                    <a:pt x="1381" y="372"/>
                  </a:lnTo>
                  <a:lnTo>
                    <a:pt x="1381" y="370"/>
                  </a:lnTo>
                  <a:lnTo>
                    <a:pt x="1381" y="368"/>
                  </a:lnTo>
                  <a:lnTo>
                    <a:pt x="1381" y="364"/>
                  </a:lnTo>
                  <a:lnTo>
                    <a:pt x="1382" y="364"/>
                  </a:lnTo>
                  <a:lnTo>
                    <a:pt x="1381" y="363"/>
                  </a:lnTo>
                  <a:lnTo>
                    <a:pt x="1380" y="362"/>
                  </a:lnTo>
                  <a:lnTo>
                    <a:pt x="1381" y="360"/>
                  </a:lnTo>
                  <a:lnTo>
                    <a:pt x="1381" y="355"/>
                  </a:lnTo>
                  <a:lnTo>
                    <a:pt x="1381" y="355"/>
                  </a:lnTo>
                  <a:lnTo>
                    <a:pt x="1381" y="352"/>
                  </a:lnTo>
                  <a:lnTo>
                    <a:pt x="1384" y="351"/>
                  </a:lnTo>
                  <a:lnTo>
                    <a:pt x="1385" y="349"/>
                  </a:lnTo>
                  <a:lnTo>
                    <a:pt x="1384" y="345"/>
                  </a:lnTo>
                  <a:lnTo>
                    <a:pt x="1385" y="341"/>
                  </a:lnTo>
                  <a:lnTo>
                    <a:pt x="1384" y="340"/>
                  </a:lnTo>
                  <a:lnTo>
                    <a:pt x="1384" y="338"/>
                  </a:lnTo>
                  <a:lnTo>
                    <a:pt x="1385" y="334"/>
                  </a:lnTo>
                  <a:lnTo>
                    <a:pt x="1385" y="332"/>
                  </a:lnTo>
                  <a:lnTo>
                    <a:pt x="1384" y="332"/>
                  </a:lnTo>
                  <a:lnTo>
                    <a:pt x="1382" y="329"/>
                  </a:lnTo>
                  <a:lnTo>
                    <a:pt x="1384" y="328"/>
                  </a:lnTo>
                  <a:lnTo>
                    <a:pt x="1384" y="325"/>
                  </a:lnTo>
                  <a:lnTo>
                    <a:pt x="1387" y="325"/>
                  </a:lnTo>
                  <a:lnTo>
                    <a:pt x="1387" y="324"/>
                  </a:lnTo>
                  <a:lnTo>
                    <a:pt x="1389" y="322"/>
                  </a:lnTo>
                  <a:lnTo>
                    <a:pt x="1389" y="319"/>
                  </a:lnTo>
                  <a:lnTo>
                    <a:pt x="1392" y="317"/>
                  </a:lnTo>
                  <a:lnTo>
                    <a:pt x="1393" y="317"/>
                  </a:lnTo>
                  <a:lnTo>
                    <a:pt x="1396" y="315"/>
                  </a:lnTo>
                  <a:lnTo>
                    <a:pt x="1397" y="315"/>
                  </a:lnTo>
                  <a:lnTo>
                    <a:pt x="1397" y="314"/>
                  </a:lnTo>
                  <a:lnTo>
                    <a:pt x="1397" y="313"/>
                  </a:lnTo>
                  <a:lnTo>
                    <a:pt x="1395" y="313"/>
                  </a:lnTo>
                  <a:lnTo>
                    <a:pt x="1393" y="314"/>
                  </a:lnTo>
                  <a:lnTo>
                    <a:pt x="1391" y="313"/>
                  </a:lnTo>
                  <a:lnTo>
                    <a:pt x="1392" y="307"/>
                  </a:lnTo>
                  <a:lnTo>
                    <a:pt x="1393" y="304"/>
                  </a:lnTo>
                  <a:lnTo>
                    <a:pt x="1392" y="303"/>
                  </a:lnTo>
                  <a:lnTo>
                    <a:pt x="1391" y="300"/>
                  </a:lnTo>
                  <a:lnTo>
                    <a:pt x="1389" y="300"/>
                  </a:lnTo>
                  <a:lnTo>
                    <a:pt x="1389" y="302"/>
                  </a:lnTo>
                  <a:lnTo>
                    <a:pt x="1388" y="302"/>
                  </a:lnTo>
                  <a:lnTo>
                    <a:pt x="1388" y="295"/>
                  </a:lnTo>
                  <a:lnTo>
                    <a:pt x="1388" y="295"/>
                  </a:lnTo>
                  <a:lnTo>
                    <a:pt x="1388" y="294"/>
                  </a:lnTo>
                  <a:lnTo>
                    <a:pt x="1388" y="291"/>
                  </a:lnTo>
                  <a:lnTo>
                    <a:pt x="1385" y="290"/>
                  </a:lnTo>
                  <a:lnTo>
                    <a:pt x="1387" y="288"/>
                  </a:lnTo>
                  <a:lnTo>
                    <a:pt x="1385" y="288"/>
                  </a:lnTo>
                  <a:lnTo>
                    <a:pt x="1385" y="287"/>
                  </a:lnTo>
                  <a:lnTo>
                    <a:pt x="1382" y="284"/>
                  </a:lnTo>
                  <a:lnTo>
                    <a:pt x="1382" y="283"/>
                  </a:lnTo>
                  <a:lnTo>
                    <a:pt x="1381" y="281"/>
                  </a:lnTo>
                  <a:lnTo>
                    <a:pt x="1381" y="279"/>
                  </a:lnTo>
                  <a:lnTo>
                    <a:pt x="1380" y="276"/>
                  </a:lnTo>
                  <a:lnTo>
                    <a:pt x="1380" y="273"/>
                  </a:lnTo>
                  <a:lnTo>
                    <a:pt x="1382" y="271"/>
                  </a:lnTo>
                  <a:lnTo>
                    <a:pt x="1385" y="271"/>
                  </a:lnTo>
                  <a:lnTo>
                    <a:pt x="1388" y="271"/>
                  </a:lnTo>
                  <a:lnTo>
                    <a:pt x="1387" y="269"/>
                  </a:lnTo>
                  <a:lnTo>
                    <a:pt x="1389" y="268"/>
                  </a:lnTo>
                  <a:lnTo>
                    <a:pt x="1388" y="268"/>
                  </a:lnTo>
                  <a:lnTo>
                    <a:pt x="1385" y="268"/>
                  </a:lnTo>
                  <a:lnTo>
                    <a:pt x="1385" y="266"/>
                  </a:lnTo>
                  <a:lnTo>
                    <a:pt x="1381" y="266"/>
                  </a:lnTo>
                  <a:lnTo>
                    <a:pt x="1378" y="264"/>
                  </a:lnTo>
                  <a:lnTo>
                    <a:pt x="1377" y="265"/>
                  </a:lnTo>
                  <a:lnTo>
                    <a:pt x="1374" y="265"/>
                  </a:lnTo>
                  <a:lnTo>
                    <a:pt x="1372" y="268"/>
                  </a:lnTo>
                  <a:lnTo>
                    <a:pt x="1369" y="268"/>
                  </a:lnTo>
                  <a:lnTo>
                    <a:pt x="1366" y="271"/>
                  </a:lnTo>
                  <a:lnTo>
                    <a:pt x="1368" y="272"/>
                  </a:lnTo>
                  <a:lnTo>
                    <a:pt x="1368" y="273"/>
                  </a:lnTo>
                  <a:lnTo>
                    <a:pt x="1370" y="276"/>
                  </a:lnTo>
                  <a:lnTo>
                    <a:pt x="1370" y="279"/>
                  </a:lnTo>
                  <a:lnTo>
                    <a:pt x="1369" y="279"/>
                  </a:lnTo>
                  <a:lnTo>
                    <a:pt x="1370" y="283"/>
                  </a:lnTo>
                  <a:lnTo>
                    <a:pt x="1373" y="284"/>
                  </a:lnTo>
                  <a:lnTo>
                    <a:pt x="1373" y="285"/>
                  </a:lnTo>
                  <a:lnTo>
                    <a:pt x="1374" y="287"/>
                  </a:lnTo>
                  <a:lnTo>
                    <a:pt x="1376" y="291"/>
                  </a:lnTo>
                  <a:lnTo>
                    <a:pt x="1378" y="292"/>
                  </a:lnTo>
                  <a:lnTo>
                    <a:pt x="1378" y="295"/>
                  </a:lnTo>
                  <a:lnTo>
                    <a:pt x="1380" y="296"/>
                  </a:lnTo>
                  <a:lnTo>
                    <a:pt x="1378" y="298"/>
                  </a:lnTo>
                  <a:lnTo>
                    <a:pt x="1377" y="296"/>
                  </a:lnTo>
                  <a:lnTo>
                    <a:pt x="1376" y="295"/>
                  </a:lnTo>
                  <a:lnTo>
                    <a:pt x="1373" y="296"/>
                  </a:lnTo>
                  <a:lnTo>
                    <a:pt x="1372" y="298"/>
                  </a:lnTo>
                  <a:lnTo>
                    <a:pt x="1370" y="300"/>
                  </a:lnTo>
                  <a:lnTo>
                    <a:pt x="1372" y="302"/>
                  </a:lnTo>
                  <a:lnTo>
                    <a:pt x="1370" y="306"/>
                  </a:lnTo>
                  <a:lnTo>
                    <a:pt x="1370" y="306"/>
                  </a:lnTo>
                  <a:lnTo>
                    <a:pt x="1370" y="307"/>
                  </a:lnTo>
                  <a:lnTo>
                    <a:pt x="1370" y="307"/>
                  </a:lnTo>
                  <a:lnTo>
                    <a:pt x="1370" y="310"/>
                  </a:lnTo>
                  <a:lnTo>
                    <a:pt x="1369" y="311"/>
                  </a:lnTo>
                  <a:lnTo>
                    <a:pt x="1370" y="313"/>
                  </a:lnTo>
                  <a:lnTo>
                    <a:pt x="1369" y="314"/>
                  </a:lnTo>
                  <a:lnTo>
                    <a:pt x="1369" y="321"/>
                  </a:lnTo>
                  <a:lnTo>
                    <a:pt x="1368" y="322"/>
                  </a:lnTo>
                  <a:lnTo>
                    <a:pt x="1368" y="324"/>
                  </a:lnTo>
                  <a:lnTo>
                    <a:pt x="1366" y="324"/>
                  </a:lnTo>
                  <a:lnTo>
                    <a:pt x="1365" y="328"/>
                  </a:lnTo>
                  <a:lnTo>
                    <a:pt x="1363" y="325"/>
                  </a:lnTo>
                  <a:lnTo>
                    <a:pt x="1362" y="324"/>
                  </a:lnTo>
                  <a:lnTo>
                    <a:pt x="1363" y="319"/>
                  </a:lnTo>
                  <a:lnTo>
                    <a:pt x="1362" y="318"/>
                  </a:lnTo>
                  <a:lnTo>
                    <a:pt x="1361" y="318"/>
                  </a:lnTo>
                  <a:lnTo>
                    <a:pt x="1359" y="321"/>
                  </a:lnTo>
                  <a:lnTo>
                    <a:pt x="1359" y="322"/>
                  </a:lnTo>
                  <a:lnTo>
                    <a:pt x="1358" y="324"/>
                  </a:lnTo>
                  <a:lnTo>
                    <a:pt x="1357" y="319"/>
                  </a:lnTo>
                  <a:lnTo>
                    <a:pt x="1355" y="318"/>
                  </a:lnTo>
                  <a:lnTo>
                    <a:pt x="1354" y="317"/>
                  </a:lnTo>
                  <a:lnTo>
                    <a:pt x="1353" y="318"/>
                  </a:lnTo>
                  <a:lnTo>
                    <a:pt x="1351" y="317"/>
                  </a:lnTo>
                  <a:lnTo>
                    <a:pt x="1353" y="317"/>
                  </a:lnTo>
                  <a:lnTo>
                    <a:pt x="1353" y="315"/>
                  </a:lnTo>
                  <a:lnTo>
                    <a:pt x="1353" y="314"/>
                  </a:lnTo>
                  <a:lnTo>
                    <a:pt x="1353" y="313"/>
                  </a:lnTo>
                  <a:lnTo>
                    <a:pt x="1353" y="311"/>
                  </a:lnTo>
                  <a:lnTo>
                    <a:pt x="1353" y="310"/>
                  </a:lnTo>
                  <a:lnTo>
                    <a:pt x="1351" y="309"/>
                  </a:lnTo>
                  <a:lnTo>
                    <a:pt x="1353" y="307"/>
                  </a:lnTo>
                  <a:lnTo>
                    <a:pt x="1353" y="304"/>
                  </a:lnTo>
                  <a:lnTo>
                    <a:pt x="1351" y="303"/>
                  </a:lnTo>
                  <a:lnTo>
                    <a:pt x="1351" y="303"/>
                  </a:lnTo>
                  <a:lnTo>
                    <a:pt x="1351" y="300"/>
                  </a:lnTo>
                  <a:lnTo>
                    <a:pt x="1348" y="298"/>
                  </a:lnTo>
                  <a:lnTo>
                    <a:pt x="1348" y="296"/>
                  </a:lnTo>
                  <a:lnTo>
                    <a:pt x="1347" y="296"/>
                  </a:lnTo>
                  <a:lnTo>
                    <a:pt x="1347" y="299"/>
                  </a:lnTo>
                  <a:lnTo>
                    <a:pt x="1346" y="300"/>
                  </a:lnTo>
                  <a:lnTo>
                    <a:pt x="1346" y="303"/>
                  </a:lnTo>
                  <a:lnTo>
                    <a:pt x="1343" y="304"/>
                  </a:lnTo>
                  <a:lnTo>
                    <a:pt x="1343" y="304"/>
                  </a:lnTo>
                  <a:lnTo>
                    <a:pt x="1342" y="302"/>
                  </a:lnTo>
                  <a:lnTo>
                    <a:pt x="1340" y="302"/>
                  </a:lnTo>
                  <a:lnTo>
                    <a:pt x="1339" y="303"/>
                  </a:lnTo>
                  <a:lnTo>
                    <a:pt x="1339" y="300"/>
                  </a:lnTo>
                  <a:lnTo>
                    <a:pt x="1336" y="300"/>
                  </a:lnTo>
                  <a:lnTo>
                    <a:pt x="1335" y="302"/>
                  </a:lnTo>
                  <a:lnTo>
                    <a:pt x="1335" y="302"/>
                  </a:lnTo>
                  <a:lnTo>
                    <a:pt x="1334" y="303"/>
                  </a:lnTo>
                  <a:lnTo>
                    <a:pt x="1332" y="304"/>
                  </a:lnTo>
                  <a:lnTo>
                    <a:pt x="1332" y="306"/>
                  </a:lnTo>
                  <a:lnTo>
                    <a:pt x="1328" y="306"/>
                  </a:lnTo>
                  <a:lnTo>
                    <a:pt x="1327" y="307"/>
                  </a:lnTo>
                  <a:lnTo>
                    <a:pt x="1325" y="307"/>
                  </a:lnTo>
                  <a:lnTo>
                    <a:pt x="1324" y="307"/>
                  </a:lnTo>
                  <a:lnTo>
                    <a:pt x="1321" y="307"/>
                  </a:lnTo>
                  <a:lnTo>
                    <a:pt x="1319" y="311"/>
                  </a:lnTo>
                  <a:lnTo>
                    <a:pt x="1317" y="313"/>
                  </a:lnTo>
                  <a:lnTo>
                    <a:pt x="1317" y="315"/>
                  </a:lnTo>
                  <a:lnTo>
                    <a:pt x="1314" y="317"/>
                  </a:lnTo>
                  <a:lnTo>
                    <a:pt x="1314" y="318"/>
                  </a:lnTo>
                  <a:lnTo>
                    <a:pt x="1316" y="319"/>
                  </a:lnTo>
                  <a:lnTo>
                    <a:pt x="1317" y="322"/>
                  </a:lnTo>
                  <a:lnTo>
                    <a:pt x="1319" y="326"/>
                  </a:lnTo>
                  <a:lnTo>
                    <a:pt x="1317" y="328"/>
                  </a:lnTo>
                  <a:lnTo>
                    <a:pt x="1316" y="336"/>
                  </a:lnTo>
                  <a:lnTo>
                    <a:pt x="1319" y="338"/>
                  </a:lnTo>
                  <a:lnTo>
                    <a:pt x="1316" y="340"/>
                  </a:lnTo>
                  <a:lnTo>
                    <a:pt x="1317" y="340"/>
                  </a:lnTo>
                  <a:lnTo>
                    <a:pt x="1317" y="343"/>
                  </a:lnTo>
                  <a:lnTo>
                    <a:pt x="1314" y="345"/>
                  </a:lnTo>
                  <a:lnTo>
                    <a:pt x="1314" y="348"/>
                  </a:lnTo>
                  <a:lnTo>
                    <a:pt x="1313" y="351"/>
                  </a:lnTo>
                  <a:lnTo>
                    <a:pt x="1313" y="353"/>
                  </a:lnTo>
                  <a:lnTo>
                    <a:pt x="1312" y="358"/>
                  </a:lnTo>
                  <a:lnTo>
                    <a:pt x="1314" y="360"/>
                  </a:lnTo>
                  <a:lnTo>
                    <a:pt x="1312" y="362"/>
                  </a:lnTo>
                  <a:lnTo>
                    <a:pt x="1316" y="366"/>
                  </a:lnTo>
                  <a:lnTo>
                    <a:pt x="1314" y="367"/>
                  </a:lnTo>
                  <a:lnTo>
                    <a:pt x="1313" y="368"/>
                  </a:lnTo>
                  <a:lnTo>
                    <a:pt x="1316" y="370"/>
                  </a:lnTo>
                  <a:lnTo>
                    <a:pt x="1316" y="368"/>
                  </a:lnTo>
                  <a:lnTo>
                    <a:pt x="1319" y="368"/>
                  </a:lnTo>
                  <a:lnTo>
                    <a:pt x="1319" y="368"/>
                  </a:lnTo>
                  <a:lnTo>
                    <a:pt x="1319" y="367"/>
                  </a:lnTo>
                  <a:lnTo>
                    <a:pt x="1321" y="368"/>
                  </a:lnTo>
                  <a:lnTo>
                    <a:pt x="1323" y="368"/>
                  </a:lnTo>
                  <a:lnTo>
                    <a:pt x="1323" y="367"/>
                  </a:lnTo>
                  <a:lnTo>
                    <a:pt x="1323" y="367"/>
                  </a:lnTo>
                  <a:lnTo>
                    <a:pt x="1324" y="368"/>
                  </a:lnTo>
                  <a:lnTo>
                    <a:pt x="1327" y="368"/>
                  </a:lnTo>
                  <a:lnTo>
                    <a:pt x="1327" y="370"/>
                  </a:lnTo>
                  <a:lnTo>
                    <a:pt x="1325" y="371"/>
                  </a:lnTo>
                  <a:lnTo>
                    <a:pt x="1328" y="374"/>
                  </a:lnTo>
                  <a:lnTo>
                    <a:pt x="1328" y="374"/>
                  </a:lnTo>
                  <a:lnTo>
                    <a:pt x="1325" y="374"/>
                  </a:lnTo>
                  <a:lnTo>
                    <a:pt x="1324" y="375"/>
                  </a:lnTo>
                  <a:lnTo>
                    <a:pt x="1323" y="374"/>
                  </a:lnTo>
                  <a:lnTo>
                    <a:pt x="1321" y="375"/>
                  </a:lnTo>
                  <a:lnTo>
                    <a:pt x="1321" y="377"/>
                  </a:lnTo>
                  <a:lnTo>
                    <a:pt x="1323" y="378"/>
                  </a:lnTo>
                  <a:lnTo>
                    <a:pt x="1319" y="381"/>
                  </a:lnTo>
                  <a:lnTo>
                    <a:pt x="1317" y="379"/>
                  </a:lnTo>
                  <a:lnTo>
                    <a:pt x="1317" y="378"/>
                  </a:lnTo>
                  <a:lnTo>
                    <a:pt x="1316" y="377"/>
                  </a:lnTo>
                  <a:lnTo>
                    <a:pt x="1314" y="378"/>
                  </a:lnTo>
                  <a:lnTo>
                    <a:pt x="1313" y="377"/>
                  </a:lnTo>
                  <a:lnTo>
                    <a:pt x="1312" y="378"/>
                  </a:lnTo>
                  <a:lnTo>
                    <a:pt x="1312" y="379"/>
                  </a:lnTo>
                  <a:lnTo>
                    <a:pt x="1312" y="381"/>
                  </a:lnTo>
                  <a:lnTo>
                    <a:pt x="1310" y="381"/>
                  </a:lnTo>
                  <a:lnTo>
                    <a:pt x="1310" y="382"/>
                  </a:lnTo>
                  <a:lnTo>
                    <a:pt x="1308" y="383"/>
                  </a:lnTo>
                  <a:lnTo>
                    <a:pt x="1309" y="385"/>
                  </a:lnTo>
                  <a:lnTo>
                    <a:pt x="1308" y="386"/>
                  </a:lnTo>
                  <a:lnTo>
                    <a:pt x="1306" y="386"/>
                  </a:lnTo>
                  <a:lnTo>
                    <a:pt x="1304" y="383"/>
                  </a:lnTo>
                  <a:lnTo>
                    <a:pt x="1302" y="383"/>
                  </a:lnTo>
                  <a:lnTo>
                    <a:pt x="1304" y="386"/>
                  </a:lnTo>
                  <a:lnTo>
                    <a:pt x="1302" y="386"/>
                  </a:lnTo>
                  <a:lnTo>
                    <a:pt x="1302" y="387"/>
                  </a:lnTo>
                  <a:lnTo>
                    <a:pt x="1301" y="390"/>
                  </a:lnTo>
                  <a:lnTo>
                    <a:pt x="1297" y="390"/>
                  </a:lnTo>
                  <a:lnTo>
                    <a:pt x="1295" y="391"/>
                  </a:lnTo>
                  <a:lnTo>
                    <a:pt x="1293" y="387"/>
                  </a:lnTo>
                  <a:lnTo>
                    <a:pt x="1291" y="387"/>
                  </a:lnTo>
                  <a:lnTo>
                    <a:pt x="1290" y="387"/>
                  </a:lnTo>
                  <a:lnTo>
                    <a:pt x="1291" y="386"/>
                  </a:lnTo>
                  <a:lnTo>
                    <a:pt x="1293" y="386"/>
                  </a:lnTo>
                  <a:lnTo>
                    <a:pt x="1293" y="383"/>
                  </a:lnTo>
                  <a:lnTo>
                    <a:pt x="1293" y="382"/>
                  </a:lnTo>
                  <a:lnTo>
                    <a:pt x="1297" y="382"/>
                  </a:lnTo>
                  <a:lnTo>
                    <a:pt x="1301" y="379"/>
                  </a:lnTo>
                  <a:lnTo>
                    <a:pt x="1301" y="378"/>
                  </a:lnTo>
                  <a:lnTo>
                    <a:pt x="1298" y="378"/>
                  </a:lnTo>
                  <a:lnTo>
                    <a:pt x="1297" y="379"/>
                  </a:lnTo>
                  <a:lnTo>
                    <a:pt x="1294" y="379"/>
                  </a:lnTo>
                  <a:lnTo>
                    <a:pt x="1294" y="378"/>
                  </a:lnTo>
                  <a:lnTo>
                    <a:pt x="1291" y="377"/>
                  </a:lnTo>
                  <a:lnTo>
                    <a:pt x="1289" y="375"/>
                  </a:lnTo>
                  <a:lnTo>
                    <a:pt x="1286" y="375"/>
                  </a:lnTo>
                  <a:lnTo>
                    <a:pt x="1282" y="375"/>
                  </a:lnTo>
                  <a:lnTo>
                    <a:pt x="1283" y="377"/>
                  </a:lnTo>
                  <a:lnTo>
                    <a:pt x="1282" y="378"/>
                  </a:lnTo>
                  <a:lnTo>
                    <a:pt x="1280" y="377"/>
                  </a:lnTo>
                  <a:lnTo>
                    <a:pt x="1280" y="375"/>
                  </a:lnTo>
                  <a:lnTo>
                    <a:pt x="1278" y="375"/>
                  </a:lnTo>
                  <a:lnTo>
                    <a:pt x="1274" y="374"/>
                  </a:lnTo>
                  <a:lnTo>
                    <a:pt x="1271" y="375"/>
                  </a:lnTo>
                  <a:lnTo>
                    <a:pt x="1270" y="374"/>
                  </a:lnTo>
                  <a:lnTo>
                    <a:pt x="1267" y="374"/>
                  </a:lnTo>
                  <a:lnTo>
                    <a:pt x="1263" y="378"/>
                  </a:lnTo>
                  <a:lnTo>
                    <a:pt x="1261" y="378"/>
                  </a:lnTo>
                  <a:lnTo>
                    <a:pt x="1261" y="379"/>
                  </a:lnTo>
                  <a:lnTo>
                    <a:pt x="1264" y="381"/>
                  </a:lnTo>
                  <a:lnTo>
                    <a:pt x="1261" y="382"/>
                  </a:lnTo>
                  <a:lnTo>
                    <a:pt x="1260" y="381"/>
                  </a:lnTo>
                  <a:lnTo>
                    <a:pt x="1259" y="383"/>
                  </a:lnTo>
                  <a:lnTo>
                    <a:pt x="1261" y="385"/>
                  </a:lnTo>
                  <a:lnTo>
                    <a:pt x="1263" y="385"/>
                  </a:lnTo>
                  <a:lnTo>
                    <a:pt x="1264" y="385"/>
                  </a:lnTo>
                  <a:lnTo>
                    <a:pt x="1264" y="386"/>
                  </a:lnTo>
                  <a:lnTo>
                    <a:pt x="1260" y="389"/>
                  </a:lnTo>
                  <a:lnTo>
                    <a:pt x="1259" y="386"/>
                  </a:lnTo>
                  <a:lnTo>
                    <a:pt x="1255" y="386"/>
                  </a:lnTo>
                  <a:lnTo>
                    <a:pt x="1253" y="387"/>
                  </a:lnTo>
                  <a:lnTo>
                    <a:pt x="1253" y="389"/>
                  </a:lnTo>
                  <a:lnTo>
                    <a:pt x="1252" y="389"/>
                  </a:lnTo>
                  <a:lnTo>
                    <a:pt x="1251" y="390"/>
                  </a:lnTo>
                  <a:lnTo>
                    <a:pt x="1249" y="390"/>
                  </a:lnTo>
                  <a:lnTo>
                    <a:pt x="1248" y="389"/>
                  </a:lnTo>
                  <a:lnTo>
                    <a:pt x="1244" y="389"/>
                  </a:lnTo>
                  <a:lnTo>
                    <a:pt x="1241" y="390"/>
                  </a:lnTo>
                  <a:lnTo>
                    <a:pt x="1237" y="389"/>
                  </a:lnTo>
                  <a:lnTo>
                    <a:pt x="1234" y="390"/>
                  </a:lnTo>
                  <a:lnTo>
                    <a:pt x="1234" y="391"/>
                  </a:lnTo>
                  <a:lnTo>
                    <a:pt x="1238" y="394"/>
                  </a:lnTo>
                  <a:lnTo>
                    <a:pt x="1236" y="396"/>
                  </a:lnTo>
                  <a:lnTo>
                    <a:pt x="1234" y="398"/>
                  </a:lnTo>
                  <a:lnTo>
                    <a:pt x="1233" y="396"/>
                  </a:lnTo>
                  <a:lnTo>
                    <a:pt x="1232" y="396"/>
                  </a:lnTo>
                  <a:lnTo>
                    <a:pt x="1232" y="393"/>
                  </a:lnTo>
                  <a:lnTo>
                    <a:pt x="1230" y="391"/>
                  </a:lnTo>
                  <a:lnTo>
                    <a:pt x="1229" y="393"/>
                  </a:lnTo>
                  <a:lnTo>
                    <a:pt x="1227" y="394"/>
                  </a:lnTo>
                  <a:lnTo>
                    <a:pt x="1225" y="394"/>
                  </a:lnTo>
                  <a:lnTo>
                    <a:pt x="1222" y="396"/>
                  </a:lnTo>
                  <a:lnTo>
                    <a:pt x="1221" y="396"/>
                  </a:lnTo>
                  <a:lnTo>
                    <a:pt x="1217" y="397"/>
                  </a:lnTo>
                  <a:lnTo>
                    <a:pt x="1214" y="397"/>
                  </a:lnTo>
                  <a:lnTo>
                    <a:pt x="1210" y="401"/>
                  </a:lnTo>
                  <a:lnTo>
                    <a:pt x="1207" y="401"/>
                  </a:lnTo>
                  <a:lnTo>
                    <a:pt x="1206" y="400"/>
                  </a:lnTo>
                  <a:lnTo>
                    <a:pt x="1203" y="400"/>
                  </a:lnTo>
                  <a:lnTo>
                    <a:pt x="1203" y="402"/>
                  </a:lnTo>
                  <a:lnTo>
                    <a:pt x="1199" y="405"/>
                  </a:lnTo>
                  <a:lnTo>
                    <a:pt x="1198" y="408"/>
                  </a:lnTo>
                  <a:lnTo>
                    <a:pt x="1196" y="409"/>
                  </a:lnTo>
                  <a:lnTo>
                    <a:pt x="1195" y="412"/>
                  </a:lnTo>
                  <a:lnTo>
                    <a:pt x="1199" y="417"/>
                  </a:lnTo>
                  <a:lnTo>
                    <a:pt x="1198" y="421"/>
                  </a:lnTo>
                  <a:lnTo>
                    <a:pt x="1195" y="425"/>
                  </a:lnTo>
                  <a:lnTo>
                    <a:pt x="1192" y="430"/>
                  </a:lnTo>
                  <a:lnTo>
                    <a:pt x="1193" y="432"/>
                  </a:lnTo>
                  <a:lnTo>
                    <a:pt x="1193" y="436"/>
                  </a:lnTo>
                  <a:lnTo>
                    <a:pt x="1193" y="438"/>
                  </a:lnTo>
                  <a:lnTo>
                    <a:pt x="1195" y="440"/>
                  </a:lnTo>
                  <a:lnTo>
                    <a:pt x="1193" y="440"/>
                  </a:lnTo>
                  <a:lnTo>
                    <a:pt x="1192" y="442"/>
                  </a:lnTo>
                  <a:lnTo>
                    <a:pt x="1192" y="445"/>
                  </a:lnTo>
                  <a:lnTo>
                    <a:pt x="1191" y="446"/>
                  </a:lnTo>
                  <a:lnTo>
                    <a:pt x="1192" y="450"/>
                  </a:lnTo>
                  <a:lnTo>
                    <a:pt x="1189" y="451"/>
                  </a:lnTo>
                  <a:lnTo>
                    <a:pt x="1189" y="454"/>
                  </a:lnTo>
                  <a:lnTo>
                    <a:pt x="1185" y="458"/>
                  </a:lnTo>
                  <a:lnTo>
                    <a:pt x="1187" y="461"/>
                  </a:lnTo>
                  <a:lnTo>
                    <a:pt x="1184" y="461"/>
                  </a:lnTo>
                  <a:lnTo>
                    <a:pt x="1184" y="466"/>
                  </a:lnTo>
                  <a:lnTo>
                    <a:pt x="1183" y="466"/>
                  </a:lnTo>
                  <a:lnTo>
                    <a:pt x="1181" y="472"/>
                  </a:lnTo>
                  <a:lnTo>
                    <a:pt x="1181" y="476"/>
                  </a:lnTo>
                  <a:lnTo>
                    <a:pt x="1181" y="477"/>
                  </a:lnTo>
                  <a:lnTo>
                    <a:pt x="1183" y="480"/>
                  </a:lnTo>
                  <a:lnTo>
                    <a:pt x="1180" y="483"/>
                  </a:lnTo>
                  <a:lnTo>
                    <a:pt x="1180" y="485"/>
                  </a:lnTo>
                  <a:lnTo>
                    <a:pt x="1177" y="488"/>
                  </a:lnTo>
                  <a:lnTo>
                    <a:pt x="1179" y="489"/>
                  </a:lnTo>
                  <a:lnTo>
                    <a:pt x="1177" y="491"/>
                  </a:lnTo>
                  <a:lnTo>
                    <a:pt x="1177" y="493"/>
                  </a:lnTo>
                  <a:lnTo>
                    <a:pt x="1173" y="496"/>
                  </a:lnTo>
                  <a:lnTo>
                    <a:pt x="1173" y="500"/>
                  </a:lnTo>
                  <a:lnTo>
                    <a:pt x="1169" y="503"/>
                  </a:lnTo>
                  <a:lnTo>
                    <a:pt x="1169" y="504"/>
                  </a:lnTo>
                  <a:lnTo>
                    <a:pt x="1168" y="508"/>
                  </a:lnTo>
                  <a:lnTo>
                    <a:pt x="1166" y="511"/>
                  </a:lnTo>
                  <a:lnTo>
                    <a:pt x="1165" y="512"/>
                  </a:lnTo>
                  <a:lnTo>
                    <a:pt x="1166" y="515"/>
                  </a:lnTo>
                  <a:lnTo>
                    <a:pt x="1169" y="517"/>
                  </a:lnTo>
                  <a:lnTo>
                    <a:pt x="1172" y="515"/>
                  </a:lnTo>
                  <a:lnTo>
                    <a:pt x="1173" y="518"/>
                  </a:lnTo>
                  <a:lnTo>
                    <a:pt x="1176" y="518"/>
                  </a:lnTo>
                  <a:lnTo>
                    <a:pt x="1179" y="515"/>
                  </a:lnTo>
                  <a:lnTo>
                    <a:pt x="1180" y="515"/>
                  </a:lnTo>
                  <a:lnTo>
                    <a:pt x="1183" y="514"/>
                  </a:lnTo>
                  <a:lnTo>
                    <a:pt x="1183" y="514"/>
                  </a:lnTo>
                  <a:lnTo>
                    <a:pt x="1185" y="512"/>
                  </a:lnTo>
                  <a:lnTo>
                    <a:pt x="1185" y="519"/>
                  </a:lnTo>
                  <a:lnTo>
                    <a:pt x="1188" y="522"/>
                  </a:lnTo>
                  <a:lnTo>
                    <a:pt x="1189" y="526"/>
                  </a:lnTo>
                  <a:lnTo>
                    <a:pt x="1189" y="529"/>
                  </a:lnTo>
                  <a:lnTo>
                    <a:pt x="1192" y="532"/>
                  </a:lnTo>
                  <a:lnTo>
                    <a:pt x="1193" y="530"/>
                  </a:lnTo>
                  <a:lnTo>
                    <a:pt x="1195" y="530"/>
                  </a:lnTo>
                  <a:lnTo>
                    <a:pt x="1196" y="529"/>
                  </a:lnTo>
                  <a:lnTo>
                    <a:pt x="1196" y="527"/>
                  </a:lnTo>
                  <a:lnTo>
                    <a:pt x="1199" y="526"/>
                  </a:lnTo>
                  <a:lnTo>
                    <a:pt x="1199" y="527"/>
                  </a:lnTo>
                  <a:lnTo>
                    <a:pt x="1200" y="526"/>
                  </a:lnTo>
                  <a:lnTo>
                    <a:pt x="1203" y="526"/>
                  </a:lnTo>
                  <a:lnTo>
                    <a:pt x="1202" y="527"/>
                  </a:lnTo>
                  <a:lnTo>
                    <a:pt x="1202" y="529"/>
                  </a:lnTo>
                  <a:lnTo>
                    <a:pt x="1202" y="533"/>
                  </a:lnTo>
                  <a:lnTo>
                    <a:pt x="1200" y="533"/>
                  </a:lnTo>
                  <a:lnTo>
                    <a:pt x="1198" y="534"/>
                  </a:lnTo>
                  <a:lnTo>
                    <a:pt x="1199" y="536"/>
                  </a:lnTo>
                  <a:lnTo>
                    <a:pt x="1204" y="534"/>
                  </a:lnTo>
                  <a:lnTo>
                    <a:pt x="1207" y="533"/>
                  </a:lnTo>
                  <a:lnTo>
                    <a:pt x="1207" y="530"/>
                  </a:lnTo>
                  <a:lnTo>
                    <a:pt x="1207" y="527"/>
                  </a:lnTo>
                  <a:lnTo>
                    <a:pt x="1208" y="526"/>
                  </a:lnTo>
                  <a:lnTo>
                    <a:pt x="1210" y="529"/>
                  </a:lnTo>
                  <a:lnTo>
                    <a:pt x="1210" y="532"/>
                  </a:lnTo>
                  <a:lnTo>
                    <a:pt x="1210" y="534"/>
                  </a:lnTo>
                  <a:lnTo>
                    <a:pt x="1211" y="534"/>
                  </a:lnTo>
                  <a:lnTo>
                    <a:pt x="1211" y="530"/>
                  </a:lnTo>
                  <a:lnTo>
                    <a:pt x="1210" y="526"/>
                  </a:lnTo>
                  <a:lnTo>
                    <a:pt x="1211" y="525"/>
                  </a:lnTo>
                  <a:lnTo>
                    <a:pt x="1210" y="522"/>
                  </a:lnTo>
                  <a:lnTo>
                    <a:pt x="1208" y="518"/>
                  </a:lnTo>
                  <a:lnTo>
                    <a:pt x="1211" y="518"/>
                  </a:lnTo>
                  <a:lnTo>
                    <a:pt x="1212" y="519"/>
                  </a:lnTo>
                  <a:lnTo>
                    <a:pt x="1212" y="521"/>
                  </a:lnTo>
                  <a:lnTo>
                    <a:pt x="1214" y="522"/>
                  </a:lnTo>
                  <a:lnTo>
                    <a:pt x="1215" y="522"/>
                  </a:lnTo>
                  <a:lnTo>
                    <a:pt x="1215" y="521"/>
                  </a:lnTo>
                  <a:lnTo>
                    <a:pt x="1218" y="519"/>
                  </a:lnTo>
                  <a:lnTo>
                    <a:pt x="1221" y="518"/>
                  </a:lnTo>
                  <a:lnTo>
                    <a:pt x="1223" y="519"/>
                  </a:lnTo>
                  <a:lnTo>
                    <a:pt x="1226" y="521"/>
                  </a:lnTo>
                  <a:lnTo>
                    <a:pt x="1227" y="522"/>
                  </a:lnTo>
                  <a:lnTo>
                    <a:pt x="1229" y="525"/>
                  </a:lnTo>
                  <a:lnTo>
                    <a:pt x="1230" y="526"/>
                  </a:lnTo>
                  <a:lnTo>
                    <a:pt x="1234" y="526"/>
                  </a:lnTo>
                  <a:lnTo>
                    <a:pt x="1234" y="527"/>
                  </a:lnTo>
                  <a:lnTo>
                    <a:pt x="1240" y="529"/>
                  </a:lnTo>
                  <a:lnTo>
                    <a:pt x="1241" y="532"/>
                  </a:lnTo>
                  <a:lnTo>
                    <a:pt x="1242" y="532"/>
                  </a:lnTo>
                  <a:lnTo>
                    <a:pt x="1244" y="533"/>
                  </a:lnTo>
                  <a:lnTo>
                    <a:pt x="1245" y="533"/>
                  </a:lnTo>
                  <a:lnTo>
                    <a:pt x="1248" y="537"/>
                  </a:lnTo>
                  <a:lnTo>
                    <a:pt x="1246" y="538"/>
                  </a:lnTo>
                  <a:lnTo>
                    <a:pt x="1246" y="541"/>
                  </a:lnTo>
                  <a:lnTo>
                    <a:pt x="1244" y="541"/>
                  </a:lnTo>
                  <a:lnTo>
                    <a:pt x="1246" y="544"/>
                  </a:lnTo>
                  <a:lnTo>
                    <a:pt x="1248" y="544"/>
                  </a:lnTo>
                  <a:lnTo>
                    <a:pt x="1252" y="548"/>
                  </a:lnTo>
                  <a:lnTo>
                    <a:pt x="1252" y="551"/>
                  </a:lnTo>
                  <a:lnTo>
                    <a:pt x="1251" y="552"/>
                  </a:lnTo>
                  <a:lnTo>
                    <a:pt x="1251" y="555"/>
                  </a:lnTo>
                  <a:lnTo>
                    <a:pt x="1253" y="556"/>
                  </a:lnTo>
                  <a:lnTo>
                    <a:pt x="1255" y="557"/>
                  </a:lnTo>
                  <a:lnTo>
                    <a:pt x="1256" y="556"/>
                  </a:lnTo>
                  <a:lnTo>
                    <a:pt x="1256" y="557"/>
                  </a:lnTo>
                  <a:lnTo>
                    <a:pt x="1256" y="559"/>
                  </a:lnTo>
                  <a:lnTo>
                    <a:pt x="1256" y="561"/>
                  </a:lnTo>
                  <a:lnTo>
                    <a:pt x="1257" y="564"/>
                  </a:lnTo>
                  <a:lnTo>
                    <a:pt x="1256" y="564"/>
                  </a:lnTo>
                  <a:lnTo>
                    <a:pt x="1256" y="567"/>
                  </a:lnTo>
                  <a:lnTo>
                    <a:pt x="1257" y="568"/>
                  </a:lnTo>
                  <a:lnTo>
                    <a:pt x="1256" y="571"/>
                  </a:lnTo>
                  <a:lnTo>
                    <a:pt x="1257" y="572"/>
                  </a:lnTo>
                  <a:lnTo>
                    <a:pt x="1256" y="574"/>
                  </a:lnTo>
                  <a:lnTo>
                    <a:pt x="1256" y="575"/>
                  </a:lnTo>
                  <a:lnTo>
                    <a:pt x="1257" y="575"/>
                  </a:lnTo>
                  <a:lnTo>
                    <a:pt x="1256" y="576"/>
                  </a:lnTo>
                  <a:lnTo>
                    <a:pt x="1257" y="582"/>
                  </a:lnTo>
                  <a:lnTo>
                    <a:pt x="1257" y="585"/>
                  </a:lnTo>
                  <a:lnTo>
                    <a:pt x="1257" y="589"/>
                  </a:lnTo>
                  <a:lnTo>
                    <a:pt x="1257" y="590"/>
                  </a:lnTo>
                  <a:lnTo>
                    <a:pt x="1257" y="591"/>
                  </a:lnTo>
                  <a:lnTo>
                    <a:pt x="1260" y="599"/>
                  </a:lnTo>
                  <a:lnTo>
                    <a:pt x="1261" y="599"/>
                  </a:lnTo>
                  <a:lnTo>
                    <a:pt x="1264" y="598"/>
                  </a:lnTo>
                  <a:lnTo>
                    <a:pt x="1264" y="599"/>
                  </a:lnTo>
                  <a:lnTo>
                    <a:pt x="1263" y="602"/>
                  </a:lnTo>
                  <a:lnTo>
                    <a:pt x="1261" y="604"/>
                  </a:lnTo>
                  <a:lnTo>
                    <a:pt x="1263" y="606"/>
                  </a:lnTo>
                  <a:lnTo>
                    <a:pt x="1264" y="606"/>
                  </a:lnTo>
                  <a:lnTo>
                    <a:pt x="1267" y="609"/>
                  </a:lnTo>
                  <a:lnTo>
                    <a:pt x="1267" y="614"/>
                  </a:lnTo>
                  <a:lnTo>
                    <a:pt x="1268" y="616"/>
                  </a:lnTo>
                  <a:lnTo>
                    <a:pt x="1267" y="617"/>
                  </a:lnTo>
                  <a:lnTo>
                    <a:pt x="1268" y="623"/>
                  </a:lnTo>
                  <a:lnTo>
                    <a:pt x="1270" y="623"/>
                  </a:lnTo>
                  <a:lnTo>
                    <a:pt x="1270" y="625"/>
                  </a:lnTo>
                  <a:lnTo>
                    <a:pt x="1270" y="627"/>
                  </a:lnTo>
                  <a:lnTo>
                    <a:pt x="1270" y="629"/>
                  </a:lnTo>
                  <a:lnTo>
                    <a:pt x="1271" y="632"/>
                  </a:lnTo>
                  <a:lnTo>
                    <a:pt x="1271" y="635"/>
                  </a:lnTo>
                  <a:lnTo>
                    <a:pt x="1267" y="639"/>
                  </a:lnTo>
                  <a:lnTo>
                    <a:pt x="1267" y="642"/>
                  </a:lnTo>
                  <a:lnTo>
                    <a:pt x="1266" y="646"/>
                  </a:lnTo>
                  <a:lnTo>
                    <a:pt x="1266" y="650"/>
                  </a:lnTo>
                  <a:lnTo>
                    <a:pt x="1267" y="650"/>
                  </a:lnTo>
                  <a:lnTo>
                    <a:pt x="1266" y="654"/>
                  </a:lnTo>
                  <a:lnTo>
                    <a:pt x="1264" y="655"/>
                  </a:lnTo>
                  <a:lnTo>
                    <a:pt x="1264" y="658"/>
                  </a:lnTo>
                  <a:lnTo>
                    <a:pt x="1263" y="662"/>
                  </a:lnTo>
                  <a:lnTo>
                    <a:pt x="1263" y="662"/>
                  </a:lnTo>
                  <a:lnTo>
                    <a:pt x="1264" y="665"/>
                  </a:lnTo>
                  <a:lnTo>
                    <a:pt x="1261" y="666"/>
                  </a:lnTo>
                  <a:lnTo>
                    <a:pt x="1263" y="672"/>
                  </a:lnTo>
                  <a:lnTo>
                    <a:pt x="1260" y="674"/>
                  </a:lnTo>
                  <a:lnTo>
                    <a:pt x="1261" y="677"/>
                  </a:lnTo>
                  <a:lnTo>
                    <a:pt x="1263" y="678"/>
                  </a:lnTo>
                  <a:lnTo>
                    <a:pt x="1261" y="680"/>
                  </a:lnTo>
                  <a:lnTo>
                    <a:pt x="1259" y="684"/>
                  </a:lnTo>
                  <a:lnTo>
                    <a:pt x="1259" y="686"/>
                  </a:lnTo>
                  <a:lnTo>
                    <a:pt x="1256" y="688"/>
                  </a:lnTo>
                  <a:lnTo>
                    <a:pt x="1256" y="691"/>
                  </a:lnTo>
                  <a:lnTo>
                    <a:pt x="1253" y="693"/>
                  </a:lnTo>
                  <a:lnTo>
                    <a:pt x="1252" y="704"/>
                  </a:lnTo>
                  <a:lnTo>
                    <a:pt x="1251" y="704"/>
                  </a:lnTo>
                  <a:lnTo>
                    <a:pt x="1249" y="707"/>
                  </a:lnTo>
                  <a:lnTo>
                    <a:pt x="1251" y="708"/>
                  </a:lnTo>
                  <a:lnTo>
                    <a:pt x="1251" y="710"/>
                  </a:lnTo>
                  <a:lnTo>
                    <a:pt x="1246" y="711"/>
                  </a:lnTo>
                  <a:lnTo>
                    <a:pt x="1246" y="714"/>
                  </a:lnTo>
                  <a:lnTo>
                    <a:pt x="1245" y="715"/>
                  </a:lnTo>
                  <a:lnTo>
                    <a:pt x="1245" y="719"/>
                  </a:lnTo>
                  <a:lnTo>
                    <a:pt x="1244" y="719"/>
                  </a:lnTo>
                  <a:lnTo>
                    <a:pt x="1245" y="720"/>
                  </a:lnTo>
                  <a:lnTo>
                    <a:pt x="1242" y="725"/>
                  </a:lnTo>
                  <a:lnTo>
                    <a:pt x="1242" y="725"/>
                  </a:lnTo>
                  <a:lnTo>
                    <a:pt x="1240" y="723"/>
                  </a:lnTo>
                  <a:lnTo>
                    <a:pt x="1241" y="726"/>
                  </a:lnTo>
                  <a:lnTo>
                    <a:pt x="1241" y="729"/>
                  </a:lnTo>
                  <a:lnTo>
                    <a:pt x="1238" y="730"/>
                  </a:lnTo>
                  <a:lnTo>
                    <a:pt x="1240" y="731"/>
                  </a:lnTo>
                  <a:lnTo>
                    <a:pt x="1236" y="737"/>
                  </a:lnTo>
                  <a:lnTo>
                    <a:pt x="1233" y="739"/>
                  </a:lnTo>
                  <a:lnTo>
                    <a:pt x="1232" y="739"/>
                  </a:lnTo>
                  <a:lnTo>
                    <a:pt x="1232" y="741"/>
                  </a:lnTo>
                  <a:lnTo>
                    <a:pt x="1227" y="742"/>
                  </a:lnTo>
                  <a:lnTo>
                    <a:pt x="1226" y="745"/>
                  </a:lnTo>
                  <a:lnTo>
                    <a:pt x="1223" y="742"/>
                  </a:lnTo>
                  <a:lnTo>
                    <a:pt x="1222" y="744"/>
                  </a:lnTo>
                  <a:lnTo>
                    <a:pt x="1219" y="742"/>
                  </a:lnTo>
                  <a:lnTo>
                    <a:pt x="1215" y="741"/>
                  </a:lnTo>
                  <a:lnTo>
                    <a:pt x="1215" y="737"/>
                  </a:lnTo>
                  <a:lnTo>
                    <a:pt x="1214" y="735"/>
                  </a:lnTo>
                  <a:lnTo>
                    <a:pt x="1211" y="737"/>
                  </a:lnTo>
                  <a:lnTo>
                    <a:pt x="1208" y="735"/>
                  </a:lnTo>
                  <a:lnTo>
                    <a:pt x="1208" y="737"/>
                  </a:lnTo>
                  <a:lnTo>
                    <a:pt x="1208" y="738"/>
                  </a:lnTo>
                  <a:lnTo>
                    <a:pt x="1206" y="741"/>
                  </a:lnTo>
                  <a:lnTo>
                    <a:pt x="1206" y="745"/>
                  </a:lnTo>
                  <a:lnTo>
                    <a:pt x="1204" y="745"/>
                  </a:lnTo>
                  <a:lnTo>
                    <a:pt x="1203" y="749"/>
                  </a:lnTo>
                  <a:lnTo>
                    <a:pt x="1202" y="749"/>
                  </a:lnTo>
                  <a:lnTo>
                    <a:pt x="1199" y="749"/>
                  </a:lnTo>
                  <a:lnTo>
                    <a:pt x="1199" y="752"/>
                  </a:lnTo>
                  <a:lnTo>
                    <a:pt x="1198" y="752"/>
                  </a:lnTo>
                  <a:lnTo>
                    <a:pt x="1198" y="752"/>
                  </a:lnTo>
                  <a:close/>
                  <a:moveTo>
                    <a:pt x="388" y="760"/>
                  </a:moveTo>
                  <a:lnTo>
                    <a:pt x="386" y="759"/>
                  </a:lnTo>
                  <a:lnTo>
                    <a:pt x="372" y="761"/>
                  </a:lnTo>
                  <a:lnTo>
                    <a:pt x="388" y="760"/>
                  </a:lnTo>
                  <a:lnTo>
                    <a:pt x="388" y="760"/>
                  </a:lnTo>
                  <a:close/>
                  <a:moveTo>
                    <a:pt x="206" y="223"/>
                  </a:moveTo>
                  <a:lnTo>
                    <a:pt x="209" y="223"/>
                  </a:lnTo>
                  <a:lnTo>
                    <a:pt x="213" y="222"/>
                  </a:lnTo>
                  <a:lnTo>
                    <a:pt x="216" y="220"/>
                  </a:lnTo>
                  <a:lnTo>
                    <a:pt x="217" y="220"/>
                  </a:lnTo>
                  <a:lnTo>
                    <a:pt x="219" y="222"/>
                  </a:lnTo>
                  <a:lnTo>
                    <a:pt x="221" y="223"/>
                  </a:lnTo>
                  <a:lnTo>
                    <a:pt x="223" y="222"/>
                  </a:lnTo>
                  <a:lnTo>
                    <a:pt x="221" y="220"/>
                  </a:lnTo>
                  <a:lnTo>
                    <a:pt x="223" y="219"/>
                  </a:lnTo>
                  <a:lnTo>
                    <a:pt x="223" y="219"/>
                  </a:lnTo>
                  <a:lnTo>
                    <a:pt x="224" y="222"/>
                  </a:lnTo>
                  <a:lnTo>
                    <a:pt x="227" y="222"/>
                  </a:lnTo>
                  <a:lnTo>
                    <a:pt x="229" y="222"/>
                  </a:lnTo>
                  <a:lnTo>
                    <a:pt x="231" y="220"/>
                  </a:lnTo>
                  <a:lnTo>
                    <a:pt x="232" y="220"/>
                  </a:lnTo>
                  <a:lnTo>
                    <a:pt x="233" y="217"/>
                  </a:lnTo>
                  <a:lnTo>
                    <a:pt x="233" y="215"/>
                  </a:lnTo>
                  <a:lnTo>
                    <a:pt x="235" y="212"/>
                  </a:lnTo>
                  <a:lnTo>
                    <a:pt x="235" y="211"/>
                  </a:lnTo>
                  <a:lnTo>
                    <a:pt x="233" y="209"/>
                  </a:lnTo>
                  <a:lnTo>
                    <a:pt x="232" y="205"/>
                  </a:lnTo>
                  <a:lnTo>
                    <a:pt x="229" y="205"/>
                  </a:lnTo>
                  <a:lnTo>
                    <a:pt x="228" y="205"/>
                  </a:lnTo>
                  <a:lnTo>
                    <a:pt x="227" y="204"/>
                  </a:lnTo>
                  <a:lnTo>
                    <a:pt x="228" y="204"/>
                  </a:lnTo>
                  <a:lnTo>
                    <a:pt x="231" y="204"/>
                  </a:lnTo>
                  <a:lnTo>
                    <a:pt x="232" y="204"/>
                  </a:lnTo>
                  <a:lnTo>
                    <a:pt x="233" y="205"/>
                  </a:lnTo>
                  <a:lnTo>
                    <a:pt x="233" y="207"/>
                  </a:lnTo>
                  <a:lnTo>
                    <a:pt x="235" y="208"/>
                  </a:lnTo>
                  <a:lnTo>
                    <a:pt x="235" y="207"/>
                  </a:lnTo>
                  <a:lnTo>
                    <a:pt x="235" y="203"/>
                  </a:lnTo>
                  <a:lnTo>
                    <a:pt x="232" y="200"/>
                  </a:lnTo>
                  <a:lnTo>
                    <a:pt x="229" y="196"/>
                  </a:lnTo>
                  <a:lnTo>
                    <a:pt x="231" y="194"/>
                  </a:lnTo>
                  <a:lnTo>
                    <a:pt x="232" y="197"/>
                  </a:lnTo>
                  <a:lnTo>
                    <a:pt x="232" y="198"/>
                  </a:lnTo>
                  <a:lnTo>
                    <a:pt x="235" y="200"/>
                  </a:lnTo>
                  <a:lnTo>
                    <a:pt x="236" y="200"/>
                  </a:lnTo>
                  <a:lnTo>
                    <a:pt x="238" y="198"/>
                  </a:lnTo>
                  <a:lnTo>
                    <a:pt x="238" y="197"/>
                  </a:lnTo>
                  <a:lnTo>
                    <a:pt x="236" y="196"/>
                  </a:lnTo>
                  <a:lnTo>
                    <a:pt x="236" y="194"/>
                  </a:lnTo>
                  <a:lnTo>
                    <a:pt x="238" y="193"/>
                  </a:lnTo>
                  <a:lnTo>
                    <a:pt x="238" y="190"/>
                  </a:lnTo>
                  <a:lnTo>
                    <a:pt x="236" y="188"/>
                  </a:lnTo>
                  <a:lnTo>
                    <a:pt x="233" y="185"/>
                  </a:lnTo>
                  <a:lnTo>
                    <a:pt x="235" y="185"/>
                  </a:lnTo>
                  <a:lnTo>
                    <a:pt x="236" y="186"/>
                  </a:lnTo>
                  <a:lnTo>
                    <a:pt x="239" y="186"/>
                  </a:lnTo>
                  <a:lnTo>
                    <a:pt x="239" y="184"/>
                  </a:lnTo>
                  <a:lnTo>
                    <a:pt x="239" y="182"/>
                  </a:lnTo>
                  <a:lnTo>
                    <a:pt x="238" y="182"/>
                  </a:lnTo>
                  <a:lnTo>
                    <a:pt x="238" y="179"/>
                  </a:lnTo>
                  <a:lnTo>
                    <a:pt x="239" y="179"/>
                  </a:lnTo>
                  <a:lnTo>
                    <a:pt x="240" y="181"/>
                  </a:lnTo>
                  <a:lnTo>
                    <a:pt x="244" y="182"/>
                  </a:lnTo>
                  <a:lnTo>
                    <a:pt x="244" y="181"/>
                  </a:lnTo>
                  <a:lnTo>
                    <a:pt x="243" y="179"/>
                  </a:lnTo>
                  <a:lnTo>
                    <a:pt x="243" y="178"/>
                  </a:lnTo>
                  <a:lnTo>
                    <a:pt x="244" y="178"/>
                  </a:lnTo>
                  <a:lnTo>
                    <a:pt x="246" y="179"/>
                  </a:lnTo>
                  <a:lnTo>
                    <a:pt x="247" y="178"/>
                  </a:lnTo>
                  <a:lnTo>
                    <a:pt x="248" y="175"/>
                  </a:lnTo>
                  <a:lnTo>
                    <a:pt x="247" y="174"/>
                  </a:lnTo>
                  <a:lnTo>
                    <a:pt x="247" y="174"/>
                  </a:lnTo>
                  <a:lnTo>
                    <a:pt x="251" y="171"/>
                  </a:lnTo>
                  <a:lnTo>
                    <a:pt x="251" y="170"/>
                  </a:lnTo>
                  <a:lnTo>
                    <a:pt x="250" y="169"/>
                  </a:lnTo>
                  <a:lnTo>
                    <a:pt x="248" y="167"/>
                  </a:lnTo>
                  <a:lnTo>
                    <a:pt x="250" y="166"/>
                  </a:lnTo>
                  <a:lnTo>
                    <a:pt x="251" y="167"/>
                  </a:lnTo>
                  <a:lnTo>
                    <a:pt x="252" y="166"/>
                  </a:lnTo>
                  <a:lnTo>
                    <a:pt x="255" y="162"/>
                  </a:lnTo>
                  <a:lnTo>
                    <a:pt x="257" y="159"/>
                  </a:lnTo>
                  <a:lnTo>
                    <a:pt x="258" y="158"/>
                  </a:lnTo>
                  <a:lnTo>
                    <a:pt x="258" y="155"/>
                  </a:lnTo>
                  <a:lnTo>
                    <a:pt x="261" y="154"/>
                  </a:lnTo>
                  <a:lnTo>
                    <a:pt x="263" y="150"/>
                  </a:lnTo>
                  <a:lnTo>
                    <a:pt x="265" y="145"/>
                  </a:lnTo>
                  <a:lnTo>
                    <a:pt x="266" y="145"/>
                  </a:lnTo>
                  <a:lnTo>
                    <a:pt x="270" y="143"/>
                  </a:lnTo>
                  <a:lnTo>
                    <a:pt x="276" y="137"/>
                  </a:lnTo>
                  <a:lnTo>
                    <a:pt x="278" y="133"/>
                  </a:lnTo>
                  <a:lnTo>
                    <a:pt x="280" y="133"/>
                  </a:lnTo>
                  <a:lnTo>
                    <a:pt x="284" y="130"/>
                  </a:lnTo>
                  <a:lnTo>
                    <a:pt x="288" y="129"/>
                  </a:lnTo>
                  <a:lnTo>
                    <a:pt x="289" y="128"/>
                  </a:lnTo>
                  <a:lnTo>
                    <a:pt x="293" y="124"/>
                  </a:lnTo>
                  <a:lnTo>
                    <a:pt x="295" y="122"/>
                  </a:lnTo>
                  <a:lnTo>
                    <a:pt x="296" y="122"/>
                  </a:lnTo>
                  <a:lnTo>
                    <a:pt x="297" y="122"/>
                  </a:lnTo>
                  <a:lnTo>
                    <a:pt x="297" y="121"/>
                  </a:lnTo>
                  <a:lnTo>
                    <a:pt x="297" y="120"/>
                  </a:lnTo>
                  <a:lnTo>
                    <a:pt x="299" y="117"/>
                  </a:lnTo>
                  <a:lnTo>
                    <a:pt x="297" y="116"/>
                  </a:lnTo>
                  <a:lnTo>
                    <a:pt x="297" y="113"/>
                  </a:lnTo>
                  <a:lnTo>
                    <a:pt x="297" y="111"/>
                  </a:lnTo>
                  <a:lnTo>
                    <a:pt x="296" y="111"/>
                  </a:lnTo>
                  <a:lnTo>
                    <a:pt x="295" y="109"/>
                  </a:lnTo>
                  <a:lnTo>
                    <a:pt x="296" y="106"/>
                  </a:lnTo>
                  <a:lnTo>
                    <a:pt x="296" y="105"/>
                  </a:lnTo>
                  <a:lnTo>
                    <a:pt x="293" y="105"/>
                  </a:lnTo>
                  <a:lnTo>
                    <a:pt x="292" y="103"/>
                  </a:lnTo>
                  <a:lnTo>
                    <a:pt x="291" y="102"/>
                  </a:lnTo>
                  <a:lnTo>
                    <a:pt x="289" y="101"/>
                  </a:lnTo>
                  <a:lnTo>
                    <a:pt x="289" y="99"/>
                  </a:lnTo>
                  <a:lnTo>
                    <a:pt x="288" y="98"/>
                  </a:lnTo>
                  <a:lnTo>
                    <a:pt x="285" y="99"/>
                  </a:lnTo>
                  <a:lnTo>
                    <a:pt x="285" y="101"/>
                  </a:lnTo>
                  <a:lnTo>
                    <a:pt x="284" y="101"/>
                  </a:lnTo>
                  <a:lnTo>
                    <a:pt x="281" y="99"/>
                  </a:lnTo>
                  <a:lnTo>
                    <a:pt x="280" y="99"/>
                  </a:lnTo>
                  <a:lnTo>
                    <a:pt x="277" y="102"/>
                  </a:lnTo>
                  <a:lnTo>
                    <a:pt x="276" y="103"/>
                  </a:lnTo>
                  <a:lnTo>
                    <a:pt x="274" y="105"/>
                  </a:lnTo>
                  <a:lnTo>
                    <a:pt x="273" y="105"/>
                  </a:lnTo>
                  <a:lnTo>
                    <a:pt x="272" y="106"/>
                  </a:lnTo>
                  <a:lnTo>
                    <a:pt x="272" y="109"/>
                  </a:lnTo>
                  <a:lnTo>
                    <a:pt x="270" y="110"/>
                  </a:lnTo>
                  <a:lnTo>
                    <a:pt x="269" y="111"/>
                  </a:lnTo>
                  <a:lnTo>
                    <a:pt x="270" y="114"/>
                  </a:lnTo>
                  <a:lnTo>
                    <a:pt x="270" y="116"/>
                  </a:lnTo>
                  <a:lnTo>
                    <a:pt x="269" y="116"/>
                  </a:lnTo>
                  <a:lnTo>
                    <a:pt x="267" y="117"/>
                  </a:lnTo>
                  <a:lnTo>
                    <a:pt x="267" y="118"/>
                  </a:lnTo>
                  <a:lnTo>
                    <a:pt x="266" y="118"/>
                  </a:lnTo>
                  <a:lnTo>
                    <a:pt x="265" y="121"/>
                  </a:lnTo>
                  <a:lnTo>
                    <a:pt x="261" y="124"/>
                  </a:lnTo>
                  <a:lnTo>
                    <a:pt x="259" y="125"/>
                  </a:lnTo>
                  <a:lnTo>
                    <a:pt x="259" y="124"/>
                  </a:lnTo>
                  <a:lnTo>
                    <a:pt x="257" y="124"/>
                  </a:lnTo>
                  <a:lnTo>
                    <a:pt x="255" y="125"/>
                  </a:lnTo>
                  <a:lnTo>
                    <a:pt x="254" y="128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0" y="126"/>
                  </a:lnTo>
                  <a:lnTo>
                    <a:pt x="248" y="126"/>
                  </a:lnTo>
                  <a:lnTo>
                    <a:pt x="248" y="129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7" y="130"/>
                  </a:lnTo>
                  <a:lnTo>
                    <a:pt x="246" y="128"/>
                  </a:lnTo>
                  <a:lnTo>
                    <a:pt x="243" y="128"/>
                  </a:lnTo>
                  <a:lnTo>
                    <a:pt x="239" y="129"/>
                  </a:lnTo>
                  <a:lnTo>
                    <a:pt x="238" y="130"/>
                  </a:lnTo>
                  <a:lnTo>
                    <a:pt x="236" y="130"/>
                  </a:lnTo>
                  <a:lnTo>
                    <a:pt x="235" y="132"/>
                  </a:lnTo>
                  <a:lnTo>
                    <a:pt x="236" y="135"/>
                  </a:lnTo>
                  <a:lnTo>
                    <a:pt x="238" y="136"/>
                  </a:lnTo>
                  <a:lnTo>
                    <a:pt x="238" y="137"/>
                  </a:lnTo>
                  <a:lnTo>
                    <a:pt x="236" y="137"/>
                  </a:lnTo>
                  <a:lnTo>
                    <a:pt x="235" y="140"/>
                  </a:lnTo>
                  <a:lnTo>
                    <a:pt x="233" y="139"/>
                  </a:lnTo>
                  <a:lnTo>
                    <a:pt x="233" y="137"/>
                  </a:lnTo>
                  <a:lnTo>
                    <a:pt x="235" y="137"/>
                  </a:lnTo>
                  <a:lnTo>
                    <a:pt x="235" y="135"/>
                  </a:lnTo>
                  <a:lnTo>
                    <a:pt x="233" y="135"/>
                  </a:lnTo>
                  <a:lnTo>
                    <a:pt x="231" y="137"/>
                  </a:lnTo>
                  <a:lnTo>
                    <a:pt x="229" y="139"/>
                  </a:lnTo>
                  <a:lnTo>
                    <a:pt x="229" y="140"/>
                  </a:lnTo>
                  <a:lnTo>
                    <a:pt x="231" y="141"/>
                  </a:lnTo>
                  <a:lnTo>
                    <a:pt x="229" y="143"/>
                  </a:lnTo>
                  <a:lnTo>
                    <a:pt x="229" y="144"/>
                  </a:lnTo>
                  <a:lnTo>
                    <a:pt x="227" y="144"/>
                  </a:lnTo>
                  <a:lnTo>
                    <a:pt x="225" y="145"/>
                  </a:lnTo>
                  <a:lnTo>
                    <a:pt x="225" y="147"/>
                  </a:lnTo>
                  <a:lnTo>
                    <a:pt x="223" y="148"/>
                  </a:lnTo>
                  <a:lnTo>
                    <a:pt x="221" y="150"/>
                  </a:lnTo>
                  <a:lnTo>
                    <a:pt x="221" y="152"/>
                  </a:lnTo>
                  <a:lnTo>
                    <a:pt x="221" y="152"/>
                  </a:lnTo>
                  <a:lnTo>
                    <a:pt x="223" y="154"/>
                  </a:lnTo>
                  <a:lnTo>
                    <a:pt x="221" y="155"/>
                  </a:lnTo>
                  <a:lnTo>
                    <a:pt x="217" y="155"/>
                  </a:lnTo>
                  <a:lnTo>
                    <a:pt x="216" y="156"/>
                  </a:lnTo>
                  <a:lnTo>
                    <a:pt x="216" y="159"/>
                  </a:lnTo>
                  <a:lnTo>
                    <a:pt x="216" y="160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20" y="162"/>
                  </a:lnTo>
                  <a:lnTo>
                    <a:pt x="220" y="163"/>
                  </a:lnTo>
                  <a:lnTo>
                    <a:pt x="220" y="164"/>
                  </a:lnTo>
                  <a:lnTo>
                    <a:pt x="219" y="166"/>
                  </a:lnTo>
                  <a:lnTo>
                    <a:pt x="217" y="166"/>
                  </a:lnTo>
                  <a:lnTo>
                    <a:pt x="214" y="164"/>
                  </a:lnTo>
                  <a:lnTo>
                    <a:pt x="212" y="166"/>
                  </a:lnTo>
                  <a:lnTo>
                    <a:pt x="210" y="167"/>
                  </a:lnTo>
                  <a:lnTo>
                    <a:pt x="210" y="169"/>
                  </a:lnTo>
                  <a:lnTo>
                    <a:pt x="210" y="171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5" y="170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2" y="173"/>
                  </a:lnTo>
                  <a:lnTo>
                    <a:pt x="204" y="175"/>
                  </a:lnTo>
                  <a:lnTo>
                    <a:pt x="205" y="177"/>
                  </a:lnTo>
                  <a:lnTo>
                    <a:pt x="206" y="177"/>
                  </a:lnTo>
                  <a:lnTo>
                    <a:pt x="208" y="177"/>
                  </a:lnTo>
                  <a:lnTo>
                    <a:pt x="208" y="178"/>
                  </a:lnTo>
                  <a:lnTo>
                    <a:pt x="206" y="181"/>
                  </a:lnTo>
                  <a:lnTo>
                    <a:pt x="206" y="182"/>
                  </a:lnTo>
                  <a:lnTo>
                    <a:pt x="208" y="182"/>
                  </a:lnTo>
                  <a:lnTo>
                    <a:pt x="209" y="181"/>
                  </a:lnTo>
                  <a:lnTo>
                    <a:pt x="210" y="181"/>
                  </a:lnTo>
                  <a:lnTo>
                    <a:pt x="212" y="182"/>
                  </a:lnTo>
                  <a:lnTo>
                    <a:pt x="213" y="182"/>
                  </a:lnTo>
                  <a:lnTo>
                    <a:pt x="216" y="181"/>
                  </a:lnTo>
                  <a:lnTo>
                    <a:pt x="216" y="181"/>
                  </a:lnTo>
                  <a:lnTo>
                    <a:pt x="214" y="182"/>
                  </a:lnTo>
                  <a:lnTo>
                    <a:pt x="213" y="184"/>
                  </a:lnTo>
                  <a:lnTo>
                    <a:pt x="210" y="184"/>
                  </a:lnTo>
                  <a:lnTo>
                    <a:pt x="209" y="185"/>
                  </a:lnTo>
                  <a:lnTo>
                    <a:pt x="208" y="184"/>
                  </a:lnTo>
                  <a:lnTo>
                    <a:pt x="208" y="185"/>
                  </a:lnTo>
                  <a:lnTo>
                    <a:pt x="208" y="188"/>
                  </a:lnTo>
                  <a:lnTo>
                    <a:pt x="210" y="189"/>
                  </a:lnTo>
                  <a:lnTo>
                    <a:pt x="212" y="189"/>
                  </a:lnTo>
                  <a:lnTo>
                    <a:pt x="213" y="189"/>
                  </a:lnTo>
                  <a:lnTo>
                    <a:pt x="213" y="189"/>
                  </a:lnTo>
                  <a:lnTo>
                    <a:pt x="213" y="190"/>
                  </a:lnTo>
                  <a:lnTo>
                    <a:pt x="210" y="192"/>
                  </a:lnTo>
                  <a:lnTo>
                    <a:pt x="208" y="192"/>
                  </a:lnTo>
                  <a:lnTo>
                    <a:pt x="206" y="192"/>
                  </a:lnTo>
                  <a:lnTo>
                    <a:pt x="206" y="193"/>
                  </a:lnTo>
                  <a:lnTo>
                    <a:pt x="208" y="194"/>
                  </a:lnTo>
                  <a:lnTo>
                    <a:pt x="209" y="194"/>
                  </a:lnTo>
                  <a:lnTo>
                    <a:pt x="212" y="194"/>
                  </a:lnTo>
                  <a:lnTo>
                    <a:pt x="212" y="194"/>
                  </a:lnTo>
                  <a:lnTo>
                    <a:pt x="210" y="196"/>
                  </a:lnTo>
                  <a:lnTo>
                    <a:pt x="208" y="196"/>
                  </a:lnTo>
                  <a:lnTo>
                    <a:pt x="208" y="197"/>
                  </a:lnTo>
                  <a:lnTo>
                    <a:pt x="209" y="197"/>
                  </a:lnTo>
                  <a:lnTo>
                    <a:pt x="212" y="198"/>
                  </a:lnTo>
                  <a:lnTo>
                    <a:pt x="214" y="200"/>
                  </a:lnTo>
                  <a:lnTo>
                    <a:pt x="217" y="201"/>
                  </a:lnTo>
                  <a:lnTo>
                    <a:pt x="217" y="201"/>
                  </a:lnTo>
                  <a:lnTo>
                    <a:pt x="217" y="203"/>
                  </a:lnTo>
                  <a:lnTo>
                    <a:pt x="216" y="201"/>
                  </a:lnTo>
                  <a:lnTo>
                    <a:pt x="213" y="200"/>
                  </a:lnTo>
                  <a:lnTo>
                    <a:pt x="210" y="200"/>
                  </a:lnTo>
                  <a:lnTo>
                    <a:pt x="209" y="198"/>
                  </a:lnTo>
                  <a:lnTo>
                    <a:pt x="208" y="198"/>
                  </a:lnTo>
                  <a:lnTo>
                    <a:pt x="206" y="200"/>
                  </a:lnTo>
                  <a:lnTo>
                    <a:pt x="205" y="201"/>
                  </a:lnTo>
                  <a:lnTo>
                    <a:pt x="205" y="203"/>
                  </a:lnTo>
                  <a:lnTo>
                    <a:pt x="205" y="204"/>
                  </a:lnTo>
                  <a:lnTo>
                    <a:pt x="205" y="205"/>
                  </a:lnTo>
                  <a:lnTo>
                    <a:pt x="205" y="205"/>
                  </a:lnTo>
                  <a:lnTo>
                    <a:pt x="204" y="207"/>
                  </a:lnTo>
                  <a:lnTo>
                    <a:pt x="202" y="207"/>
                  </a:lnTo>
                  <a:lnTo>
                    <a:pt x="201" y="208"/>
                  </a:lnTo>
                  <a:lnTo>
                    <a:pt x="201" y="209"/>
                  </a:lnTo>
                  <a:lnTo>
                    <a:pt x="201" y="211"/>
                  </a:lnTo>
                  <a:lnTo>
                    <a:pt x="201" y="212"/>
                  </a:lnTo>
                  <a:lnTo>
                    <a:pt x="198" y="212"/>
                  </a:lnTo>
                  <a:lnTo>
                    <a:pt x="198" y="212"/>
                  </a:lnTo>
                  <a:lnTo>
                    <a:pt x="201" y="215"/>
                  </a:lnTo>
                  <a:lnTo>
                    <a:pt x="204" y="216"/>
                  </a:lnTo>
                  <a:lnTo>
                    <a:pt x="204" y="216"/>
                  </a:lnTo>
                  <a:lnTo>
                    <a:pt x="205" y="215"/>
                  </a:lnTo>
                  <a:lnTo>
                    <a:pt x="206" y="213"/>
                  </a:lnTo>
                  <a:lnTo>
                    <a:pt x="209" y="211"/>
                  </a:lnTo>
                  <a:lnTo>
                    <a:pt x="212" y="211"/>
                  </a:lnTo>
                  <a:lnTo>
                    <a:pt x="214" y="211"/>
                  </a:lnTo>
                  <a:lnTo>
                    <a:pt x="216" y="212"/>
                  </a:lnTo>
                  <a:lnTo>
                    <a:pt x="214" y="212"/>
                  </a:lnTo>
                  <a:lnTo>
                    <a:pt x="214" y="212"/>
                  </a:lnTo>
                  <a:lnTo>
                    <a:pt x="213" y="212"/>
                  </a:lnTo>
                  <a:lnTo>
                    <a:pt x="212" y="212"/>
                  </a:lnTo>
                  <a:lnTo>
                    <a:pt x="210" y="213"/>
                  </a:lnTo>
                  <a:lnTo>
                    <a:pt x="208" y="215"/>
                  </a:lnTo>
                  <a:lnTo>
                    <a:pt x="206" y="216"/>
                  </a:lnTo>
                  <a:lnTo>
                    <a:pt x="206" y="219"/>
                  </a:lnTo>
                  <a:lnTo>
                    <a:pt x="206" y="220"/>
                  </a:lnTo>
                  <a:lnTo>
                    <a:pt x="206" y="222"/>
                  </a:lnTo>
                  <a:lnTo>
                    <a:pt x="206" y="222"/>
                  </a:lnTo>
                  <a:lnTo>
                    <a:pt x="206" y="223"/>
                  </a:lnTo>
                  <a:lnTo>
                    <a:pt x="206" y="223"/>
                  </a:lnTo>
                  <a:close/>
                  <a:moveTo>
                    <a:pt x="258" y="285"/>
                  </a:moveTo>
                  <a:lnTo>
                    <a:pt x="255" y="284"/>
                  </a:lnTo>
                  <a:lnTo>
                    <a:pt x="254" y="284"/>
                  </a:lnTo>
                  <a:lnTo>
                    <a:pt x="252" y="284"/>
                  </a:lnTo>
                  <a:lnTo>
                    <a:pt x="251" y="281"/>
                  </a:lnTo>
                  <a:lnTo>
                    <a:pt x="248" y="281"/>
                  </a:lnTo>
                  <a:lnTo>
                    <a:pt x="244" y="279"/>
                  </a:lnTo>
                  <a:lnTo>
                    <a:pt x="243" y="276"/>
                  </a:lnTo>
                  <a:lnTo>
                    <a:pt x="240" y="276"/>
                  </a:lnTo>
                  <a:lnTo>
                    <a:pt x="238" y="271"/>
                  </a:lnTo>
                  <a:lnTo>
                    <a:pt x="233" y="265"/>
                  </a:lnTo>
                  <a:lnTo>
                    <a:pt x="232" y="261"/>
                  </a:lnTo>
                  <a:lnTo>
                    <a:pt x="229" y="257"/>
                  </a:lnTo>
                  <a:lnTo>
                    <a:pt x="229" y="251"/>
                  </a:lnTo>
                  <a:lnTo>
                    <a:pt x="228" y="247"/>
                  </a:lnTo>
                  <a:lnTo>
                    <a:pt x="227" y="242"/>
                  </a:lnTo>
                  <a:lnTo>
                    <a:pt x="227" y="239"/>
                  </a:lnTo>
                  <a:lnTo>
                    <a:pt x="228" y="238"/>
                  </a:lnTo>
                  <a:lnTo>
                    <a:pt x="228" y="237"/>
                  </a:lnTo>
                  <a:lnTo>
                    <a:pt x="225" y="237"/>
                  </a:lnTo>
                  <a:lnTo>
                    <a:pt x="224" y="237"/>
                  </a:lnTo>
                  <a:lnTo>
                    <a:pt x="223" y="235"/>
                  </a:lnTo>
                  <a:lnTo>
                    <a:pt x="223" y="235"/>
                  </a:lnTo>
                  <a:lnTo>
                    <a:pt x="225" y="235"/>
                  </a:lnTo>
                  <a:lnTo>
                    <a:pt x="228" y="234"/>
                  </a:lnTo>
                  <a:lnTo>
                    <a:pt x="229" y="230"/>
                  </a:lnTo>
                  <a:lnTo>
                    <a:pt x="228" y="227"/>
                  </a:lnTo>
                  <a:lnTo>
                    <a:pt x="227" y="227"/>
                  </a:lnTo>
                  <a:lnTo>
                    <a:pt x="224" y="228"/>
                  </a:lnTo>
                  <a:lnTo>
                    <a:pt x="225" y="227"/>
                  </a:lnTo>
                  <a:lnTo>
                    <a:pt x="228" y="226"/>
                  </a:lnTo>
                  <a:lnTo>
                    <a:pt x="229" y="224"/>
                  </a:lnTo>
                  <a:lnTo>
                    <a:pt x="228" y="223"/>
                  </a:lnTo>
                  <a:lnTo>
                    <a:pt x="224" y="223"/>
                  </a:lnTo>
                  <a:lnTo>
                    <a:pt x="219" y="223"/>
                  </a:lnTo>
                  <a:lnTo>
                    <a:pt x="216" y="222"/>
                  </a:lnTo>
                  <a:lnTo>
                    <a:pt x="214" y="222"/>
                  </a:lnTo>
                  <a:lnTo>
                    <a:pt x="210" y="224"/>
                  </a:lnTo>
                  <a:lnTo>
                    <a:pt x="206" y="224"/>
                  </a:lnTo>
                  <a:lnTo>
                    <a:pt x="205" y="226"/>
                  </a:lnTo>
                  <a:lnTo>
                    <a:pt x="201" y="227"/>
                  </a:lnTo>
                  <a:lnTo>
                    <a:pt x="201" y="230"/>
                  </a:lnTo>
                  <a:lnTo>
                    <a:pt x="201" y="231"/>
                  </a:lnTo>
                  <a:lnTo>
                    <a:pt x="201" y="234"/>
                  </a:lnTo>
                  <a:lnTo>
                    <a:pt x="204" y="234"/>
                  </a:lnTo>
                  <a:lnTo>
                    <a:pt x="204" y="235"/>
                  </a:lnTo>
                  <a:lnTo>
                    <a:pt x="204" y="237"/>
                  </a:lnTo>
                  <a:lnTo>
                    <a:pt x="201" y="237"/>
                  </a:lnTo>
                  <a:lnTo>
                    <a:pt x="198" y="237"/>
                  </a:lnTo>
                  <a:lnTo>
                    <a:pt x="197" y="241"/>
                  </a:lnTo>
                  <a:lnTo>
                    <a:pt x="197" y="243"/>
                  </a:lnTo>
                  <a:lnTo>
                    <a:pt x="198" y="245"/>
                  </a:lnTo>
                  <a:lnTo>
                    <a:pt x="199" y="243"/>
                  </a:lnTo>
                  <a:lnTo>
                    <a:pt x="202" y="242"/>
                  </a:lnTo>
                  <a:lnTo>
                    <a:pt x="204" y="243"/>
                  </a:lnTo>
                  <a:lnTo>
                    <a:pt x="201" y="245"/>
                  </a:lnTo>
                  <a:lnTo>
                    <a:pt x="201" y="246"/>
                  </a:lnTo>
                  <a:lnTo>
                    <a:pt x="202" y="246"/>
                  </a:lnTo>
                  <a:lnTo>
                    <a:pt x="204" y="245"/>
                  </a:lnTo>
                  <a:lnTo>
                    <a:pt x="205" y="245"/>
                  </a:lnTo>
                  <a:lnTo>
                    <a:pt x="205" y="246"/>
                  </a:lnTo>
                  <a:lnTo>
                    <a:pt x="204" y="247"/>
                  </a:lnTo>
                  <a:lnTo>
                    <a:pt x="204" y="249"/>
                  </a:lnTo>
                  <a:lnTo>
                    <a:pt x="205" y="250"/>
                  </a:lnTo>
                  <a:lnTo>
                    <a:pt x="208" y="250"/>
                  </a:lnTo>
                  <a:lnTo>
                    <a:pt x="206" y="251"/>
                  </a:lnTo>
                  <a:lnTo>
                    <a:pt x="204" y="251"/>
                  </a:lnTo>
                  <a:lnTo>
                    <a:pt x="202" y="253"/>
                  </a:lnTo>
                  <a:lnTo>
                    <a:pt x="202" y="254"/>
                  </a:lnTo>
                  <a:lnTo>
                    <a:pt x="204" y="257"/>
                  </a:lnTo>
                  <a:lnTo>
                    <a:pt x="204" y="258"/>
                  </a:lnTo>
                  <a:lnTo>
                    <a:pt x="202" y="257"/>
                  </a:lnTo>
                  <a:lnTo>
                    <a:pt x="199" y="258"/>
                  </a:lnTo>
                  <a:lnTo>
                    <a:pt x="198" y="257"/>
                  </a:lnTo>
                  <a:lnTo>
                    <a:pt x="197" y="257"/>
                  </a:lnTo>
                  <a:lnTo>
                    <a:pt x="194" y="260"/>
                  </a:lnTo>
                  <a:lnTo>
                    <a:pt x="194" y="262"/>
                  </a:lnTo>
                  <a:lnTo>
                    <a:pt x="195" y="265"/>
                  </a:lnTo>
                  <a:lnTo>
                    <a:pt x="194" y="268"/>
                  </a:lnTo>
                  <a:lnTo>
                    <a:pt x="195" y="269"/>
                  </a:lnTo>
                  <a:lnTo>
                    <a:pt x="198" y="272"/>
                  </a:lnTo>
                  <a:lnTo>
                    <a:pt x="198" y="273"/>
                  </a:lnTo>
                  <a:lnTo>
                    <a:pt x="202" y="276"/>
                  </a:lnTo>
                  <a:lnTo>
                    <a:pt x="204" y="277"/>
                  </a:lnTo>
                  <a:lnTo>
                    <a:pt x="205" y="276"/>
                  </a:lnTo>
                  <a:lnTo>
                    <a:pt x="206" y="276"/>
                  </a:lnTo>
                  <a:lnTo>
                    <a:pt x="209" y="273"/>
                  </a:lnTo>
                  <a:lnTo>
                    <a:pt x="208" y="269"/>
                  </a:lnTo>
                  <a:lnTo>
                    <a:pt x="209" y="268"/>
                  </a:lnTo>
                  <a:lnTo>
                    <a:pt x="210" y="265"/>
                  </a:lnTo>
                  <a:lnTo>
                    <a:pt x="209" y="268"/>
                  </a:lnTo>
                  <a:lnTo>
                    <a:pt x="209" y="269"/>
                  </a:lnTo>
                  <a:lnTo>
                    <a:pt x="209" y="272"/>
                  </a:lnTo>
                  <a:lnTo>
                    <a:pt x="210" y="275"/>
                  </a:lnTo>
                  <a:lnTo>
                    <a:pt x="212" y="275"/>
                  </a:lnTo>
                  <a:lnTo>
                    <a:pt x="213" y="273"/>
                  </a:lnTo>
                  <a:lnTo>
                    <a:pt x="213" y="272"/>
                  </a:lnTo>
                  <a:lnTo>
                    <a:pt x="214" y="269"/>
                  </a:lnTo>
                  <a:lnTo>
                    <a:pt x="216" y="271"/>
                  </a:lnTo>
                  <a:lnTo>
                    <a:pt x="214" y="272"/>
                  </a:lnTo>
                  <a:lnTo>
                    <a:pt x="214" y="273"/>
                  </a:lnTo>
                  <a:lnTo>
                    <a:pt x="217" y="277"/>
                  </a:lnTo>
                  <a:lnTo>
                    <a:pt x="220" y="279"/>
                  </a:lnTo>
                  <a:lnTo>
                    <a:pt x="221" y="279"/>
                  </a:lnTo>
                  <a:lnTo>
                    <a:pt x="224" y="277"/>
                  </a:lnTo>
                  <a:lnTo>
                    <a:pt x="224" y="279"/>
                  </a:lnTo>
                  <a:lnTo>
                    <a:pt x="224" y="280"/>
                  </a:lnTo>
                  <a:lnTo>
                    <a:pt x="223" y="280"/>
                  </a:lnTo>
                  <a:lnTo>
                    <a:pt x="223" y="281"/>
                  </a:lnTo>
                  <a:lnTo>
                    <a:pt x="220" y="281"/>
                  </a:lnTo>
                  <a:lnTo>
                    <a:pt x="220" y="283"/>
                  </a:lnTo>
                  <a:lnTo>
                    <a:pt x="223" y="285"/>
                  </a:lnTo>
                  <a:lnTo>
                    <a:pt x="223" y="287"/>
                  </a:lnTo>
                  <a:lnTo>
                    <a:pt x="221" y="287"/>
                  </a:lnTo>
                  <a:lnTo>
                    <a:pt x="220" y="287"/>
                  </a:lnTo>
                  <a:lnTo>
                    <a:pt x="220" y="288"/>
                  </a:lnTo>
                  <a:lnTo>
                    <a:pt x="221" y="290"/>
                  </a:lnTo>
                  <a:lnTo>
                    <a:pt x="224" y="290"/>
                  </a:lnTo>
                  <a:lnTo>
                    <a:pt x="227" y="291"/>
                  </a:lnTo>
                  <a:lnTo>
                    <a:pt x="229" y="290"/>
                  </a:lnTo>
                  <a:lnTo>
                    <a:pt x="232" y="291"/>
                  </a:lnTo>
                  <a:lnTo>
                    <a:pt x="232" y="290"/>
                  </a:lnTo>
                  <a:lnTo>
                    <a:pt x="233" y="290"/>
                  </a:lnTo>
                  <a:lnTo>
                    <a:pt x="233" y="291"/>
                  </a:lnTo>
                  <a:lnTo>
                    <a:pt x="235" y="294"/>
                  </a:lnTo>
                  <a:lnTo>
                    <a:pt x="236" y="295"/>
                  </a:lnTo>
                  <a:lnTo>
                    <a:pt x="239" y="295"/>
                  </a:lnTo>
                  <a:lnTo>
                    <a:pt x="240" y="294"/>
                  </a:lnTo>
                  <a:lnTo>
                    <a:pt x="239" y="291"/>
                  </a:lnTo>
                  <a:lnTo>
                    <a:pt x="236" y="290"/>
                  </a:lnTo>
                  <a:lnTo>
                    <a:pt x="235" y="290"/>
                  </a:lnTo>
                  <a:lnTo>
                    <a:pt x="236" y="288"/>
                  </a:lnTo>
                  <a:lnTo>
                    <a:pt x="238" y="288"/>
                  </a:lnTo>
                  <a:lnTo>
                    <a:pt x="240" y="291"/>
                  </a:lnTo>
                  <a:lnTo>
                    <a:pt x="242" y="292"/>
                  </a:lnTo>
                  <a:lnTo>
                    <a:pt x="242" y="294"/>
                  </a:lnTo>
                  <a:lnTo>
                    <a:pt x="243" y="294"/>
                  </a:lnTo>
                  <a:lnTo>
                    <a:pt x="244" y="292"/>
                  </a:lnTo>
                  <a:lnTo>
                    <a:pt x="244" y="292"/>
                  </a:lnTo>
                  <a:lnTo>
                    <a:pt x="246" y="294"/>
                  </a:lnTo>
                  <a:lnTo>
                    <a:pt x="248" y="295"/>
                  </a:lnTo>
                  <a:lnTo>
                    <a:pt x="250" y="295"/>
                  </a:lnTo>
                  <a:lnTo>
                    <a:pt x="250" y="294"/>
                  </a:lnTo>
                  <a:lnTo>
                    <a:pt x="248" y="292"/>
                  </a:lnTo>
                  <a:lnTo>
                    <a:pt x="248" y="291"/>
                  </a:lnTo>
                  <a:lnTo>
                    <a:pt x="250" y="291"/>
                  </a:lnTo>
                  <a:lnTo>
                    <a:pt x="251" y="292"/>
                  </a:lnTo>
                  <a:lnTo>
                    <a:pt x="252" y="292"/>
                  </a:lnTo>
                  <a:lnTo>
                    <a:pt x="252" y="292"/>
                  </a:lnTo>
                  <a:lnTo>
                    <a:pt x="254" y="295"/>
                  </a:lnTo>
                  <a:lnTo>
                    <a:pt x="255" y="296"/>
                  </a:lnTo>
                  <a:lnTo>
                    <a:pt x="257" y="295"/>
                  </a:lnTo>
                  <a:lnTo>
                    <a:pt x="257" y="294"/>
                  </a:lnTo>
                  <a:lnTo>
                    <a:pt x="255" y="292"/>
                  </a:lnTo>
                  <a:lnTo>
                    <a:pt x="254" y="292"/>
                  </a:lnTo>
                  <a:lnTo>
                    <a:pt x="254" y="291"/>
                  </a:lnTo>
                  <a:lnTo>
                    <a:pt x="254" y="290"/>
                  </a:lnTo>
                  <a:lnTo>
                    <a:pt x="255" y="291"/>
                  </a:lnTo>
                  <a:lnTo>
                    <a:pt x="257" y="291"/>
                  </a:lnTo>
                  <a:lnTo>
                    <a:pt x="258" y="288"/>
                  </a:lnTo>
                  <a:lnTo>
                    <a:pt x="258" y="287"/>
                  </a:lnTo>
                  <a:lnTo>
                    <a:pt x="258" y="285"/>
                  </a:lnTo>
                  <a:lnTo>
                    <a:pt x="258" y="285"/>
                  </a:lnTo>
                  <a:close/>
                  <a:moveTo>
                    <a:pt x="291" y="310"/>
                  </a:moveTo>
                  <a:lnTo>
                    <a:pt x="292" y="307"/>
                  </a:lnTo>
                  <a:lnTo>
                    <a:pt x="292" y="304"/>
                  </a:lnTo>
                  <a:lnTo>
                    <a:pt x="288" y="302"/>
                  </a:lnTo>
                  <a:lnTo>
                    <a:pt x="285" y="298"/>
                  </a:lnTo>
                  <a:lnTo>
                    <a:pt x="282" y="298"/>
                  </a:lnTo>
                  <a:lnTo>
                    <a:pt x="280" y="295"/>
                  </a:lnTo>
                  <a:lnTo>
                    <a:pt x="277" y="294"/>
                  </a:lnTo>
                  <a:lnTo>
                    <a:pt x="277" y="292"/>
                  </a:lnTo>
                  <a:lnTo>
                    <a:pt x="273" y="291"/>
                  </a:lnTo>
                  <a:lnTo>
                    <a:pt x="272" y="291"/>
                  </a:lnTo>
                  <a:lnTo>
                    <a:pt x="270" y="291"/>
                  </a:lnTo>
                  <a:lnTo>
                    <a:pt x="270" y="292"/>
                  </a:lnTo>
                  <a:lnTo>
                    <a:pt x="269" y="294"/>
                  </a:lnTo>
                  <a:lnTo>
                    <a:pt x="270" y="296"/>
                  </a:lnTo>
                  <a:lnTo>
                    <a:pt x="273" y="296"/>
                  </a:lnTo>
                  <a:lnTo>
                    <a:pt x="272" y="298"/>
                  </a:lnTo>
                  <a:lnTo>
                    <a:pt x="272" y="298"/>
                  </a:lnTo>
                  <a:lnTo>
                    <a:pt x="269" y="296"/>
                  </a:lnTo>
                  <a:lnTo>
                    <a:pt x="269" y="296"/>
                  </a:lnTo>
                  <a:lnTo>
                    <a:pt x="269" y="298"/>
                  </a:lnTo>
                  <a:lnTo>
                    <a:pt x="273" y="303"/>
                  </a:lnTo>
                  <a:lnTo>
                    <a:pt x="276" y="304"/>
                  </a:lnTo>
                  <a:lnTo>
                    <a:pt x="277" y="306"/>
                  </a:lnTo>
                  <a:lnTo>
                    <a:pt x="278" y="306"/>
                  </a:lnTo>
                  <a:lnTo>
                    <a:pt x="278" y="304"/>
                  </a:lnTo>
                  <a:lnTo>
                    <a:pt x="280" y="304"/>
                  </a:lnTo>
                  <a:lnTo>
                    <a:pt x="282" y="304"/>
                  </a:lnTo>
                  <a:lnTo>
                    <a:pt x="282" y="306"/>
                  </a:lnTo>
                  <a:lnTo>
                    <a:pt x="284" y="309"/>
                  </a:lnTo>
                  <a:lnTo>
                    <a:pt x="282" y="309"/>
                  </a:lnTo>
                  <a:lnTo>
                    <a:pt x="284" y="310"/>
                  </a:lnTo>
                  <a:lnTo>
                    <a:pt x="288" y="311"/>
                  </a:lnTo>
                  <a:lnTo>
                    <a:pt x="289" y="310"/>
                  </a:lnTo>
                  <a:lnTo>
                    <a:pt x="291" y="310"/>
                  </a:lnTo>
                  <a:lnTo>
                    <a:pt x="291" y="310"/>
                  </a:lnTo>
                  <a:close/>
                  <a:moveTo>
                    <a:pt x="1308" y="678"/>
                  </a:moveTo>
                  <a:lnTo>
                    <a:pt x="1308" y="676"/>
                  </a:lnTo>
                  <a:lnTo>
                    <a:pt x="1308" y="673"/>
                  </a:lnTo>
                  <a:lnTo>
                    <a:pt x="1308" y="670"/>
                  </a:lnTo>
                  <a:lnTo>
                    <a:pt x="1306" y="667"/>
                  </a:lnTo>
                  <a:lnTo>
                    <a:pt x="1306" y="665"/>
                  </a:lnTo>
                  <a:lnTo>
                    <a:pt x="1309" y="662"/>
                  </a:lnTo>
                  <a:lnTo>
                    <a:pt x="1310" y="663"/>
                  </a:lnTo>
                  <a:lnTo>
                    <a:pt x="1310" y="665"/>
                  </a:lnTo>
                  <a:lnTo>
                    <a:pt x="1312" y="666"/>
                  </a:lnTo>
                  <a:lnTo>
                    <a:pt x="1316" y="665"/>
                  </a:lnTo>
                  <a:lnTo>
                    <a:pt x="1317" y="665"/>
                  </a:lnTo>
                  <a:lnTo>
                    <a:pt x="1317" y="663"/>
                  </a:lnTo>
                  <a:lnTo>
                    <a:pt x="1319" y="665"/>
                  </a:lnTo>
                  <a:lnTo>
                    <a:pt x="1317" y="666"/>
                  </a:lnTo>
                  <a:lnTo>
                    <a:pt x="1319" y="667"/>
                  </a:lnTo>
                  <a:lnTo>
                    <a:pt x="1320" y="670"/>
                  </a:lnTo>
                  <a:lnTo>
                    <a:pt x="1321" y="673"/>
                  </a:lnTo>
                  <a:lnTo>
                    <a:pt x="1323" y="674"/>
                  </a:lnTo>
                  <a:lnTo>
                    <a:pt x="1323" y="672"/>
                  </a:lnTo>
                  <a:lnTo>
                    <a:pt x="1321" y="672"/>
                  </a:lnTo>
                  <a:lnTo>
                    <a:pt x="1321" y="669"/>
                  </a:lnTo>
                  <a:lnTo>
                    <a:pt x="1321" y="666"/>
                  </a:lnTo>
                  <a:lnTo>
                    <a:pt x="1320" y="663"/>
                  </a:lnTo>
                  <a:lnTo>
                    <a:pt x="1319" y="661"/>
                  </a:lnTo>
                  <a:lnTo>
                    <a:pt x="1319" y="659"/>
                  </a:lnTo>
                  <a:lnTo>
                    <a:pt x="1317" y="659"/>
                  </a:lnTo>
                  <a:lnTo>
                    <a:pt x="1314" y="659"/>
                  </a:lnTo>
                  <a:lnTo>
                    <a:pt x="1312" y="658"/>
                  </a:lnTo>
                  <a:lnTo>
                    <a:pt x="1312" y="654"/>
                  </a:lnTo>
                  <a:lnTo>
                    <a:pt x="1310" y="651"/>
                  </a:lnTo>
                  <a:lnTo>
                    <a:pt x="1306" y="648"/>
                  </a:lnTo>
                  <a:lnTo>
                    <a:pt x="1305" y="648"/>
                  </a:lnTo>
                  <a:lnTo>
                    <a:pt x="1304" y="646"/>
                  </a:lnTo>
                  <a:lnTo>
                    <a:pt x="1302" y="642"/>
                  </a:lnTo>
                  <a:lnTo>
                    <a:pt x="1301" y="639"/>
                  </a:lnTo>
                  <a:lnTo>
                    <a:pt x="1300" y="636"/>
                  </a:lnTo>
                  <a:lnTo>
                    <a:pt x="1300" y="632"/>
                  </a:lnTo>
                  <a:lnTo>
                    <a:pt x="1300" y="628"/>
                  </a:lnTo>
                  <a:lnTo>
                    <a:pt x="1298" y="625"/>
                  </a:lnTo>
                  <a:lnTo>
                    <a:pt x="1298" y="621"/>
                  </a:lnTo>
                  <a:lnTo>
                    <a:pt x="1298" y="620"/>
                  </a:lnTo>
                  <a:lnTo>
                    <a:pt x="1297" y="616"/>
                  </a:lnTo>
                  <a:lnTo>
                    <a:pt x="1298" y="614"/>
                  </a:lnTo>
                  <a:lnTo>
                    <a:pt x="1298" y="613"/>
                  </a:lnTo>
                  <a:lnTo>
                    <a:pt x="1298" y="612"/>
                  </a:lnTo>
                  <a:lnTo>
                    <a:pt x="1300" y="612"/>
                  </a:lnTo>
                  <a:lnTo>
                    <a:pt x="1301" y="612"/>
                  </a:lnTo>
                  <a:lnTo>
                    <a:pt x="1304" y="612"/>
                  </a:lnTo>
                  <a:lnTo>
                    <a:pt x="1306" y="612"/>
                  </a:lnTo>
                  <a:lnTo>
                    <a:pt x="1309" y="613"/>
                  </a:lnTo>
                  <a:lnTo>
                    <a:pt x="1310" y="617"/>
                  </a:lnTo>
                  <a:lnTo>
                    <a:pt x="1313" y="617"/>
                  </a:lnTo>
                  <a:lnTo>
                    <a:pt x="1314" y="619"/>
                  </a:lnTo>
                  <a:lnTo>
                    <a:pt x="1317" y="623"/>
                  </a:lnTo>
                  <a:lnTo>
                    <a:pt x="1319" y="623"/>
                  </a:lnTo>
                  <a:lnTo>
                    <a:pt x="1317" y="620"/>
                  </a:lnTo>
                  <a:lnTo>
                    <a:pt x="1314" y="617"/>
                  </a:lnTo>
                  <a:lnTo>
                    <a:pt x="1312" y="614"/>
                  </a:lnTo>
                  <a:lnTo>
                    <a:pt x="1309" y="612"/>
                  </a:lnTo>
                  <a:lnTo>
                    <a:pt x="1308" y="608"/>
                  </a:lnTo>
                  <a:lnTo>
                    <a:pt x="1308" y="606"/>
                  </a:lnTo>
                  <a:lnTo>
                    <a:pt x="1306" y="605"/>
                  </a:lnTo>
                  <a:lnTo>
                    <a:pt x="1304" y="601"/>
                  </a:lnTo>
                  <a:lnTo>
                    <a:pt x="1302" y="598"/>
                  </a:lnTo>
                  <a:lnTo>
                    <a:pt x="1301" y="598"/>
                  </a:lnTo>
                  <a:lnTo>
                    <a:pt x="1301" y="595"/>
                  </a:lnTo>
                  <a:lnTo>
                    <a:pt x="1297" y="591"/>
                  </a:lnTo>
                  <a:lnTo>
                    <a:pt x="1294" y="586"/>
                  </a:lnTo>
                  <a:lnTo>
                    <a:pt x="1294" y="583"/>
                  </a:lnTo>
                  <a:lnTo>
                    <a:pt x="1290" y="578"/>
                  </a:lnTo>
                  <a:lnTo>
                    <a:pt x="1287" y="574"/>
                  </a:lnTo>
                  <a:lnTo>
                    <a:pt x="1286" y="572"/>
                  </a:lnTo>
                  <a:lnTo>
                    <a:pt x="1286" y="570"/>
                  </a:lnTo>
                  <a:lnTo>
                    <a:pt x="1285" y="568"/>
                  </a:lnTo>
                  <a:lnTo>
                    <a:pt x="1283" y="567"/>
                  </a:lnTo>
                  <a:lnTo>
                    <a:pt x="1283" y="568"/>
                  </a:lnTo>
                  <a:lnTo>
                    <a:pt x="1280" y="568"/>
                  </a:lnTo>
                  <a:lnTo>
                    <a:pt x="1280" y="567"/>
                  </a:lnTo>
                  <a:lnTo>
                    <a:pt x="1280" y="565"/>
                  </a:lnTo>
                  <a:lnTo>
                    <a:pt x="1280" y="563"/>
                  </a:lnTo>
                  <a:lnTo>
                    <a:pt x="1278" y="561"/>
                  </a:lnTo>
                  <a:lnTo>
                    <a:pt x="1276" y="559"/>
                  </a:lnTo>
                  <a:lnTo>
                    <a:pt x="1275" y="556"/>
                  </a:lnTo>
                  <a:lnTo>
                    <a:pt x="1274" y="555"/>
                  </a:lnTo>
                  <a:lnTo>
                    <a:pt x="1274" y="552"/>
                  </a:lnTo>
                  <a:lnTo>
                    <a:pt x="1274" y="551"/>
                  </a:lnTo>
                  <a:lnTo>
                    <a:pt x="1275" y="551"/>
                  </a:lnTo>
                  <a:lnTo>
                    <a:pt x="1274" y="546"/>
                  </a:lnTo>
                  <a:lnTo>
                    <a:pt x="1274" y="544"/>
                  </a:lnTo>
                  <a:lnTo>
                    <a:pt x="1272" y="541"/>
                  </a:lnTo>
                  <a:lnTo>
                    <a:pt x="1271" y="540"/>
                  </a:lnTo>
                  <a:lnTo>
                    <a:pt x="1268" y="537"/>
                  </a:lnTo>
                  <a:lnTo>
                    <a:pt x="1268" y="536"/>
                  </a:lnTo>
                  <a:lnTo>
                    <a:pt x="1267" y="534"/>
                  </a:lnTo>
                  <a:lnTo>
                    <a:pt x="1267" y="533"/>
                  </a:lnTo>
                  <a:lnTo>
                    <a:pt x="1268" y="533"/>
                  </a:lnTo>
                  <a:lnTo>
                    <a:pt x="1270" y="534"/>
                  </a:lnTo>
                  <a:lnTo>
                    <a:pt x="1272" y="538"/>
                  </a:lnTo>
                  <a:lnTo>
                    <a:pt x="1271" y="536"/>
                  </a:lnTo>
                  <a:lnTo>
                    <a:pt x="1268" y="532"/>
                  </a:lnTo>
                  <a:lnTo>
                    <a:pt x="1266" y="529"/>
                  </a:lnTo>
                  <a:lnTo>
                    <a:pt x="1264" y="529"/>
                  </a:lnTo>
                  <a:lnTo>
                    <a:pt x="1264" y="526"/>
                  </a:lnTo>
                  <a:lnTo>
                    <a:pt x="1259" y="522"/>
                  </a:lnTo>
                  <a:lnTo>
                    <a:pt x="1257" y="519"/>
                  </a:lnTo>
                  <a:lnTo>
                    <a:pt x="1257" y="517"/>
                  </a:lnTo>
                  <a:lnTo>
                    <a:pt x="1256" y="514"/>
                  </a:lnTo>
                  <a:lnTo>
                    <a:pt x="1253" y="512"/>
                  </a:lnTo>
                  <a:lnTo>
                    <a:pt x="1251" y="510"/>
                  </a:lnTo>
                  <a:lnTo>
                    <a:pt x="1251" y="508"/>
                  </a:lnTo>
                  <a:lnTo>
                    <a:pt x="1249" y="510"/>
                  </a:lnTo>
                  <a:lnTo>
                    <a:pt x="1251" y="511"/>
                  </a:lnTo>
                  <a:lnTo>
                    <a:pt x="1251" y="512"/>
                  </a:lnTo>
                  <a:lnTo>
                    <a:pt x="1249" y="512"/>
                  </a:lnTo>
                  <a:lnTo>
                    <a:pt x="1248" y="512"/>
                  </a:lnTo>
                  <a:lnTo>
                    <a:pt x="1245" y="512"/>
                  </a:lnTo>
                  <a:lnTo>
                    <a:pt x="1248" y="515"/>
                  </a:lnTo>
                  <a:lnTo>
                    <a:pt x="1252" y="518"/>
                  </a:lnTo>
                  <a:lnTo>
                    <a:pt x="1253" y="519"/>
                  </a:lnTo>
                  <a:lnTo>
                    <a:pt x="1253" y="522"/>
                  </a:lnTo>
                  <a:lnTo>
                    <a:pt x="1255" y="521"/>
                  </a:lnTo>
                  <a:lnTo>
                    <a:pt x="1256" y="521"/>
                  </a:lnTo>
                  <a:lnTo>
                    <a:pt x="1256" y="522"/>
                  </a:lnTo>
                  <a:lnTo>
                    <a:pt x="1256" y="523"/>
                  </a:lnTo>
                  <a:lnTo>
                    <a:pt x="1253" y="525"/>
                  </a:lnTo>
                  <a:lnTo>
                    <a:pt x="1255" y="526"/>
                  </a:lnTo>
                  <a:lnTo>
                    <a:pt x="1256" y="526"/>
                  </a:lnTo>
                  <a:lnTo>
                    <a:pt x="1256" y="529"/>
                  </a:lnTo>
                  <a:lnTo>
                    <a:pt x="1255" y="529"/>
                  </a:lnTo>
                  <a:lnTo>
                    <a:pt x="1253" y="529"/>
                  </a:lnTo>
                  <a:lnTo>
                    <a:pt x="1252" y="527"/>
                  </a:lnTo>
                  <a:lnTo>
                    <a:pt x="1251" y="529"/>
                  </a:lnTo>
                  <a:lnTo>
                    <a:pt x="1249" y="532"/>
                  </a:lnTo>
                  <a:lnTo>
                    <a:pt x="1251" y="534"/>
                  </a:lnTo>
                  <a:lnTo>
                    <a:pt x="1252" y="537"/>
                  </a:lnTo>
                  <a:lnTo>
                    <a:pt x="1255" y="540"/>
                  </a:lnTo>
                  <a:lnTo>
                    <a:pt x="1256" y="544"/>
                  </a:lnTo>
                  <a:lnTo>
                    <a:pt x="1256" y="548"/>
                  </a:lnTo>
                  <a:lnTo>
                    <a:pt x="1257" y="549"/>
                  </a:lnTo>
                  <a:lnTo>
                    <a:pt x="1257" y="553"/>
                  </a:lnTo>
                  <a:lnTo>
                    <a:pt x="1259" y="559"/>
                  </a:lnTo>
                  <a:lnTo>
                    <a:pt x="1261" y="563"/>
                  </a:lnTo>
                  <a:lnTo>
                    <a:pt x="1264" y="564"/>
                  </a:lnTo>
                  <a:lnTo>
                    <a:pt x="1264" y="565"/>
                  </a:lnTo>
                  <a:lnTo>
                    <a:pt x="1263" y="565"/>
                  </a:lnTo>
                  <a:lnTo>
                    <a:pt x="1268" y="571"/>
                  </a:lnTo>
                  <a:lnTo>
                    <a:pt x="1271" y="572"/>
                  </a:lnTo>
                  <a:lnTo>
                    <a:pt x="1274" y="576"/>
                  </a:lnTo>
                  <a:lnTo>
                    <a:pt x="1274" y="580"/>
                  </a:lnTo>
                  <a:lnTo>
                    <a:pt x="1274" y="583"/>
                  </a:lnTo>
                  <a:lnTo>
                    <a:pt x="1275" y="586"/>
                  </a:lnTo>
                  <a:lnTo>
                    <a:pt x="1275" y="589"/>
                  </a:lnTo>
                  <a:lnTo>
                    <a:pt x="1278" y="590"/>
                  </a:lnTo>
                  <a:lnTo>
                    <a:pt x="1279" y="593"/>
                  </a:lnTo>
                  <a:lnTo>
                    <a:pt x="1279" y="593"/>
                  </a:lnTo>
                  <a:lnTo>
                    <a:pt x="1279" y="594"/>
                  </a:lnTo>
                  <a:lnTo>
                    <a:pt x="1282" y="598"/>
                  </a:lnTo>
                  <a:lnTo>
                    <a:pt x="1282" y="601"/>
                  </a:lnTo>
                  <a:lnTo>
                    <a:pt x="1283" y="605"/>
                  </a:lnTo>
                  <a:lnTo>
                    <a:pt x="1283" y="609"/>
                  </a:lnTo>
                  <a:lnTo>
                    <a:pt x="1285" y="610"/>
                  </a:lnTo>
                  <a:lnTo>
                    <a:pt x="1285" y="613"/>
                  </a:lnTo>
                  <a:lnTo>
                    <a:pt x="1285" y="617"/>
                  </a:lnTo>
                  <a:lnTo>
                    <a:pt x="1287" y="621"/>
                  </a:lnTo>
                  <a:lnTo>
                    <a:pt x="1286" y="623"/>
                  </a:lnTo>
                  <a:lnTo>
                    <a:pt x="1286" y="625"/>
                  </a:lnTo>
                  <a:lnTo>
                    <a:pt x="1289" y="628"/>
                  </a:lnTo>
                  <a:lnTo>
                    <a:pt x="1293" y="633"/>
                  </a:lnTo>
                  <a:lnTo>
                    <a:pt x="1293" y="636"/>
                  </a:lnTo>
                  <a:lnTo>
                    <a:pt x="1295" y="639"/>
                  </a:lnTo>
                  <a:lnTo>
                    <a:pt x="1294" y="644"/>
                  </a:lnTo>
                  <a:lnTo>
                    <a:pt x="1295" y="647"/>
                  </a:lnTo>
                  <a:lnTo>
                    <a:pt x="1297" y="651"/>
                  </a:lnTo>
                  <a:lnTo>
                    <a:pt x="1298" y="654"/>
                  </a:lnTo>
                  <a:lnTo>
                    <a:pt x="1301" y="658"/>
                  </a:lnTo>
                  <a:lnTo>
                    <a:pt x="1301" y="659"/>
                  </a:lnTo>
                  <a:lnTo>
                    <a:pt x="1301" y="663"/>
                  </a:lnTo>
                  <a:lnTo>
                    <a:pt x="1300" y="667"/>
                  </a:lnTo>
                  <a:lnTo>
                    <a:pt x="1301" y="672"/>
                  </a:lnTo>
                  <a:lnTo>
                    <a:pt x="1304" y="673"/>
                  </a:lnTo>
                  <a:lnTo>
                    <a:pt x="1305" y="677"/>
                  </a:lnTo>
                  <a:lnTo>
                    <a:pt x="1308" y="678"/>
                  </a:lnTo>
                  <a:lnTo>
                    <a:pt x="1308" y="678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07" name="Freeform 7"/>
            <p:cNvSpPr>
              <a:spLocks/>
            </p:cNvSpPr>
            <p:nvPr/>
          </p:nvSpPr>
          <p:spPr bwMode="auto">
            <a:xfrm>
              <a:off x="2678" y="1214"/>
              <a:ext cx="765" cy="537"/>
            </a:xfrm>
            <a:custGeom>
              <a:avLst/>
              <a:gdLst>
                <a:gd name="T0" fmla="*/ 563 w 765"/>
                <a:gd name="T1" fmla="*/ 81 h 537"/>
                <a:gd name="T2" fmla="*/ 576 w 765"/>
                <a:gd name="T3" fmla="*/ 61 h 537"/>
                <a:gd name="T4" fmla="*/ 578 w 765"/>
                <a:gd name="T5" fmla="*/ 36 h 537"/>
                <a:gd name="T6" fmla="*/ 569 w 765"/>
                <a:gd name="T7" fmla="*/ 21 h 537"/>
                <a:gd name="T8" fmla="*/ 582 w 765"/>
                <a:gd name="T9" fmla="*/ 8 h 537"/>
                <a:gd name="T10" fmla="*/ 603 w 765"/>
                <a:gd name="T11" fmla="*/ 0 h 537"/>
                <a:gd name="T12" fmla="*/ 622 w 765"/>
                <a:gd name="T13" fmla="*/ 4 h 537"/>
                <a:gd name="T14" fmla="*/ 634 w 765"/>
                <a:gd name="T15" fmla="*/ 9 h 537"/>
                <a:gd name="T16" fmla="*/ 644 w 765"/>
                <a:gd name="T17" fmla="*/ 21 h 537"/>
                <a:gd name="T18" fmla="*/ 653 w 765"/>
                <a:gd name="T19" fmla="*/ 39 h 537"/>
                <a:gd name="T20" fmla="*/ 667 w 765"/>
                <a:gd name="T21" fmla="*/ 60 h 537"/>
                <a:gd name="T22" fmla="*/ 683 w 765"/>
                <a:gd name="T23" fmla="*/ 68 h 537"/>
                <a:gd name="T24" fmla="*/ 697 w 765"/>
                <a:gd name="T25" fmla="*/ 72 h 537"/>
                <a:gd name="T26" fmla="*/ 710 w 765"/>
                <a:gd name="T27" fmla="*/ 79 h 537"/>
                <a:gd name="T28" fmla="*/ 716 w 765"/>
                <a:gd name="T29" fmla="*/ 92 h 537"/>
                <a:gd name="T30" fmla="*/ 733 w 765"/>
                <a:gd name="T31" fmla="*/ 99 h 537"/>
                <a:gd name="T32" fmla="*/ 748 w 765"/>
                <a:gd name="T33" fmla="*/ 87 h 537"/>
                <a:gd name="T34" fmla="*/ 762 w 765"/>
                <a:gd name="T35" fmla="*/ 93 h 537"/>
                <a:gd name="T36" fmla="*/ 760 w 765"/>
                <a:gd name="T37" fmla="*/ 111 h 537"/>
                <a:gd name="T38" fmla="*/ 762 w 765"/>
                <a:gd name="T39" fmla="*/ 126 h 537"/>
                <a:gd name="T40" fmla="*/ 762 w 765"/>
                <a:gd name="T41" fmla="*/ 142 h 537"/>
                <a:gd name="T42" fmla="*/ 740 w 765"/>
                <a:gd name="T43" fmla="*/ 149 h 537"/>
                <a:gd name="T44" fmla="*/ 748 w 765"/>
                <a:gd name="T45" fmla="*/ 178 h 537"/>
                <a:gd name="T46" fmla="*/ 733 w 765"/>
                <a:gd name="T47" fmla="*/ 200 h 537"/>
                <a:gd name="T48" fmla="*/ 673 w 765"/>
                <a:gd name="T49" fmla="*/ 250 h 537"/>
                <a:gd name="T50" fmla="*/ 657 w 765"/>
                <a:gd name="T51" fmla="*/ 261 h 537"/>
                <a:gd name="T52" fmla="*/ 659 w 765"/>
                <a:gd name="T53" fmla="*/ 251 h 537"/>
                <a:gd name="T54" fmla="*/ 653 w 765"/>
                <a:gd name="T55" fmla="*/ 228 h 537"/>
                <a:gd name="T56" fmla="*/ 630 w 765"/>
                <a:gd name="T57" fmla="*/ 253 h 537"/>
                <a:gd name="T58" fmla="*/ 615 w 765"/>
                <a:gd name="T59" fmla="*/ 265 h 537"/>
                <a:gd name="T60" fmla="*/ 627 w 765"/>
                <a:gd name="T61" fmla="*/ 281 h 537"/>
                <a:gd name="T62" fmla="*/ 648 w 765"/>
                <a:gd name="T63" fmla="*/ 285 h 537"/>
                <a:gd name="T64" fmla="*/ 673 w 765"/>
                <a:gd name="T65" fmla="*/ 282 h 537"/>
                <a:gd name="T66" fmla="*/ 676 w 765"/>
                <a:gd name="T67" fmla="*/ 296 h 537"/>
                <a:gd name="T68" fmla="*/ 661 w 765"/>
                <a:gd name="T69" fmla="*/ 301 h 537"/>
                <a:gd name="T70" fmla="*/ 648 w 765"/>
                <a:gd name="T71" fmla="*/ 321 h 537"/>
                <a:gd name="T72" fmla="*/ 672 w 765"/>
                <a:gd name="T73" fmla="*/ 354 h 537"/>
                <a:gd name="T74" fmla="*/ 676 w 765"/>
                <a:gd name="T75" fmla="*/ 371 h 537"/>
                <a:gd name="T76" fmla="*/ 650 w 765"/>
                <a:gd name="T77" fmla="*/ 367 h 537"/>
                <a:gd name="T78" fmla="*/ 680 w 765"/>
                <a:gd name="T79" fmla="*/ 376 h 537"/>
                <a:gd name="T80" fmla="*/ 669 w 765"/>
                <a:gd name="T81" fmla="*/ 395 h 537"/>
                <a:gd name="T82" fmla="*/ 694 w 765"/>
                <a:gd name="T83" fmla="*/ 401 h 537"/>
                <a:gd name="T84" fmla="*/ 694 w 765"/>
                <a:gd name="T85" fmla="*/ 410 h 537"/>
                <a:gd name="T86" fmla="*/ 690 w 765"/>
                <a:gd name="T87" fmla="*/ 417 h 537"/>
                <a:gd name="T88" fmla="*/ 686 w 765"/>
                <a:gd name="T89" fmla="*/ 429 h 537"/>
                <a:gd name="T90" fmla="*/ 679 w 765"/>
                <a:gd name="T91" fmla="*/ 440 h 537"/>
                <a:gd name="T92" fmla="*/ 671 w 765"/>
                <a:gd name="T93" fmla="*/ 448 h 537"/>
                <a:gd name="T94" fmla="*/ 672 w 765"/>
                <a:gd name="T95" fmla="*/ 462 h 537"/>
                <a:gd name="T96" fmla="*/ 668 w 765"/>
                <a:gd name="T97" fmla="*/ 466 h 537"/>
                <a:gd name="T98" fmla="*/ 665 w 765"/>
                <a:gd name="T99" fmla="*/ 473 h 537"/>
                <a:gd name="T100" fmla="*/ 661 w 765"/>
                <a:gd name="T101" fmla="*/ 484 h 537"/>
                <a:gd name="T102" fmla="*/ 648 w 765"/>
                <a:gd name="T103" fmla="*/ 490 h 537"/>
                <a:gd name="T104" fmla="*/ 635 w 765"/>
                <a:gd name="T105" fmla="*/ 503 h 537"/>
                <a:gd name="T106" fmla="*/ 622 w 765"/>
                <a:gd name="T107" fmla="*/ 505 h 537"/>
                <a:gd name="T108" fmla="*/ 610 w 765"/>
                <a:gd name="T109" fmla="*/ 503 h 537"/>
                <a:gd name="T110" fmla="*/ 596 w 765"/>
                <a:gd name="T111" fmla="*/ 519 h 537"/>
                <a:gd name="T112" fmla="*/ 578 w 765"/>
                <a:gd name="T113" fmla="*/ 523 h 537"/>
                <a:gd name="T114" fmla="*/ 576 w 765"/>
                <a:gd name="T115" fmla="*/ 530 h 537"/>
                <a:gd name="T116" fmla="*/ 569 w 765"/>
                <a:gd name="T117" fmla="*/ 533 h 537"/>
                <a:gd name="T118" fmla="*/ 559 w 765"/>
                <a:gd name="T119" fmla="*/ 520 h 537"/>
                <a:gd name="T120" fmla="*/ 536 w 765"/>
                <a:gd name="T121" fmla="*/ 522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65" h="537">
                  <a:moveTo>
                    <a:pt x="232" y="119"/>
                  </a:moveTo>
                  <a:lnTo>
                    <a:pt x="236" y="119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343" y="123"/>
                  </a:lnTo>
                  <a:lnTo>
                    <a:pt x="527" y="103"/>
                  </a:lnTo>
                  <a:lnTo>
                    <a:pt x="550" y="80"/>
                  </a:lnTo>
                  <a:lnTo>
                    <a:pt x="554" y="79"/>
                  </a:lnTo>
                  <a:lnTo>
                    <a:pt x="555" y="79"/>
                  </a:lnTo>
                  <a:lnTo>
                    <a:pt x="557" y="80"/>
                  </a:lnTo>
                  <a:lnTo>
                    <a:pt x="558" y="79"/>
                  </a:lnTo>
                  <a:lnTo>
                    <a:pt x="562" y="80"/>
                  </a:lnTo>
                  <a:lnTo>
                    <a:pt x="563" y="81"/>
                  </a:lnTo>
                  <a:lnTo>
                    <a:pt x="565" y="81"/>
                  </a:lnTo>
                  <a:lnTo>
                    <a:pt x="570" y="76"/>
                  </a:lnTo>
                  <a:lnTo>
                    <a:pt x="573" y="73"/>
                  </a:lnTo>
                  <a:lnTo>
                    <a:pt x="577" y="73"/>
                  </a:lnTo>
                  <a:lnTo>
                    <a:pt x="578" y="70"/>
                  </a:lnTo>
                  <a:lnTo>
                    <a:pt x="580" y="69"/>
                  </a:lnTo>
                  <a:lnTo>
                    <a:pt x="580" y="66"/>
                  </a:lnTo>
                  <a:lnTo>
                    <a:pt x="578" y="66"/>
                  </a:lnTo>
                  <a:lnTo>
                    <a:pt x="577" y="66"/>
                  </a:lnTo>
                  <a:lnTo>
                    <a:pt x="577" y="66"/>
                  </a:lnTo>
                  <a:lnTo>
                    <a:pt x="576" y="65"/>
                  </a:lnTo>
                  <a:lnTo>
                    <a:pt x="576" y="62"/>
                  </a:lnTo>
                  <a:lnTo>
                    <a:pt x="576" y="61"/>
                  </a:lnTo>
                  <a:lnTo>
                    <a:pt x="576" y="58"/>
                  </a:lnTo>
                  <a:lnTo>
                    <a:pt x="574" y="55"/>
                  </a:lnTo>
                  <a:lnTo>
                    <a:pt x="576" y="54"/>
                  </a:lnTo>
                  <a:lnTo>
                    <a:pt x="577" y="54"/>
                  </a:lnTo>
                  <a:lnTo>
                    <a:pt x="577" y="51"/>
                  </a:lnTo>
                  <a:lnTo>
                    <a:pt x="576" y="50"/>
                  </a:lnTo>
                  <a:lnTo>
                    <a:pt x="576" y="47"/>
                  </a:lnTo>
                  <a:lnTo>
                    <a:pt x="576" y="46"/>
                  </a:lnTo>
                  <a:lnTo>
                    <a:pt x="574" y="45"/>
                  </a:lnTo>
                  <a:lnTo>
                    <a:pt x="574" y="42"/>
                  </a:lnTo>
                  <a:lnTo>
                    <a:pt x="576" y="40"/>
                  </a:lnTo>
                  <a:lnTo>
                    <a:pt x="577" y="39"/>
                  </a:lnTo>
                  <a:lnTo>
                    <a:pt x="578" y="36"/>
                  </a:lnTo>
                  <a:lnTo>
                    <a:pt x="580" y="34"/>
                  </a:lnTo>
                  <a:lnTo>
                    <a:pt x="581" y="32"/>
                  </a:lnTo>
                  <a:lnTo>
                    <a:pt x="581" y="30"/>
                  </a:lnTo>
                  <a:lnTo>
                    <a:pt x="581" y="28"/>
                  </a:lnTo>
                  <a:lnTo>
                    <a:pt x="581" y="27"/>
                  </a:lnTo>
                  <a:lnTo>
                    <a:pt x="578" y="26"/>
                  </a:lnTo>
                  <a:lnTo>
                    <a:pt x="578" y="23"/>
                  </a:lnTo>
                  <a:lnTo>
                    <a:pt x="576" y="20"/>
                  </a:lnTo>
                  <a:lnTo>
                    <a:pt x="574" y="20"/>
                  </a:lnTo>
                  <a:lnTo>
                    <a:pt x="573" y="21"/>
                  </a:lnTo>
                  <a:lnTo>
                    <a:pt x="570" y="23"/>
                  </a:lnTo>
                  <a:lnTo>
                    <a:pt x="569" y="23"/>
                  </a:lnTo>
                  <a:lnTo>
                    <a:pt x="569" y="21"/>
                  </a:lnTo>
                  <a:lnTo>
                    <a:pt x="569" y="19"/>
                  </a:lnTo>
                  <a:lnTo>
                    <a:pt x="569" y="17"/>
                  </a:lnTo>
                  <a:lnTo>
                    <a:pt x="569" y="16"/>
                  </a:lnTo>
                  <a:lnTo>
                    <a:pt x="570" y="15"/>
                  </a:lnTo>
                  <a:lnTo>
                    <a:pt x="570" y="13"/>
                  </a:lnTo>
                  <a:lnTo>
                    <a:pt x="573" y="11"/>
                  </a:lnTo>
                  <a:lnTo>
                    <a:pt x="573" y="9"/>
                  </a:lnTo>
                  <a:lnTo>
                    <a:pt x="574" y="8"/>
                  </a:lnTo>
                  <a:lnTo>
                    <a:pt x="577" y="8"/>
                  </a:lnTo>
                  <a:lnTo>
                    <a:pt x="578" y="8"/>
                  </a:lnTo>
                  <a:lnTo>
                    <a:pt x="580" y="8"/>
                  </a:lnTo>
                  <a:lnTo>
                    <a:pt x="580" y="6"/>
                  </a:lnTo>
                  <a:lnTo>
                    <a:pt x="582" y="8"/>
                  </a:lnTo>
                  <a:lnTo>
                    <a:pt x="584" y="6"/>
                  </a:lnTo>
                  <a:lnTo>
                    <a:pt x="585" y="5"/>
                  </a:lnTo>
                  <a:lnTo>
                    <a:pt x="586" y="5"/>
                  </a:lnTo>
                  <a:lnTo>
                    <a:pt x="588" y="4"/>
                  </a:lnTo>
                  <a:lnTo>
                    <a:pt x="591" y="4"/>
                  </a:lnTo>
                  <a:lnTo>
                    <a:pt x="592" y="4"/>
                  </a:lnTo>
                  <a:lnTo>
                    <a:pt x="595" y="4"/>
                  </a:lnTo>
                  <a:lnTo>
                    <a:pt x="596" y="2"/>
                  </a:lnTo>
                  <a:lnTo>
                    <a:pt x="596" y="2"/>
                  </a:lnTo>
                  <a:lnTo>
                    <a:pt x="597" y="1"/>
                  </a:lnTo>
                  <a:lnTo>
                    <a:pt x="600" y="0"/>
                  </a:lnTo>
                  <a:lnTo>
                    <a:pt x="601" y="0"/>
                  </a:lnTo>
                  <a:lnTo>
                    <a:pt x="603" y="0"/>
                  </a:lnTo>
                  <a:lnTo>
                    <a:pt x="604" y="1"/>
                  </a:lnTo>
                  <a:lnTo>
                    <a:pt x="605" y="1"/>
                  </a:lnTo>
                  <a:lnTo>
                    <a:pt x="610" y="2"/>
                  </a:lnTo>
                  <a:lnTo>
                    <a:pt x="611" y="4"/>
                  </a:lnTo>
                  <a:lnTo>
                    <a:pt x="611" y="4"/>
                  </a:lnTo>
                  <a:lnTo>
                    <a:pt x="614" y="4"/>
                  </a:lnTo>
                  <a:lnTo>
                    <a:pt x="615" y="4"/>
                  </a:lnTo>
                  <a:lnTo>
                    <a:pt x="616" y="5"/>
                  </a:lnTo>
                  <a:lnTo>
                    <a:pt x="619" y="5"/>
                  </a:lnTo>
                  <a:lnTo>
                    <a:pt x="619" y="5"/>
                  </a:lnTo>
                  <a:lnTo>
                    <a:pt x="619" y="4"/>
                  </a:lnTo>
                  <a:lnTo>
                    <a:pt x="620" y="2"/>
                  </a:lnTo>
                  <a:lnTo>
                    <a:pt x="622" y="4"/>
                  </a:lnTo>
                  <a:lnTo>
                    <a:pt x="623" y="4"/>
                  </a:lnTo>
                  <a:lnTo>
                    <a:pt x="625" y="2"/>
                  </a:lnTo>
                  <a:lnTo>
                    <a:pt x="625" y="4"/>
                  </a:lnTo>
                  <a:lnTo>
                    <a:pt x="626" y="4"/>
                  </a:lnTo>
                  <a:lnTo>
                    <a:pt x="627" y="5"/>
                  </a:lnTo>
                  <a:lnTo>
                    <a:pt x="629" y="6"/>
                  </a:lnTo>
                  <a:lnTo>
                    <a:pt x="629" y="6"/>
                  </a:lnTo>
                  <a:lnTo>
                    <a:pt x="629" y="8"/>
                  </a:lnTo>
                  <a:lnTo>
                    <a:pt x="630" y="8"/>
                  </a:lnTo>
                  <a:lnTo>
                    <a:pt x="630" y="9"/>
                  </a:lnTo>
                  <a:lnTo>
                    <a:pt x="631" y="8"/>
                  </a:lnTo>
                  <a:lnTo>
                    <a:pt x="633" y="9"/>
                  </a:lnTo>
                  <a:lnTo>
                    <a:pt x="634" y="9"/>
                  </a:lnTo>
                  <a:lnTo>
                    <a:pt x="633" y="11"/>
                  </a:lnTo>
                  <a:lnTo>
                    <a:pt x="634" y="12"/>
                  </a:lnTo>
                  <a:lnTo>
                    <a:pt x="635" y="12"/>
                  </a:lnTo>
                  <a:lnTo>
                    <a:pt x="637" y="12"/>
                  </a:lnTo>
                  <a:lnTo>
                    <a:pt x="637" y="13"/>
                  </a:lnTo>
                  <a:lnTo>
                    <a:pt x="638" y="15"/>
                  </a:lnTo>
                  <a:lnTo>
                    <a:pt x="638" y="15"/>
                  </a:lnTo>
                  <a:lnTo>
                    <a:pt x="639" y="16"/>
                  </a:lnTo>
                  <a:lnTo>
                    <a:pt x="639" y="17"/>
                  </a:lnTo>
                  <a:lnTo>
                    <a:pt x="639" y="19"/>
                  </a:lnTo>
                  <a:lnTo>
                    <a:pt x="639" y="20"/>
                  </a:lnTo>
                  <a:lnTo>
                    <a:pt x="641" y="21"/>
                  </a:lnTo>
                  <a:lnTo>
                    <a:pt x="644" y="21"/>
                  </a:lnTo>
                  <a:lnTo>
                    <a:pt x="644" y="23"/>
                  </a:lnTo>
                  <a:lnTo>
                    <a:pt x="644" y="24"/>
                  </a:lnTo>
                  <a:lnTo>
                    <a:pt x="644" y="26"/>
                  </a:lnTo>
                  <a:lnTo>
                    <a:pt x="646" y="27"/>
                  </a:lnTo>
                  <a:lnTo>
                    <a:pt x="648" y="28"/>
                  </a:lnTo>
                  <a:lnTo>
                    <a:pt x="649" y="31"/>
                  </a:lnTo>
                  <a:lnTo>
                    <a:pt x="649" y="32"/>
                  </a:lnTo>
                  <a:lnTo>
                    <a:pt x="650" y="32"/>
                  </a:lnTo>
                  <a:lnTo>
                    <a:pt x="650" y="35"/>
                  </a:lnTo>
                  <a:lnTo>
                    <a:pt x="653" y="36"/>
                  </a:lnTo>
                  <a:lnTo>
                    <a:pt x="652" y="36"/>
                  </a:lnTo>
                  <a:lnTo>
                    <a:pt x="652" y="38"/>
                  </a:lnTo>
                  <a:lnTo>
                    <a:pt x="653" y="39"/>
                  </a:lnTo>
                  <a:lnTo>
                    <a:pt x="654" y="38"/>
                  </a:lnTo>
                  <a:lnTo>
                    <a:pt x="654" y="40"/>
                  </a:lnTo>
                  <a:lnTo>
                    <a:pt x="656" y="42"/>
                  </a:lnTo>
                  <a:lnTo>
                    <a:pt x="657" y="45"/>
                  </a:lnTo>
                  <a:lnTo>
                    <a:pt x="661" y="47"/>
                  </a:lnTo>
                  <a:lnTo>
                    <a:pt x="663" y="50"/>
                  </a:lnTo>
                  <a:lnTo>
                    <a:pt x="663" y="51"/>
                  </a:lnTo>
                  <a:lnTo>
                    <a:pt x="664" y="53"/>
                  </a:lnTo>
                  <a:lnTo>
                    <a:pt x="664" y="55"/>
                  </a:lnTo>
                  <a:lnTo>
                    <a:pt x="665" y="55"/>
                  </a:lnTo>
                  <a:lnTo>
                    <a:pt x="667" y="55"/>
                  </a:lnTo>
                  <a:lnTo>
                    <a:pt x="667" y="58"/>
                  </a:lnTo>
                  <a:lnTo>
                    <a:pt x="667" y="60"/>
                  </a:lnTo>
                  <a:lnTo>
                    <a:pt x="668" y="62"/>
                  </a:lnTo>
                  <a:lnTo>
                    <a:pt x="671" y="65"/>
                  </a:lnTo>
                  <a:lnTo>
                    <a:pt x="672" y="65"/>
                  </a:lnTo>
                  <a:lnTo>
                    <a:pt x="673" y="66"/>
                  </a:lnTo>
                  <a:lnTo>
                    <a:pt x="675" y="66"/>
                  </a:lnTo>
                  <a:lnTo>
                    <a:pt x="676" y="66"/>
                  </a:lnTo>
                  <a:lnTo>
                    <a:pt x="678" y="68"/>
                  </a:lnTo>
                  <a:lnTo>
                    <a:pt x="678" y="66"/>
                  </a:lnTo>
                  <a:lnTo>
                    <a:pt x="680" y="68"/>
                  </a:lnTo>
                  <a:lnTo>
                    <a:pt x="682" y="66"/>
                  </a:lnTo>
                  <a:lnTo>
                    <a:pt x="683" y="66"/>
                  </a:lnTo>
                  <a:lnTo>
                    <a:pt x="683" y="66"/>
                  </a:lnTo>
                  <a:lnTo>
                    <a:pt x="683" y="68"/>
                  </a:lnTo>
                  <a:lnTo>
                    <a:pt x="683" y="68"/>
                  </a:lnTo>
                  <a:lnTo>
                    <a:pt x="686" y="69"/>
                  </a:lnTo>
                  <a:lnTo>
                    <a:pt x="687" y="69"/>
                  </a:lnTo>
                  <a:lnTo>
                    <a:pt x="688" y="70"/>
                  </a:lnTo>
                  <a:lnTo>
                    <a:pt x="690" y="70"/>
                  </a:lnTo>
                  <a:lnTo>
                    <a:pt x="690" y="70"/>
                  </a:lnTo>
                  <a:lnTo>
                    <a:pt x="691" y="69"/>
                  </a:lnTo>
                  <a:lnTo>
                    <a:pt x="693" y="70"/>
                  </a:lnTo>
                  <a:lnTo>
                    <a:pt x="693" y="69"/>
                  </a:lnTo>
                  <a:lnTo>
                    <a:pt x="694" y="68"/>
                  </a:lnTo>
                  <a:lnTo>
                    <a:pt x="695" y="69"/>
                  </a:lnTo>
                  <a:lnTo>
                    <a:pt x="695" y="70"/>
                  </a:lnTo>
                  <a:lnTo>
                    <a:pt x="697" y="72"/>
                  </a:lnTo>
                  <a:lnTo>
                    <a:pt x="698" y="72"/>
                  </a:lnTo>
                  <a:lnTo>
                    <a:pt x="698" y="73"/>
                  </a:lnTo>
                  <a:lnTo>
                    <a:pt x="699" y="74"/>
                  </a:lnTo>
                  <a:lnTo>
                    <a:pt x="699" y="74"/>
                  </a:lnTo>
                  <a:lnTo>
                    <a:pt x="701" y="76"/>
                  </a:lnTo>
                  <a:lnTo>
                    <a:pt x="701" y="76"/>
                  </a:lnTo>
                  <a:lnTo>
                    <a:pt x="703" y="77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6" y="79"/>
                  </a:lnTo>
                  <a:lnTo>
                    <a:pt x="709" y="80"/>
                  </a:lnTo>
                  <a:lnTo>
                    <a:pt x="709" y="79"/>
                  </a:lnTo>
                  <a:lnTo>
                    <a:pt x="710" y="79"/>
                  </a:lnTo>
                  <a:lnTo>
                    <a:pt x="712" y="79"/>
                  </a:lnTo>
                  <a:lnTo>
                    <a:pt x="713" y="77"/>
                  </a:lnTo>
                  <a:lnTo>
                    <a:pt x="714" y="79"/>
                  </a:lnTo>
                  <a:lnTo>
                    <a:pt x="714" y="80"/>
                  </a:lnTo>
                  <a:lnTo>
                    <a:pt x="713" y="81"/>
                  </a:lnTo>
                  <a:lnTo>
                    <a:pt x="713" y="83"/>
                  </a:lnTo>
                  <a:lnTo>
                    <a:pt x="713" y="84"/>
                  </a:lnTo>
                  <a:lnTo>
                    <a:pt x="714" y="84"/>
                  </a:lnTo>
                  <a:lnTo>
                    <a:pt x="716" y="87"/>
                  </a:lnTo>
                  <a:lnTo>
                    <a:pt x="716" y="88"/>
                  </a:lnTo>
                  <a:lnTo>
                    <a:pt x="716" y="91"/>
                  </a:lnTo>
                  <a:lnTo>
                    <a:pt x="716" y="91"/>
                  </a:lnTo>
                  <a:lnTo>
                    <a:pt x="716" y="92"/>
                  </a:lnTo>
                  <a:lnTo>
                    <a:pt x="717" y="95"/>
                  </a:lnTo>
                  <a:lnTo>
                    <a:pt x="718" y="96"/>
                  </a:lnTo>
                  <a:lnTo>
                    <a:pt x="720" y="99"/>
                  </a:lnTo>
                  <a:lnTo>
                    <a:pt x="721" y="99"/>
                  </a:lnTo>
                  <a:lnTo>
                    <a:pt x="722" y="99"/>
                  </a:lnTo>
                  <a:lnTo>
                    <a:pt x="724" y="98"/>
                  </a:lnTo>
                  <a:lnTo>
                    <a:pt x="725" y="98"/>
                  </a:lnTo>
                  <a:lnTo>
                    <a:pt x="727" y="99"/>
                  </a:lnTo>
                  <a:lnTo>
                    <a:pt x="728" y="102"/>
                  </a:lnTo>
                  <a:lnTo>
                    <a:pt x="729" y="100"/>
                  </a:lnTo>
                  <a:lnTo>
                    <a:pt x="729" y="99"/>
                  </a:lnTo>
                  <a:lnTo>
                    <a:pt x="732" y="100"/>
                  </a:lnTo>
                  <a:lnTo>
                    <a:pt x="733" y="99"/>
                  </a:lnTo>
                  <a:lnTo>
                    <a:pt x="736" y="99"/>
                  </a:lnTo>
                  <a:lnTo>
                    <a:pt x="737" y="98"/>
                  </a:lnTo>
                  <a:lnTo>
                    <a:pt x="739" y="98"/>
                  </a:lnTo>
                  <a:lnTo>
                    <a:pt x="739" y="96"/>
                  </a:lnTo>
                  <a:lnTo>
                    <a:pt x="739" y="93"/>
                  </a:lnTo>
                  <a:lnTo>
                    <a:pt x="740" y="92"/>
                  </a:lnTo>
                  <a:lnTo>
                    <a:pt x="740" y="91"/>
                  </a:lnTo>
                  <a:lnTo>
                    <a:pt x="741" y="89"/>
                  </a:lnTo>
                  <a:lnTo>
                    <a:pt x="743" y="89"/>
                  </a:lnTo>
                  <a:lnTo>
                    <a:pt x="746" y="89"/>
                  </a:lnTo>
                  <a:lnTo>
                    <a:pt x="746" y="87"/>
                  </a:lnTo>
                  <a:lnTo>
                    <a:pt x="747" y="87"/>
                  </a:lnTo>
                  <a:lnTo>
                    <a:pt x="748" y="87"/>
                  </a:lnTo>
                  <a:lnTo>
                    <a:pt x="748" y="84"/>
                  </a:lnTo>
                  <a:lnTo>
                    <a:pt x="750" y="83"/>
                  </a:lnTo>
                  <a:lnTo>
                    <a:pt x="752" y="83"/>
                  </a:lnTo>
                  <a:lnTo>
                    <a:pt x="752" y="81"/>
                  </a:lnTo>
                  <a:lnTo>
                    <a:pt x="755" y="83"/>
                  </a:lnTo>
                  <a:lnTo>
                    <a:pt x="756" y="84"/>
                  </a:lnTo>
                  <a:lnTo>
                    <a:pt x="758" y="84"/>
                  </a:lnTo>
                  <a:lnTo>
                    <a:pt x="759" y="85"/>
                  </a:lnTo>
                  <a:lnTo>
                    <a:pt x="760" y="87"/>
                  </a:lnTo>
                  <a:lnTo>
                    <a:pt x="759" y="88"/>
                  </a:lnTo>
                  <a:lnTo>
                    <a:pt x="759" y="89"/>
                  </a:lnTo>
                  <a:lnTo>
                    <a:pt x="762" y="91"/>
                  </a:lnTo>
                  <a:lnTo>
                    <a:pt x="762" y="93"/>
                  </a:lnTo>
                  <a:lnTo>
                    <a:pt x="763" y="95"/>
                  </a:lnTo>
                  <a:lnTo>
                    <a:pt x="765" y="95"/>
                  </a:lnTo>
                  <a:lnTo>
                    <a:pt x="763" y="98"/>
                  </a:lnTo>
                  <a:lnTo>
                    <a:pt x="763" y="99"/>
                  </a:lnTo>
                  <a:lnTo>
                    <a:pt x="763" y="100"/>
                  </a:lnTo>
                  <a:lnTo>
                    <a:pt x="762" y="100"/>
                  </a:lnTo>
                  <a:lnTo>
                    <a:pt x="759" y="103"/>
                  </a:lnTo>
                  <a:lnTo>
                    <a:pt x="759" y="104"/>
                  </a:lnTo>
                  <a:lnTo>
                    <a:pt x="760" y="106"/>
                  </a:lnTo>
                  <a:lnTo>
                    <a:pt x="762" y="106"/>
                  </a:lnTo>
                  <a:lnTo>
                    <a:pt x="760" y="108"/>
                  </a:lnTo>
                  <a:lnTo>
                    <a:pt x="760" y="110"/>
                  </a:lnTo>
                  <a:lnTo>
                    <a:pt x="760" y="111"/>
                  </a:lnTo>
                  <a:lnTo>
                    <a:pt x="762" y="111"/>
                  </a:lnTo>
                  <a:lnTo>
                    <a:pt x="762" y="113"/>
                  </a:lnTo>
                  <a:lnTo>
                    <a:pt x="763" y="114"/>
                  </a:lnTo>
                  <a:lnTo>
                    <a:pt x="763" y="114"/>
                  </a:lnTo>
                  <a:lnTo>
                    <a:pt x="762" y="115"/>
                  </a:lnTo>
                  <a:lnTo>
                    <a:pt x="762" y="115"/>
                  </a:lnTo>
                  <a:lnTo>
                    <a:pt x="762" y="118"/>
                  </a:lnTo>
                  <a:lnTo>
                    <a:pt x="762" y="121"/>
                  </a:lnTo>
                  <a:lnTo>
                    <a:pt x="763" y="122"/>
                  </a:lnTo>
                  <a:lnTo>
                    <a:pt x="763" y="122"/>
                  </a:lnTo>
                  <a:lnTo>
                    <a:pt x="762" y="123"/>
                  </a:lnTo>
                  <a:lnTo>
                    <a:pt x="762" y="125"/>
                  </a:lnTo>
                  <a:lnTo>
                    <a:pt x="762" y="126"/>
                  </a:lnTo>
                  <a:lnTo>
                    <a:pt x="762" y="127"/>
                  </a:lnTo>
                  <a:lnTo>
                    <a:pt x="763" y="129"/>
                  </a:lnTo>
                  <a:lnTo>
                    <a:pt x="762" y="129"/>
                  </a:lnTo>
                  <a:lnTo>
                    <a:pt x="760" y="130"/>
                  </a:lnTo>
                  <a:lnTo>
                    <a:pt x="762" y="132"/>
                  </a:lnTo>
                  <a:lnTo>
                    <a:pt x="762" y="133"/>
                  </a:lnTo>
                  <a:lnTo>
                    <a:pt x="760" y="134"/>
                  </a:lnTo>
                  <a:lnTo>
                    <a:pt x="760" y="136"/>
                  </a:lnTo>
                  <a:lnTo>
                    <a:pt x="760" y="137"/>
                  </a:lnTo>
                  <a:lnTo>
                    <a:pt x="760" y="138"/>
                  </a:lnTo>
                  <a:lnTo>
                    <a:pt x="760" y="140"/>
                  </a:lnTo>
                  <a:lnTo>
                    <a:pt x="760" y="141"/>
                  </a:lnTo>
                  <a:lnTo>
                    <a:pt x="762" y="142"/>
                  </a:lnTo>
                  <a:lnTo>
                    <a:pt x="762" y="144"/>
                  </a:lnTo>
                  <a:lnTo>
                    <a:pt x="760" y="145"/>
                  </a:lnTo>
                  <a:lnTo>
                    <a:pt x="759" y="145"/>
                  </a:lnTo>
                  <a:lnTo>
                    <a:pt x="758" y="145"/>
                  </a:lnTo>
                  <a:lnTo>
                    <a:pt x="751" y="144"/>
                  </a:lnTo>
                  <a:lnTo>
                    <a:pt x="750" y="142"/>
                  </a:lnTo>
                  <a:lnTo>
                    <a:pt x="747" y="142"/>
                  </a:lnTo>
                  <a:lnTo>
                    <a:pt x="747" y="142"/>
                  </a:lnTo>
                  <a:lnTo>
                    <a:pt x="744" y="145"/>
                  </a:lnTo>
                  <a:lnTo>
                    <a:pt x="744" y="148"/>
                  </a:lnTo>
                  <a:lnTo>
                    <a:pt x="743" y="149"/>
                  </a:lnTo>
                  <a:lnTo>
                    <a:pt x="741" y="149"/>
                  </a:lnTo>
                  <a:lnTo>
                    <a:pt x="740" y="149"/>
                  </a:lnTo>
                  <a:lnTo>
                    <a:pt x="740" y="151"/>
                  </a:lnTo>
                  <a:lnTo>
                    <a:pt x="740" y="153"/>
                  </a:lnTo>
                  <a:lnTo>
                    <a:pt x="743" y="157"/>
                  </a:lnTo>
                  <a:lnTo>
                    <a:pt x="744" y="159"/>
                  </a:lnTo>
                  <a:lnTo>
                    <a:pt x="744" y="160"/>
                  </a:lnTo>
                  <a:lnTo>
                    <a:pt x="746" y="163"/>
                  </a:lnTo>
                  <a:lnTo>
                    <a:pt x="746" y="164"/>
                  </a:lnTo>
                  <a:lnTo>
                    <a:pt x="746" y="167"/>
                  </a:lnTo>
                  <a:lnTo>
                    <a:pt x="747" y="170"/>
                  </a:lnTo>
                  <a:lnTo>
                    <a:pt x="747" y="174"/>
                  </a:lnTo>
                  <a:lnTo>
                    <a:pt x="748" y="174"/>
                  </a:lnTo>
                  <a:lnTo>
                    <a:pt x="748" y="176"/>
                  </a:lnTo>
                  <a:lnTo>
                    <a:pt x="748" y="178"/>
                  </a:lnTo>
                  <a:lnTo>
                    <a:pt x="747" y="179"/>
                  </a:lnTo>
                  <a:lnTo>
                    <a:pt x="747" y="180"/>
                  </a:lnTo>
                  <a:lnTo>
                    <a:pt x="748" y="182"/>
                  </a:lnTo>
                  <a:lnTo>
                    <a:pt x="747" y="185"/>
                  </a:lnTo>
                  <a:lnTo>
                    <a:pt x="747" y="185"/>
                  </a:lnTo>
                  <a:lnTo>
                    <a:pt x="744" y="185"/>
                  </a:lnTo>
                  <a:lnTo>
                    <a:pt x="743" y="185"/>
                  </a:lnTo>
                  <a:lnTo>
                    <a:pt x="743" y="186"/>
                  </a:lnTo>
                  <a:lnTo>
                    <a:pt x="743" y="187"/>
                  </a:lnTo>
                  <a:lnTo>
                    <a:pt x="744" y="189"/>
                  </a:lnTo>
                  <a:lnTo>
                    <a:pt x="744" y="190"/>
                  </a:lnTo>
                  <a:lnTo>
                    <a:pt x="743" y="191"/>
                  </a:lnTo>
                  <a:lnTo>
                    <a:pt x="733" y="200"/>
                  </a:lnTo>
                  <a:lnTo>
                    <a:pt x="731" y="217"/>
                  </a:lnTo>
                  <a:lnTo>
                    <a:pt x="697" y="242"/>
                  </a:lnTo>
                  <a:lnTo>
                    <a:pt x="690" y="243"/>
                  </a:lnTo>
                  <a:lnTo>
                    <a:pt x="690" y="244"/>
                  </a:lnTo>
                  <a:lnTo>
                    <a:pt x="688" y="242"/>
                  </a:lnTo>
                  <a:lnTo>
                    <a:pt x="686" y="246"/>
                  </a:lnTo>
                  <a:lnTo>
                    <a:pt x="683" y="246"/>
                  </a:lnTo>
                  <a:lnTo>
                    <a:pt x="682" y="246"/>
                  </a:lnTo>
                  <a:lnTo>
                    <a:pt x="680" y="244"/>
                  </a:lnTo>
                  <a:lnTo>
                    <a:pt x="678" y="247"/>
                  </a:lnTo>
                  <a:lnTo>
                    <a:pt x="675" y="247"/>
                  </a:lnTo>
                  <a:lnTo>
                    <a:pt x="675" y="250"/>
                  </a:lnTo>
                  <a:lnTo>
                    <a:pt x="673" y="250"/>
                  </a:lnTo>
                  <a:lnTo>
                    <a:pt x="668" y="254"/>
                  </a:lnTo>
                  <a:lnTo>
                    <a:pt x="665" y="255"/>
                  </a:lnTo>
                  <a:lnTo>
                    <a:pt x="665" y="258"/>
                  </a:lnTo>
                  <a:lnTo>
                    <a:pt x="665" y="259"/>
                  </a:lnTo>
                  <a:lnTo>
                    <a:pt x="663" y="261"/>
                  </a:lnTo>
                  <a:lnTo>
                    <a:pt x="660" y="263"/>
                  </a:lnTo>
                  <a:lnTo>
                    <a:pt x="659" y="263"/>
                  </a:lnTo>
                  <a:lnTo>
                    <a:pt x="657" y="265"/>
                  </a:lnTo>
                  <a:lnTo>
                    <a:pt x="656" y="265"/>
                  </a:lnTo>
                  <a:lnTo>
                    <a:pt x="656" y="263"/>
                  </a:lnTo>
                  <a:lnTo>
                    <a:pt x="654" y="262"/>
                  </a:lnTo>
                  <a:lnTo>
                    <a:pt x="654" y="261"/>
                  </a:lnTo>
                  <a:lnTo>
                    <a:pt x="657" y="261"/>
                  </a:lnTo>
                  <a:lnTo>
                    <a:pt x="659" y="258"/>
                  </a:lnTo>
                  <a:lnTo>
                    <a:pt x="661" y="259"/>
                  </a:lnTo>
                  <a:lnTo>
                    <a:pt x="661" y="258"/>
                  </a:lnTo>
                  <a:lnTo>
                    <a:pt x="661" y="257"/>
                  </a:lnTo>
                  <a:lnTo>
                    <a:pt x="660" y="257"/>
                  </a:lnTo>
                  <a:lnTo>
                    <a:pt x="660" y="255"/>
                  </a:lnTo>
                  <a:lnTo>
                    <a:pt x="663" y="254"/>
                  </a:lnTo>
                  <a:lnTo>
                    <a:pt x="664" y="251"/>
                  </a:lnTo>
                  <a:lnTo>
                    <a:pt x="661" y="254"/>
                  </a:lnTo>
                  <a:lnTo>
                    <a:pt x="659" y="255"/>
                  </a:lnTo>
                  <a:lnTo>
                    <a:pt x="657" y="254"/>
                  </a:lnTo>
                  <a:lnTo>
                    <a:pt x="657" y="253"/>
                  </a:lnTo>
                  <a:lnTo>
                    <a:pt x="659" y="251"/>
                  </a:lnTo>
                  <a:lnTo>
                    <a:pt x="659" y="250"/>
                  </a:lnTo>
                  <a:lnTo>
                    <a:pt x="656" y="247"/>
                  </a:lnTo>
                  <a:lnTo>
                    <a:pt x="656" y="244"/>
                  </a:lnTo>
                  <a:lnTo>
                    <a:pt x="656" y="243"/>
                  </a:lnTo>
                  <a:lnTo>
                    <a:pt x="659" y="243"/>
                  </a:lnTo>
                  <a:lnTo>
                    <a:pt x="659" y="240"/>
                  </a:lnTo>
                  <a:lnTo>
                    <a:pt x="661" y="238"/>
                  </a:lnTo>
                  <a:lnTo>
                    <a:pt x="661" y="236"/>
                  </a:lnTo>
                  <a:lnTo>
                    <a:pt x="663" y="235"/>
                  </a:lnTo>
                  <a:lnTo>
                    <a:pt x="663" y="234"/>
                  </a:lnTo>
                  <a:lnTo>
                    <a:pt x="657" y="229"/>
                  </a:lnTo>
                  <a:lnTo>
                    <a:pt x="653" y="225"/>
                  </a:lnTo>
                  <a:lnTo>
                    <a:pt x="653" y="228"/>
                  </a:lnTo>
                  <a:lnTo>
                    <a:pt x="650" y="228"/>
                  </a:lnTo>
                  <a:lnTo>
                    <a:pt x="650" y="227"/>
                  </a:lnTo>
                  <a:lnTo>
                    <a:pt x="648" y="227"/>
                  </a:lnTo>
                  <a:lnTo>
                    <a:pt x="646" y="229"/>
                  </a:lnTo>
                  <a:lnTo>
                    <a:pt x="645" y="231"/>
                  </a:lnTo>
                  <a:lnTo>
                    <a:pt x="645" y="234"/>
                  </a:lnTo>
                  <a:lnTo>
                    <a:pt x="642" y="236"/>
                  </a:lnTo>
                  <a:lnTo>
                    <a:pt x="642" y="240"/>
                  </a:lnTo>
                  <a:lnTo>
                    <a:pt x="641" y="240"/>
                  </a:lnTo>
                  <a:lnTo>
                    <a:pt x="638" y="244"/>
                  </a:lnTo>
                  <a:lnTo>
                    <a:pt x="635" y="244"/>
                  </a:lnTo>
                  <a:lnTo>
                    <a:pt x="631" y="246"/>
                  </a:lnTo>
                  <a:lnTo>
                    <a:pt x="630" y="253"/>
                  </a:lnTo>
                  <a:lnTo>
                    <a:pt x="630" y="254"/>
                  </a:lnTo>
                  <a:lnTo>
                    <a:pt x="630" y="254"/>
                  </a:lnTo>
                  <a:lnTo>
                    <a:pt x="631" y="257"/>
                  </a:lnTo>
                  <a:lnTo>
                    <a:pt x="629" y="257"/>
                  </a:lnTo>
                  <a:lnTo>
                    <a:pt x="630" y="258"/>
                  </a:lnTo>
                  <a:lnTo>
                    <a:pt x="629" y="261"/>
                  </a:lnTo>
                  <a:lnTo>
                    <a:pt x="626" y="261"/>
                  </a:lnTo>
                  <a:lnTo>
                    <a:pt x="622" y="261"/>
                  </a:lnTo>
                  <a:lnTo>
                    <a:pt x="618" y="259"/>
                  </a:lnTo>
                  <a:lnTo>
                    <a:pt x="618" y="261"/>
                  </a:lnTo>
                  <a:lnTo>
                    <a:pt x="616" y="262"/>
                  </a:lnTo>
                  <a:lnTo>
                    <a:pt x="615" y="263"/>
                  </a:lnTo>
                  <a:lnTo>
                    <a:pt x="615" y="265"/>
                  </a:lnTo>
                  <a:lnTo>
                    <a:pt x="615" y="266"/>
                  </a:lnTo>
                  <a:lnTo>
                    <a:pt x="614" y="267"/>
                  </a:lnTo>
                  <a:lnTo>
                    <a:pt x="615" y="270"/>
                  </a:lnTo>
                  <a:lnTo>
                    <a:pt x="616" y="273"/>
                  </a:lnTo>
                  <a:lnTo>
                    <a:pt x="618" y="274"/>
                  </a:lnTo>
                  <a:lnTo>
                    <a:pt x="622" y="277"/>
                  </a:lnTo>
                  <a:lnTo>
                    <a:pt x="623" y="278"/>
                  </a:lnTo>
                  <a:lnTo>
                    <a:pt x="625" y="281"/>
                  </a:lnTo>
                  <a:lnTo>
                    <a:pt x="625" y="280"/>
                  </a:lnTo>
                  <a:lnTo>
                    <a:pt x="626" y="281"/>
                  </a:lnTo>
                  <a:lnTo>
                    <a:pt x="626" y="280"/>
                  </a:lnTo>
                  <a:lnTo>
                    <a:pt x="627" y="280"/>
                  </a:lnTo>
                  <a:lnTo>
                    <a:pt x="627" y="281"/>
                  </a:lnTo>
                  <a:lnTo>
                    <a:pt x="629" y="280"/>
                  </a:lnTo>
                  <a:lnTo>
                    <a:pt x="633" y="280"/>
                  </a:lnTo>
                  <a:lnTo>
                    <a:pt x="633" y="282"/>
                  </a:lnTo>
                  <a:lnTo>
                    <a:pt x="633" y="285"/>
                  </a:lnTo>
                  <a:lnTo>
                    <a:pt x="635" y="292"/>
                  </a:lnTo>
                  <a:lnTo>
                    <a:pt x="639" y="292"/>
                  </a:lnTo>
                  <a:lnTo>
                    <a:pt x="641" y="291"/>
                  </a:lnTo>
                  <a:lnTo>
                    <a:pt x="644" y="292"/>
                  </a:lnTo>
                  <a:lnTo>
                    <a:pt x="645" y="291"/>
                  </a:lnTo>
                  <a:lnTo>
                    <a:pt x="646" y="288"/>
                  </a:lnTo>
                  <a:lnTo>
                    <a:pt x="645" y="287"/>
                  </a:lnTo>
                  <a:lnTo>
                    <a:pt x="644" y="287"/>
                  </a:lnTo>
                  <a:lnTo>
                    <a:pt x="648" y="285"/>
                  </a:lnTo>
                  <a:lnTo>
                    <a:pt x="649" y="284"/>
                  </a:lnTo>
                  <a:lnTo>
                    <a:pt x="649" y="281"/>
                  </a:lnTo>
                  <a:lnTo>
                    <a:pt x="648" y="281"/>
                  </a:lnTo>
                  <a:lnTo>
                    <a:pt x="650" y="281"/>
                  </a:lnTo>
                  <a:lnTo>
                    <a:pt x="656" y="278"/>
                  </a:lnTo>
                  <a:lnTo>
                    <a:pt x="657" y="280"/>
                  </a:lnTo>
                  <a:lnTo>
                    <a:pt x="659" y="280"/>
                  </a:lnTo>
                  <a:lnTo>
                    <a:pt x="660" y="282"/>
                  </a:lnTo>
                  <a:lnTo>
                    <a:pt x="661" y="282"/>
                  </a:lnTo>
                  <a:lnTo>
                    <a:pt x="663" y="284"/>
                  </a:lnTo>
                  <a:lnTo>
                    <a:pt x="669" y="284"/>
                  </a:lnTo>
                  <a:lnTo>
                    <a:pt x="671" y="282"/>
                  </a:lnTo>
                  <a:lnTo>
                    <a:pt x="673" y="282"/>
                  </a:lnTo>
                  <a:lnTo>
                    <a:pt x="673" y="284"/>
                  </a:lnTo>
                  <a:lnTo>
                    <a:pt x="676" y="284"/>
                  </a:lnTo>
                  <a:lnTo>
                    <a:pt x="679" y="282"/>
                  </a:lnTo>
                  <a:lnTo>
                    <a:pt x="680" y="284"/>
                  </a:lnTo>
                  <a:lnTo>
                    <a:pt x="678" y="284"/>
                  </a:lnTo>
                  <a:lnTo>
                    <a:pt x="678" y="285"/>
                  </a:lnTo>
                  <a:lnTo>
                    <a:pt x="680" y="288"/>
                  </a:lnTo>
                  <a:lnTo>
                    <a:pt x="679" y="288"/>
                  </a:lnTo>
                  <a:lnTo>
                    <a:pt x="678" y="289"/>
                  </a:lnTo>
                  <a:lnTo>
                    <a:pt x="678" y="292"/>
                  </a:lnTo>
                  <a:lnTo>
                    <a:pt x="679" y="292"/>
                  </a:lnTo>
                  <a:lnTo>
                    <a:pt x="679" y="293"/>
                  </a:lnTo>
                  <a:lnTo>
                    <a:pt x="676" y="296"/>
                  </a:lnTo>
                  <a:lnTo>
                    <a:pt x="673" y="293"/>
                  </a:lnTo>
                  <a:lnTo>
                    <a:pt x="673" y="292"/>
                  </a:lnTo>
                  <a:lnTo>
                    <a:pt x="672" y="293"/>
                  </a:lnTo>
                  <a:lnTo>
                    <a:pt x="671" y="292"/>
                  </a:lnTo>
                  <a:lnTo>
                    <a:pt x="669" y="296"/>
                  </a:lnTo>
                  <a:lnTo>
                    <a:pt x="667" y="296"/>
                  </a:lnTo>
                  <a:lnTo>
                    <a:pt x="665" y="297"/>
                  </a:lnTo>
                  <a:lnTo>
                    <a:pt x="663" y="297"/>
                  </a:lnTo>
                  <a:lnTo>
                    <a:pt x="663" y="299"/>
                  </a:lnTo>
                  <a:lnTo>
                    <a:pt x="661" y="297"/>
                  </a:lnTo>
                  <a:lnTo>
                    <a:pt x="659" y="297"/>
                  </a:lnTo>
                  <a:lnTo>
                    <a:pt x="661" y="299"/>
                  </a:lnTo>
                  <a:lnTo>
                    <a:pt x="661" y="301"/>
                  </a:lnTo>
                  <a:lnTo>
                    <a:pt x="659" y="301"/>
                  </a:lnTo>
                  <a:lnTo>
                    <a:pt x="657" y="304"/>
                  </a:lnTo>
                  <a:lnTo>
                    <a:pt x="654" y="304"/>
                  </a:lnTo>
                  <a:lnTo>
                    <a:pt x="653" y="306"/>
                  </a:lnTo>
                  <a:lnTo>
                    <a:pt x="653" y="307"/>
                  </a:lnTo>
                  <a:lnTo>
                    <a:pt x="656" y="308"/>
                  </a:lnTo>
                  <a:lnTo>
                    <a:pt x="653" y="311"/>
                  </a:lnTo>
                  <a:lnTo>
                    <a:pt x="653" y="311"/>
                  </a:lnTo>
                  <a:lnTo>
                    <a:pt x="650" y="314"/>
                  </a:lnTo>
                  <a:lnTo>
                    <a:pt x="649" y="315"/>
                  </a:lnTo>
                  <a:lnTo>
                    <a:pt x="648" y="314"/>
                  </a:lnTo>
                  <a:lnTo>
                    <a:pt x="648" y="318"/>
                  </a:lnTo>
                  <a:lnTo>
                    <a:pt x="648" y="321"/>
                  </a:lnTo>
                  <a:lnTo>
                    <a:pt x="648" y="323"/>
                  </a:lnTo>
                  <a:lnTo>
                    <a:pt x="648" y="330"/>
                  </a:lnTo>
                  <a:lnTo>
                    <a:pt x="648" y="330"/>
                  </a:lnTo>
                  <a:lnTo>
                    <a:pt x="654" y="333"/>
                  </a:lnTo>
                  <a:lnTo>
                    <a:pt x="654" y="334"/>
                  </a:lnTo>
                  <a:lnTo>
                    <a:pt x="656" y="333"/>
                  </a:lnTo>
                  <a:lnTo>
                    <a:pt x="663" y="337"/>
                  </a:lnTo>
                  <a:lnTo>
                    <a:pt x="665" y="344"/>
                  </a:lnTo>
                  <a:lnTo>
                    <a:pt x="667" y="344"/>
                  </a:lnTo>
                  <a:lnTo>
                    <a:pt x="665" y="346"/>
                  </a:lnTo>
                  <a:lnTo>
                    <a:pt x="668" y="348"/>
                  </a:lnTo>
                  <a:lnTo>
                    <a:pt x="668" y="350"/>
                  </a:lnTo>
                  <a:lnTo>
                    <a:pt x="672" y="354"/>
                  </a:lnTo>
                  <a:lnTo>
                    <a:pt x="672" y="357"/>
                  </a:lnTo>
                  <a:lnTo>
                    <a:pt x="676" y="363"/>
                  </a:lnTo>
                  <a:lnTo>
                    <a:pt x="678" y="363"/>
                  </a:lnTo>
                  <a:lnTo>
                    <a:pt x="680" y="363"/>
                  </a:lnTo>
                  <a:lnTo>
                    <a:pt x="682" y="364"/>
                  </a:lnTo>
                  <a:lnTo>
                    <a:pt x="682" y="365"/>
                  </a:lnTo>
                  <a:lnTo>
                    <a:pt x="684" y="368"/>
                  </a:lnTo>
                  <a:lnTo>
                    <a:pt x="686" y="368"/>
                  </a:lnTo>
                  <a:lnTo>
                    <a:pt x="687" y="372"/>
                  </a:lnTo>
                  <a:lnTo>
                    <a:pt x="686" y="374"/>
                  </a:lnTo>
                  <a:lnTo>
                    <a:pt x="682" y="371"/>
                  </a:lnTo>
                  <a:lnTo>
                    <a:pt x="678" y="374"/>
                  </a:lnTo>
                  <a:lnTo>
                    <a:pt x="676" y="371"/>
                  </a:lnTo>
                  <a:lnTo>
                    <a:pt x="673" y="371"/>
                  </a:lnTo>
                  <a:lnTo>
                    <a:pt x="671" y="369"/>
                  </a:lnTo>
                  <a:lnTo>
                    <a:pt x="668" y="368"/>
                  </a:lnTo>
                  <a:lnTo>
                    <a:pt x="667" y="371"/>
                  </a:lnTo>
                  <a:lnTo>
                    <a:pt x="664" y="371"/>
                  </a:lnTo>
                  <a:lnTo>
                    <a:pt x="663" y="369"/>
                  </a:lnTo>
                  <a:lnTo>
                    <a:pt x="661" y="365"/>
                  </a:lnTo>
                  <a:lnTo>
                    <a:pt x="657" y="367"/>
                  </a:lnTo>
                  <a:lnTo>
                    <a:pt x="656" y="365"/>
                  </a:lnTo>
                  <a:lnTo>
                    <a:pt x="656" y="367"/>
                  </a:lnTo>
                  <a:lnTo>
                    <a:pt x="654" y="367"/>
                  </a:lnTo>
                  <a:lnTo>
                    <a:pt x="653" y="367"/>
                  </a:lnTo>
                  <a:lnTo>
                    <a:pt x="650" y="367"/>
                  </a:lnTo>
                  <a:lnTo>
                    <a:pt x="648" y="372"/>
                  </a:lnTo>
                  <a:lnTo>
                    <a:pt x="650" y="368"/>
                  </a:lnTo>
                  <a:lnTo>
                    <a:pt x="653" y="368"/>
                  </a:lnTo>
                  <a:lnTo>
                    <a:pt x="657" y="368"/>
                  </a:lnTo>
                  <a:lnTo>
                    <a:pt x="659" y="367"/>
                  </a:lnTo>
                  <a:lnTo>
                    <a:pt x="660" y="368"/>
                  </a:lnTo>
                  <a:lnTo>
                    <a:pt x="660" y="369"/>
                  </a:lnTo>
                  <a:lnTo>
                    <a:pt x="664" y="372"/>
                  </a:lnTo>
                  <a:lnTo>
                    <a:pt x="665" y="372"/>
                  </a:lnTo>
                  <a:lnTo>
                    <a:pt x="669" y="369"/>
                  </a:lnTo>
                  <a:lnTo>
                    <a:pt x="672" y="369"/>
                  </a:lnTo>
                  <a:lnTo>
                    <a:pt x="676" y="374"/>
                  </a:lnTo>
                  <a:lnTo>
                    <a:pt x="680" y="376"/>
                  </a:lnTo>
                  <a:lnTo>
                    <a:pt x="686" y="380"/>
                  </a:lnTo>
                  <a:lnTo>
                    <a:pt x="688" y="384"/>
                  </a:lnTo>
                  <a:lnTo>
                    <a:pt x="688" y="386"/>
                  </a:lnTo>
                  <a:lnTo>
                    <a:pt x="686" y="387"/>
                  </a:lnTo>
                  <a:lnTo>
                    <a:pt x="683" y="390"/>
                  </a:lnTo>
                  <a:lnTo>
                    <a:pt x="682" y="390"/>
                  </a:lnTo>
                  <a:lnTo>
                    <a:pt x="680" y="391"/>
                  </a:lnTo>
                  <a:lnTo>
                    <a:pt x="680" y="393"/>
                  </a:lnTo>
                  <a:lnTo>
                    <a:pt x="678" y="394"/>
                  </a:lnTo>
                  <a:lnTo>
                    <a:pt x="675" y="393"/>
                  </a:lnTo>
                  <a:lnTo>
                    <a:pt x="673" y="394"/>
                  </a:lnTo>
                  <a:lnTo>
                    <a:pt x="672" y="394"/>
                  </a:lnTo>
                  <a:lnTo>
                    <a:pt x="669" y="395"/>
                  </a:lnTo>
                  <a:lnTo>
                    <a:pt x="669" y="398"/>
                  </a:lnTo>
                  <a:lnTo>
                    <a:pt x="669" y="397"/>
                  </a:lnTo>
                  <a:lnTo>
                    <a:pt x="672" y="394"/>
                  </a:lnTo>
                  <a:lnTo>
                    <a:pt x="675" y="394"/>
                  </a:lnTo>
                  <a:lnTo>
                    <a:pt x="678" y="397"/>
                  </a:lnTo>
                  <a:lnTo>
                    <a:pt x="679" y="398"/>
                  </a:lnTo>
                  <a:lnTo>
                    <a:pt x="683" y="395"/>
                  </a:lnTo>
                  <a:lnTo>
                    <a:pt x="686" y="395"/>
                  </a:lnTo>
                  <a:lnTo>
                    <a:pt x="690" y="401"/>
                  </a:lnTo>
                  <a:lnTo>
                    <a:pt x="690" y="399"/>
                  </a:lnTo>
                  <a:lnTo>
                    <a:pt x="691" y="401"/>
                  </a:lnTo>
                  <a:lnTo>
                    <a:pt x="693" y="401"/>
                  </a:lnTo>
                  <a:lnTo>
                    <a:pt x="694" y="401"/>
                  </a:lnTo>
                  <a:lnTo>
                    <a:pt x="688" y="406"/>
                  </a:lnTo>
                  <a:lnTo>
                    <a:pt x="684" y="406"/>
                  </a:lnTo>
                  <a:lnTo>
                    <a:pt x="684" y="409"/>
                  </a:lnTo>
                  <a:lnTo>
                    <a:pt x="687" y="409"/>
                  </a:lnTo>
                  <a:lnTo>
                    <a:pt x="690" y="406"/>
                  </a:lnTo>
                  <a:lnTo>
                    <a:pt x="693" y="408"/>
                  </a:lnTo>
                  <a:lnTo>
                    <a:pt x="693" y="406"/>
                  </a:lnTo>
                  <a:lnTo>
                    <a:pt x="691" y="405"/>
                  </a:lnTo>
                  <a:lnTo>
                    <a:pt x="693" y="403"/>
                  </a:lnTo>
                  <a:lnTo>
                    <a:pt x="694" y="405"/>
                  </a:lnTo>
                  <a:lnTo>
                    <a:pt x="695" y="408"/>
                  </a:lnTo>
                  <a:lnTo>
                    <a:pt x="695" y="409"/>
                  </a:lnTo>
                  <a:lnTo>
                    <a:pt x="694" y="410"/>
                  </a:lnTo>
                  <a:lnTo>
                    <a:pt x="694" y="410"/>
                  </a:lnTo>
                  <a:lnTo>
                    <a:pt x="693" y="409"/>
                  </a:lnTo>
                  <a:lnTo>
                    <a:pt x="693" y="410"/>
                  </a:lnTo>
                  <a:lnTo>
                    <a:pt x="691" y="410"/>
                  </a:lnTo>
                  <a:lnTo>
                    <a:pt x="688" y="410"/>
                  </a:lnTo>
                  <a:lnTo>
                    <a:pt x="687" y="413"/>
                  </a:lnTo>
                  <a:lnTo>
                    <a:pt x="686" y="413"/>
                  </a:lnTo>
                  <a:lnTo>
                    <a:pt x="690" y="413"/>
                  </a:lnTo>
                  <a:lnTo>
                    <a:pt x="691" y="414"/>
                  </a:lnTo>
                  <a:lnTo>
                    <a:pt x="691" y="416"/>
                  </a:lnTo>
                  <a:lnTo>
                    <a:pt x="690" y="416"/>
                  </a:lnTo>
                  <a:lnTo>
                    <a:pt x="688" y="417"/>
                  </a:lnTo>
                  <a:lnTo>
                    <a:pt x="690" y="417"/>
                  </a:lnTo>
                  <a:lnTo>
                    <a:pt x="691" y="418"/>
                  </a:lnTo>
                  <a:lnTo>
                    <a:pt x="690" y="420"/>
                  </a:lnTo>
                  <a:lnTo>
                    <a:pt x="688" y="420"/>
                  </a:lnTo>
                  <a:lnTo>
                    <a:pt x="687" y="420"/>
                  </a:lnTo>
                  <a:lnTo>
                    <a:pt x="688" y="421"/>
                  </a:lnTo>
                  <a:lnTo>
                    <a:pt x="691" y="421"/>
                  </a:lnTo>
                  <a:lnTo>
                    <a:pt x="693" y="424"/>
                  </a:lnTo>
                  <a:lnTo>
                    <a:pt x="690" y="425"/>
                  </a:lnTo>
                  <a:lnTo>
                    <a:pt x="690" y="427"/>
                  </a:lnTo>
                  <a:lnTo>
                    <a:pt x="690" y="427"/>
                  </a:lnTo>
                  <a:lnTo>
                    <a:pt x="688" y="424"/>
                  </a:lnTo>
                  <a:lnTo>
                    <a:pt x="687" y="425"/>
                  </a:lnTo>
                  <a:lnTo>
                    <a:pt x="686" y="429"/>
                  </a:lnTo>
                  <a:lnTo>
                    <a:pt x="684" y="429"/>
                  </a:lnTo>
                  <a:lnTo>
                    <a:pt x="680" y="429"/>
                  </a:lnTo>
                  <a:lnTo>
                    <a:pt x="683" y="431"/>
                  </a:lnTo>
                  <a:lnTo>
                    <a:pt x="683" y="431"/>
                  </a:lnTo>
                  <a:lnTo>
                    <a:pt x="684" y="432"/>
                  </a:lnTo>
                  <a:lnTo>
                    <a:pt x="683" y="433"/>
                  </a:lnTo>
                  <a:lnTo>
                    <a:pt x="682" y="435"/>
                  </a:lnTo>
                  <a:lnTo>
                    <a:pt x="683" y="436"/>
                  </a:lnTo>
                  <a:lnTo>
                    <a:pt x="683" y="437"/>
                  </a:lnTo>
                  <a:lnTo>
                    <a:pt x="683" y="439"/>
                  </a:lnTo>
                  <a:lnTo>
                    <a:pt x="680" y="440"/>
                  </a:lnTo>
                  <a:lnTo>
                    <a:pt x="679" y="439"/>
                  </a:lnTo>
                  <a:lnTo>
                    <a:pt x="679" y="440"/>
                  </a:lnTo>
                  <a:lnTo>
                    <a:pt x="680" y="441"/>
                  </a:lnTo>
                  <a:lnTo>
                    <a:pt x="682" y="443"/>
                  </a:lnTo>
                  <a:lnTo>
                    <a:pt x="679" y="443"/>
                  </a:lnTo>
                  <a:lnTo>
                    <a:pt x="679" y="444"/>
                  </a:lnTo>
                  <a:lnTo>
                    <a:pt x="676" y="447"/>
                  </a:lnTo>
                  <a:lnTo>
                    <a:pt x="675" y="447"/>
                  </a:lnTo>
                  <a:lnTo>
                    <a:pt x="675" y="444"/>
                  </a:lnTo>
                  <a:lnTo>
                    <a:pt x="673" y="446"/>
                  </a:lnTo>
                  <a:lnTo>
                    <a:pt x="673" y="444"/>
                  </a:lnTo>
                  <a:lnTo>
                    <a:pt x="672" y="447"/>
                  </a:lnTo>
                  <a:lnTo>
                    <a:pt x="671" y="447"/>
                  </a:lnTo>
                  <a:lnTo>
                    <a:pt x="672" y="448"/>
                  </a:lnTo>
                  <a:lnTo>
                    <a:pt x="671" y="448"/>
                  </a:lnTo>
                  <a:lnTo>
                    <a:pt x="672" y="448"/>
                  </a:lnTo>
                  <a:lnTo>
                    <a:pt x="673" y="451"/>
                  </a:lnTo>
                  <a:lnTo>
                    <a:pt x="672" y="451"/>
                  </a:lnTo>
                  <a:lnTo>
                    <a:pt x="675" y="454"/>
                  </a:lnTo>
                  <a:lnTo>
                    <a:pt x="676" y="452"/>
                  </a:lnTo>
                  <a:lnTo>
                    <a:pt x="678" y="454"/>
                  </a:lnTo>
                  <a:lnTo>
                    <a:pt x="673" y="455"/>
                  </a:lnTo>
                  <a:lnTo>
                    <a:pt x="671" y="456"/>
                  </a:lnTo>
                  <a:lnTo>
                    <a:pt x="671" y="459"/>
                  </a:lnTo>
                  <a:lnTo>
                    <a:pt x="671" y="458"/>
                  </a:lnTo>
                  <a:lnTo>
                    <a:pt x="673" y="458"/>
                  </a:lnTo>
                  <a:lnTo>
                    <a:pt x="675" y="459"/>
                  </a:lnTo>
                  <a:lnTo>
                    <a:pt x="672" y="462"/>
                  </a:lnTo>
                  <a:lnTo>
                    <a:pt x="673" y="462"/>
                  </a:lnTo>
                  <a:lnTo>
                    <a:pt x="673" y="463"/>
                  </a:lnTo>
                  <a:lnTo>
                    <a:pt x="672" y="463"/>
                  </a:lnTo>
                  <a:lnTo>
                    <a:pt x="672" y="465"/>
                  </a:lnTo>
                  <a:lnTo>
                    <a:pt x="673" y="465"/>
                  </a:lnTo>
                  <a:lnTo>
                    <a:pt x="675" y="467"/>
                  </a:lnTo>
                  <a:lnTo>
                    <a:pt x="673" y="470"/>
                  </a:lnTo>
                  <a:lnTo>
                    <a:pt x="673" y="467"/>
                  </a:lnTo>
                  <a:lnTo>
                    <a:pt x="672" y="467"/>
                  </a:lnTo>
                  <a:lnTo>
                    <a:pt x="672" y="466"/>
                  </a:lnTo>
                  <a:lnTo>
                    <a:pt x="669" y="465"/>
                  </a:lnTo>
                  <a:lnTo>
                    <a:pt x="669" y="466"/>
                  </a:lnTo>
                  <a:lnTo>
                    <a:pt x="668" y="466"/>
                  </a:lnTo>
                  <a:lnTo>
                    <a:pt x="668" y="467"/>
                  </a:lnTo>
                  <a:lnTo>
                    <a:pt x="669" y="470"/>
                  </a:lnTo>
                  <a:lnTo>
                    <a:pt x="669" y="471"/>
                  </a:lnTo>
                  <a:lnTo>
                    <a:pt x="669" y="470"/>
                  </a:lnTo>
                  <a:lnTo>
                    <a:pt x="668" y="470"/>
                  </a:lnTo>
                  <a:lnTo>
                    <a:pt x="667" y="469"/>
                  </a:lnTo>
                  <a:lnTo>
                    <a:pt x="665" y="470"/>
                  </a:lnTo>
                  <a:lnTo>
                    <a:pt x="667" y="470"/>
                  </a:lnTo>
                  <a:lnTo>
                    <a:pt x="667" y="473"/>
                  </a:lnTo>
                  <a:lnTo>
                    <a:pt x="668" y="473"/>
                  </a:lnTo>
                  <a:lnTo>
                    <a:pt x="668" y="473"/>
                  </a:lnTo>
                  <a:lnTo>
                    <a:pt x="667" y="474"/>
                  </a:lnTo>
                  <a:lnTo>
                    <a:pt x="665" y="473"/>
                  </a:lnTo>
                  <a:lnTo>
                    <a:pt x="664" y="474"/>
                  </a:lnTo>
                  <a:lnTo>
                    <a:pt x="665" y="475"/>
                  </a:lnTo>
                  <a:lnTo>
                    <a:pt x="667" y="477"/>
                  </a:lnTo>
                  <a:lnTo>
                    <a:pt x="667" y="478"/>
                  </a:lnTo>
                  <a:lnTo>
                    <a:pt x="663" y="477"/>
                  </a:lnTo>
                  <a:lnTo>
                    <a:pt x="661" y="478"/>
                  </a:lnTo>
                  <a:lnTo>
                    <a:pt x="661" y="477"/>
                  </a:lnTo>
                  <a:lnTo>
                    <a:pt x="659" y="480"/>
                  </a:lnTo>
                  <a:lnTo>
                    <a:pt x="656" y="480"/>
                  </a:lnTo>
                  <a:lnTo>
                    <a:pt x="659" y="482"/>
                  </a:lnTo>
                  <a:lnTo>
                    <a:pt x="660" y="481"/>
                  </a:lnTo>
                  <a:lnTo>
                    <a:pt x="661" y="482"/>
                  </a:lnTo>
                  <a:lnTo>
                    <a:pt x="661" y="484"/>
                  </a:lnTo>
                  <a:lnTo>
                    <a:pt x="660" y="484"/>
                  </a:lnTo>
                  <a:lnTo>
                    <a:pt x="660" y="486"/>
                  </a:lnTo>
                  <a:lnTo>
                    <a:pt x="659" y="485"/>
                  </a:lnTo>
                  <a:lnTo>
                    <a:pt x="657" y="486"/>
                  </a:lnTo>
                  <a:lnTo>
                    <a:pt x="656" y="488"/>
                  </a:lnTo>
                  <a:lnTo>
                    <a:pt x="656" y="486"/>
                  </a:lnTo>
                  <a:lnTo>
                    <a:pt x="654" y="486"/>
                  </a:lnTo>
                  <a:lnTo>
                    <a:pt x="654" y="488"/>
                  </a:lnTo>
                  <a:lnTo>
                    <a:pt x="653" y="488"/>
                  </a:lnTo>
                  <a:lnTo>
                    <a:pt x="653" y="490"/>
                  </a:lnTo>
                  <a:lnTo>
                    <a:pt x="650" y="490"/>
                  </a:lnTo>
                  <a:lnTo>
                    <a:pt x="650" y="490"/>
                  </a:lnTo>
                  <a:lnTo>
                    <a:pt x="648" y="490"/>
                  </a:lnTo>
                  <a:lnTo>
                    <a:pt x="646" y="492"/>
                  </a:lnTo>
                  <a:lnTo>
                    <a:pt x="645" y="492"/>
                  </a:lnTo>
                  <a:lnTo>
                    <a:pt x="646" y="493"/>
                  </a:lnTo>
                  <a:lnTo>
                    <a:pt x="645" y="496"/>
                  </a:lnTo>
                  <a:lnTo>
                    <a:pt x="645" y="497"/>
                  </a:lnTo>
                  <a:lnTo>
                    <a:pt x="645" y="499"/>
                  </a:lnTo>
                  <a:lnTo>
                    <a:pt x="644" y="500"/>
                  </a:lnTo>
                  <a:lnTo>
                    <a:pt x="642" y="500"/>
                  </a:lnTo>
                  <a:lnTo>
                    <a:pt x="641" y="501"/>
                  </a:lnTo>
                  <a:lnTo>
                    <a:pt x="641" y="500"/>
                  </a:lnTo>
                  <a:lnTo>
                    <a:pt x="639" y="500"/>
                  </a:lnTo>
                  <a:lnTo>
                    <a:pt x="638" y="501"/>
                  </a:lnTo>
                  <a:lnTo>
                    <a:pt x="635" y="503"/>
                  </a:lnTo>
                  <a:lnTo>
                    <a:pt x="635" y="503"/>
                  </a:lnTo>
                  <a:lnTo>
                    <a:pt x="634" y="503"/>
                  </a:lnTo>
                  <a:lnTo>
                    <a:pt x="634" y="503"/>
                  </a:lnTo>
                  <a:lnTo>
                    <a:pt x="633" y="503"/>
                  </a:lnTo>
                  <a:lnTo>
                    <a:pt x="633" y="504"/>
                  </a:lnTo>
                  <a:lnTo>
                    <a:pt x="631" y="505"/>
                  </a:lnTo>
                  <a:lnTo>
                    <a:pt x="629" y="504"/>
                  </a:lnTo>
                  <a:lnTo>
                    <a:pt x="629" y="503"/>
                  </a:lnTo>
                  <a:lnTo>
                    <a:pt x="627" y="503"/>
                  </a:lnTo>
                  <a:lnTo>
                    <a:pt x="626" y="504"/>
                  </a:lnTo>
                  <a:lnTo>
                    <a:pt x="626" y="505"/>
                  </a:lnTo>
                  <a:lnTo>
                    <a:pt x="623" y="505"/>
                  </a:lnTo>
                  <a:lnTo>
                    <a:pt x="622" y="505"/>
                  </a:lnTo>
                  <a:lnTo>
                    <a:pt x="620" y="505"/>
                  </a:lnTo>
                  <a:lnTo>
                    <a:pt x="619" y="507"/>
                  </a:lnTo>
                  <a:lnTo>
                    <a:pt x="619" y="508"/>
                  </a:lnTo>
                  <a:lnTo>
                    <a:pt x="615" y="511"/>
                  </a:lnTo>
                  <a:lnTo>
                    <a:pt x="614" y="509"/>
                  </a:lnTo>
                  <a:lnTo>
                    <a:pt x="615" y="509"/>
                  </a:lnTo>
                  <a:lnTo>
                    <a:pt x="616" y="507"/>
                  </a:lnTo>
                  <a:lnTo>
                    <a:pt x="615" y="508"/>
                  </a:lnTo>
                  <a:lnTo>
                    <a:pt x="612" y="505"/>
                  </a:lnTo>
                  <a:lnTo>
                    <a:pt x="612" y="504"/>
                  </a:lnTo>
                  <a:lnTo>
                    <a:pt x="610" y="503"/>
                  </a:lnTo>
                  <a:lnTo>
                    <a:pt x="608" y="501"/>
                  </a:lnTo>
                  <a:lnTo>
                    <a:pt x="610" y="503"/>
                  </a:lnTo>
                  <a:lnTo>
                    <a:pt x="608" y="504"/>
                  </a:lnTo>
                  <a:lnTo>
                    <a:pt x="610" y="507"/>
                  </a:lnTo>
                  <a:lnTo>
                    <a:pt x="610" y="509"/>
                  </a:lnTo>
                  <a:lnTo>
                    <a:pt x="608" y="511"/>
                  </a:lnTo>
                  <a:lnTo>
                    <a:pt x="607" y="512"/>
                  </a:lnTo>
                  <a:lnTo>
                    <a:pt x="605" y="514"/>
                  </a:lnTo>
                  <a:lnTo>
                    <a:pt x="604" y="512"/>
                  </a:lnTo>
                  <a:lnTo>
                    <a:pt x="604" y="512"/>
                  </a:lnTo>
                  <a:lnTo>
                    <a:pt x="604" y="512"/>
                  </a:lnTo>
                  <a:lnTo>
                    <a:pt x="603" y="515"/>
                  </a:lnTo>
                  <a:lnTo>
                    <a:pt x="600" y="516"/>
                  </a:lnTo>
                  <a:lnTo>
                    <a:pt x="597" y="518"/>
                  </a:lnTo>
                  <a:lnTo>
                    <a:pt x="596" y="519"/>
                  </a:lnTo>
                  <a:lnTo>
                    <a:pt x="593" y="518"/>
                  </a:lnTo>
                  <a:lnTo>
                    <a:pt x="592" y="518"/>
                  </a:lnTo>
                  <a:lnTo>
                    <a:pt x="589" y="518"/>
                  </a:lnTo>
                  <a:lnTo>
                    <a:pt x="591" y="520"/>
                  </a:lnTo>
                  <a:lnTo>
                    <a:pt x="588" y="522"/>
                  </a:lnTo>
                  <a:lnTo>
                    <a:pt x="586" y="522"/>
                  </a:lnTo>
                  <a:lnTo>
                    <a:pt x="584" y="522"/>
                  </a:lnTo>
                  <a:lnTo>
                    <a:pt x="584" y="523"/>
                  </a:lnTo>
                  <a:lnTo>
                    <a:pt x="581" y="523"/>
                  </a:lnTo>
                  <a:lnTo>
                    <a:pt x="580" y="524"/>
                  </a:lnTo>
                  <a:lnTo>
                    <a:pt x="578" y="524"/>
                  </a:lnTo>
                  <a:lnTo>
                    <a:pt x="580" y="524"/>
                  </a:lnTo>
                  <a:lnTo>
                    <a:pt x="578" y="523"/>
                  </a:lnTo>
                  <a:lnTo>
                    <a:pt x="578" y="523"/>
                  </a:lnTo>
                  <a:lnTo>
                    <a:pt x="578" y="523"/>
                  </a:lnTo>
                  <a:lnTo>
                    <a:pt x="578" y="523"/>
                  </a:lnTo>
                  <a:lnTo>
                    <a:pt x="577" y="522"/>
                  </a:lnTo>
                  <a:lnTo>
                    <a:pt x="577" y="522"/>
                  </a:lnTo>
                  <a:lnTo>
                    <a:pt x="577" y="522"/>
                  </a:lnTo>
                  <a:lnTo>
                    <a:pt x="576" y="522"/>
                  </a:lnTo>
                  <a:lnTo>
                    <a:pt x="577" y="523"/>
                  </a:lnTo>
                  <a:lnTo>
                    <a:pt x="576" y="524"/>
                  </a:lnTo>
                  <a:lnTo>
                    <a:pt x="574" y="526"/>
                  </a:lnTo>
                  <a:lnTo>
                    <a:pt x="574" y="527"/>
                  </a:lnTo>
                  <a:lnTo>
                    <a:pt x="574" y="530"/>
                  </a:lnTo>
                  <a:lnTo>
                    <a:pt x="576" y="530"/>
                  </a:lnTo>
                  <a:lnTo>
                    <a:pt x="577" y="531"/>
                  </a:lnTo>
                  <a:lnTo>
                    <a:pt x="577" y="533"/>
                  </a:lnTo>
                  <a:lnTo>
                    <a:pt x="578" y="533"/>
                  </a:lnTo>
                  <a:lnTo>
                    <a:pt x="578" y="534"/>
                  </a:lnTo>
                  <a:lnTo>
                    <a:pt x="577" y="537"/>
                  </a:lnTo>
                  <a:lnTo>
                    <a:pt x="576" y="537"/>
                  </a:lnTo>
                  <a:lnTo>
                    <a:pt x="576" y="535"/>
                  </a:lnTo>
                  <a:lnTo>
                    <a:pt x="573" y="535"/>
                  </a:lnTo>
                  <a:lnTo>
                    <a:pt x="571" y="537"/>
                  </a:lnTo>
                  <a:lnTo>
                    <a:pt x="571" y="537"/>
                  </a:lnTo>
                  <a:lnTo>
                    <a:pt x="571" y="534"/>
                  </a:lnTo>
                  <a:lnTo>
                    <a:pt x="571" y="534"/>
                  </a:lnTo>
                  <a:lnTo>
                    <a:pt x="569" y="533"/>
                  </a:lnTo>
                  <a:lnTo>
                    <a:pt x="566" y="528"/>
                  </a:lnTo>
                  <a:lnTo>
                    <a:pt x="566" y="527"/>
                  </a:lnTo>
                  <a:lnTo>
                    <a:pt x="569" y="526"/>
                  </a:lnTo>
                  <a:lnTo>
                    <a:pt x="569" y="523"/>
                  </a:lnTo>
                  <a:lnTo>
                    <a:pt x="570" y="523"/>
                  </a:lnTo>
                  <a:lnTo>
                    <a:pt x="570" y="522"/>
                  </a:lnTo>
                  <a:lnTo>
                    <a:pt x="569" y="522"/>
                  </a:lnTo>
                  <a:lnTo>
                    <a:pt x="567" y="522"/>
                  </a:lnTo>
                  <a:lnTo>
                    <a:pt x="566" y="520"/>
                  </a:lnTo>
                  <a:lnTo>
                    <a:pt x="565" y="523"/>
                  </a:lnTo>
                  <a:lnTo>
                    <a:pt x="563" y="523"/>
                  </a:lnTo>
                  <a:lnTo>
                    <a:pt x="562" y="523"/>
                  </a:lnTo>
                  <a:lnTo>
                    <a:pt x="559" y="520"/>
                  </a:lnTo>
                  <a:lnTo>
                    <a:pt x="558" y="520"/>
                  </a:lnTo>
                  <a:lnTo>
                    <a:pt x="555" y="519"/>
                  </a:lnTo>
                  <a:lnTo>
                    <a:pt x="554" y="516"/>
                  </a:lnTo>
                  <a:lnTo>
                    <a:pt x="554" y="519"/>
                  </a:lnTo>
                  <a:lnTo>
                    <a:pt x="554" y="520"/>
                  </a:lnTo>
                  <a:lnTo>
                    <a:pt x="552" y="520"/>
                  </a:lnTo>
                  <a:lnTo>
                    <a:pt x="551" y="520"/>
                  </a:lnTo>
                  <a:lnTo>
                    <a:pt x="550" y="520"/>
                  </a:lnTo>
                  <a:lnTo>
                    <a:pt x="548" y="520"/>
                  </a:lnTo>
                  <a:lnTo>
                    <a:pt x="548" y="520"/>
                  </a:lnTo>
                  <a:lnTo>
                    <a:pt x="548" y="520"/>
                  </a:lnTo>
                  <a:lnTo>
                    <a:pt x="547" y="520"/>
                  </a:lnTo>
                  <a:lnTo>
                    <a:pt x="536" y="522"/>
                  </a:lnTo>
                  <a:lnTo>
                    <a:pt x="510" y="511"/>
                  </a:lnTo>
                  <a:lnTo>
                    <a:pt x="471" y="533"/>
                  </a:lnTo>
                  <a:lnTo>
                    <a:pt x="441" y="523"/>
                  </a:lnTo>
                  <a:lnTo>
                    <a:pt x="372" y="471"/>
                  </a:lnTo>
                  <a:lnTo>
                    <a:pt x="226" y="458"/>
                  </a:lnTo>
                  <a:lnTo>
                    <a:pt x="149" y="386"/>
                  </a:lnTo>
                  <a:lnTo>
                    <a:pt x="0" y="322"/>
                  </a:lnTo>
                  <a:lnTo>
                    <a:pt x="13" y="197"/>
                  </a:lnTo>
                  <a:lnTo>
                    <a:pt x="111" y="145"/>
                  </a:lnTo>
                  <a:lnTo>
                    <a:pt x="223" y="121"/>
                  </a:lnTo>
                  <a:lnTo>
                    <a:pt x="232" y="119"/>
                  </a:lnTo>
                  <a:lnTo>
                    <a:pt x="232" y="119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08" name="Freeform 8"/>
            <p:cNvSpPr>
              <a:spLocks noEditPoints="1"/>
            </p:cNvSpPr>
            <p:nvPr/>
          </p:nvSpPr>
          <p:spPr bwMode="auto">
            <a:xfrm>
              <a:off x="3451" y="1341"/>
              <a:ext cx="140" cy="253"/>
            </a:xfrm>
            <a:custGeom>
              <a:avLst/>
              <a:gdLst>
                <a:gd name="T0" fmla="*/ 76 w 140"/>
                <a:gd name="T1" fmla="*/ 60 h 253"/>
                <a:gd name="T2" fmla="*/ 81 w 140"/>
                <a:gd name="T3" fmla="*/ 45 h 253"/>
                <a:gd name="T4" fmla="*/ 89 w 140"/>
                <a:gd name="T5" fmla="*/ 41 h 253"/>
                <a:gd name="T6" fmla="*/ 88 w 140"/>
                <a:gd name="T7" fmla="*/ 29 h 253"/>
                <a:gd name="T8" fmla="*/ 80 w 140"/>
                <a:gd name="T9" fmla="*/ 3 h 253"/>
                <a:gd name="T10" fmla="*/ 95 w 140"/>
                <a:gd name="T11" fmla="*/ 9 h 253"/>
                <a:gd name="T12" fmla="*/ 118 w 140"/>
                <a:gd name="T13" fmla="*/ 24 h 253"/>
                <a:gd name="T14" fmla="*/ 129 w 140"/>
                <a:gd name="T15" fmla="*/ 24 h 253"/>
                <a:gd name="T16" fmla="*/ 138 w 140"/>
                <a:gd name="T17" fmla="*/ 32 h 253"/>
                <a:gd name="T18" fmla="*/ 132 w 140"/>
                <a:gd name="T19" fmla="*/ 41 h 253"/>
                <a:gd name="T20" fmla="*/ 118 w 140"/>
                <a:gd name="T21" fmla="*/ 55 h 253"/>
                <a:gd name="T22" fmla="*/ 102 w 140"/>
                <a:gd name="T23" fmla="*/ 51 h 253"/>
                <a:gd name="T24" fmla="*/ 84 w 140"/>
                <a:gd name="T25" fmla="*/ 53 h 253"/>
                <a:gd name="T26" fmla="*/ 98 w 140"/>
                <a:gd name="T27" fmla="*/ 66 h 253"/>
                <a:gd name="T28" fmla="*/ 85 w 140"/>
                <a:gd name="T29" fmla="*/ 75 h 253"/>
                <a:gd name="T30" fmla="*/ 41 w 140"/>
                <a:gd name="T31" fmla="*/ 214 h 253"/>
                <a:gd name="T32" fmla="*/ 57 w 140"/>
                <a:gd name="T33" fmla="*/ 206 h 253"/>
                <a:gd name="T34" fmla="*/ 42 w 140"/>
                <a:gd name="T35" fmla="*/ 206 h 253"/>
                <a:gd name="T36" fmla="*/ 30 w 140"/>
                <a:gd name="T37" fmla="*/ 213 h 253"/>
                <a:gd name="T38" fmla="*/ 20 w 140"/>
                <a:gd name="T39" fmla="*/ 253 h 253"/>
                <a:gd name="T40" fmla="*/ 26 w 140"/>
                <a:gd name="T41" fmla="*/ 240 h 253"/>
                <a:gd name="T42" fmla="*/ 26 w 140"/>
                <a:gd name="T43" fmla="*/ 219 h 253"/>
                <a:gd name="T44" fmla="*/ 20 w 140"/>
                <a:gd name="T45" fmla="*/ 211 h 253"/>
                <a:gd name="T46" fmla="*/ 27 w 140"/>
                <a:gd name="T47" fmla="*/ 206 h 253"/>
                <a:gd name="T48" fmla="*/ 38 w 140"/>
                <a:gd name="T49" fmla="*/ 199 h 253"/>
                <a:gd name="T50" fmla="*/ 54 w 140"/>
                <a:gd name="T51" fmla="*/ 191 h 253"/>
                <a:gd name="T52" fmla="*/ 60 w 140"/>
                <a:gd name="T53" fmla="*/ 203 h 253"/>
                <a:gd name="T54" fmla="*/ 73 w 140"/>
                <a:gd name="T55" fmla="*/ 204 h 253"/>
                <a:gd name="T56" fmla="*/ 75 w 140"/>
                <a:gd name="T57" fmla="*/ 192 h 253"/>
                <a:gd name="T58" fmla="*/ 79 w 140"/>
                <a:gd name="T59" fmla="*/ 189 h 253"/>
                <a:gd name="T60" fmla="*/ 83 w 140"/>
                <a:gd name="T61" fmla="*/ 192 h 253"/>
                <a:gd name="T62" fmla="*/ 99 w 140"/>
                <a:gd name="T63" fmla="*/ 187 h 253"/>
                <a:gd name="T64" fmla="*/ 107 w 140"/>
                <a:gd name="T65" fmla="*/ 177 h 253"/>
                <a:gd name="T66" fmla="*/ 111 w 140"/>
                <a:gd name="T67" fmla="*/ 187 h 253"/>
                <a:gd name="T68" fmla="*/ 119 w 140"/>
                <a:gd name="T69" fmla="*/ 170 h 253"/>
                <a:gd name="T70" fmla="*/ 111 w 140"/>
                <a:gd name="T71" fmla="*/ 128 h 253"/>
                <a:gd name="T72" fmla="*/ 115 w 140"/>
                <a:gd name="T73" fmla="*/ 119 h 253"/>
                <a:gd name="T74" fmla="*/ 115 w 140"/>
                <a:gd name="T75" fmla="*/ 101 h 253"/>
                <a:gd name="T76" fmla="*/ 100 w 140"/>
                <a:gd name="T77" fmla="*/ 75 h 253"/>
                <a:gd name="T78" fmla="*/ 94 w 140"/>
                <a:gd name="T79" fmla="*/ 78 h 253"/>
                <a:gd name="T80" fmla="*/ 96 w 140"/>
                <a:gd name="T81" fmla="*/ 83 h 253"/>
                <a:gd name="T82" fmla="*/ 89 w 140"/>
                <a:gd name="T83" fmla="*/ 83 h 253"/>
                <a:gd name="T84" fmla="*/ 87 w 140"/>
                <a:gd name="T85" fmla="*/ 98 h 253"/>
                <a:gd name="T86" fmla="*/ 92 w 140"/>
                <a:gd name="T87" fmla="*/ 128 h 253"/>
                <a:gd name="T88" fmla="*/ 77 w 140"/>
                <a:gd name="T89" fmla="*/ 154 h 253"/>
                <a:gd name="T90" fmla="*/ 72 w 140"/>
                <a:gd name="T91" fmla="*/ 145 h 253"/>
                <a:gd name="T92" fmla="*/ 64 w 140"/>
                <a:gd name="T93" fmla="*/ 164 h 253"/>
                <a:gd name="T94" fmla="*/ 61 w 140"/>
                <a:gd name="T95" fmla="*/ 176 h 253"/>
                <a:gd name="T96" fmla="*/ 53 w 140"/>
                <a:gd name="T97" fmla="*/ 176 h 253"/>
                <a:gd name="T98" fmla="*/ 27 w 140"/>
                <a:gd name="T99" fmla="*/ 184 h 253"/>
                <a:gd name="T100" fmla="*/ 12 w 140"/>
                <a:gd name="T101" fmla="*/ 200 h 253"/>
                <a:gd name="T102" fmla="*/ 7 w 140"/>
                <a:gd name="T103" fmla="*/ 213 h 253"/>
                <a:gd name="T104" fmla="*/ 2 w 140"/>
                <a:gd name="T105" fmla="*/ 223 h 253"/>
                <a:gd name="T106" fmla="*/ 4 w 140"/>
                <a:gd name="T107" fmla="*/ 226 h 253"/>
                <a:gd name="T108" fmla="*/ 5 w 140"/>
                <a:gd name="T109" fmla="*/ 223 h 253"/>
                <a:gd name="T110" fmla="*/ 9 w 140"/>
                <a:gd name="T111" fmla="*/ 234 h 253"/>
                <a:gd name="T112" fmla="*/ 15 w 140"/>
                <a:gd name="T113" fmla="*/ 251 h 253"/>
                <a:gd name="T114" fmla="*/ 17 w 140"/>
                <a:gd name="T115" fmla="*/ 245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253">
                  <a:moveTo>
                    <a:pt x="85" y="75"/>
                  </a:moveTo>
                  <a:lnTo>
                    <a:pt x="84" y="74"/>
                  </a:lnTo>
                  <a:lnTo>
                    <a:pt x="83" y="73"/>
                  </a:lnTo>
                  <a:lnTo>
                    <a:pt x="84" y="71"/>
                  </a:lnTo>
                  <a:lnTo>
                    <a:pt x="83" y="67"/>
                  </a:lnTo>
                  <a:lnTo>
                    <a:pt x="81" y="63"/>
                  </a:lnTo>
                  <a:lnTo>
                    <a:pt x="80" y="62"/>
                  </a:lnTo>
                  <a:lnTo>
                    <a:pt x="77" y="60"/>
                  </a:lnTo>
                  <a:lnTo>
                    <a:pt x="76" y="60"/>
                  </a:lnTo>
                  <a:lnTo>
                    <a:pt x="76" y="59"/>
                  </a:lnTo>
                  <a:lnTo>
                    <a:pt x="76" y="56"/>
                  </a:lnTo>
                  <a:lnTo>
                    <a:pt x="76" y="53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9" y="49"/>
                  </a:lnTo>
                  <a:lnTo>
                    <a:pt x="80" y="49"/>
                  </a:lnTo>
                  <a:lnTo>
                    <a:pt x="81" y="47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7" y="43"/>
                  </a:lnTo>
                  <a:lnTo>
                    <a:pt x="79" y="40"/>
                  </a:lnTo>
                  <a:lnTo>
                    <a:pt x="80" y="40"/>
                  </a:lnTo>
                  <a:lnTo>
                    <a:pt x="84" y="43"/>
                  </a:lnTo>
                  <a:lnTo>
                    <a:pt x="88" y="43"/>
                  </a:lnTo>
                  <a:lnTo>
                    <a:pt x="89" y="41"/>
                  </a:lnTo>
                  <a:lnTo>
                    <a:pt x="89" y="40"/>
                  </a:lnTo>
                  <a:lnTo>
                    <a:pt x="89" y="39"/>
                  </a:lnTo>
                  <a:lnTo>
                    <a:pt x="89" y="37"/>
                  </a:lnTo>
                  <a:lnTo>
                    <a:pt x="88" y="37"/>
                  </a:lnTo>
                  <a:lnTo>
                    <a:pt x="88" y="36"/>
                  </a:lnTo>
                  <a:lnTo>
                    <a:pt x="87" y="33"/>
                  </a:lnTo>
                  <a:lnTo>
                    <a:pt x="85" y="32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8"/>
                  </a:lnTo>
                  <a:lnTo>
                    <a:pt x="88" y="26"/>
                  </a:lnTo>
                  <a:lnTo>
                    <a:pt x="87" y="22"/>
                  </a:lnTo>
                  <a:lnTo>
                    <a:pt x="87" y="21"/>
                  </a:lnTo>
                  <a:lnTo>
                    <a:pt x="87" y="17"/>
                  </a:lnTo>
                  <a:lnTo>
                    <a:pt x="85" y="14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0" y="3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5" y="0"/>
                  </a:lnTo>
                  <a:lnTo>
                    <a:pt x="87" y="2"/>
                  </a:lnTo>
                  <a:lnTo>
                    <a:pt x="89" y="5"/>
                  </a:lnTo>
                  <a:lnTo>
                    <a:pt x="94" y="6"/>
                  </a:lnTo>
                  <a:lnTo>
                    <a:pt x="95" y="9"/>
                  </a:lnTo>
                  <a:lnTo>
                    <a:pt x="100" y="14"/>
                  </a:lnTo>
                  <a:lnTo>
                    <a:pt x="103" y="15"/>
                  </a:lnTo>
                  <a:lnTo>
                    <a:pt x="104" y="18"/>
                  </a:lnTo>
                  <a:lnTo>
                    <a:pt x="106" y="18"/>
                  </a:lnTo>
                  <a:lnTo>
                    <a:pt x="109" y="21"/>
                  </a:lnTo>
                  <a:lnTo>
                    <a:pt x="111" y="22"/>
                  </a:lnTo>
                  <a:lnTo>
                    <a:pt x="115" y="22"/>
                  </a:lnTo>
                  <a:lnTo>
                    <a:pt x="117" y="25"/>
                  </a:lnTo>
                  <a:lnTo>
                    <a:pt x="118" y="24"/>
                  </a:lnTo>
                  <a:lnTo>
                    <a:pt x="119" y="25"/>
                  </a:lnTo>
                  <a:lnTo>
                    <a:pt x="122" y="25"/>
                  </a:lnTo>
                  <a:lnTo>
                    <a:pt x="126" y="22"/>
                  </a:lnTo>
                  <a:lnTo>
                    <a:pt x="128" y="20"/>
                  </a:lnTo>
                  <a:lnTo>
                    <a:pt x="129" y="17"/>
                  </a:lnTo>
                  <a:lnTo>
                    <a:pt x="129" y="17"/>
                  </a:lnTo>
                  <a:lnTo>
                    <a:pt x="130" y="18"/>
                  </a:lnTo>
                  <a:lnTo>
                    <a:pt x="130" y="20"/>
                  </a:lnTo>
                  <a:lnTo>
                    <a:pt x="129" y="24"/>
                  </a:lnTo>
                  <a:lnTo>
                    <a:pt x="129" y="26"/>
                  </a:lnTo>
                  <a:lnTo>
                    <a:pt x="129" y="28"/>
                  </a:lnTo>
                  <a:lnTo>
                    <a:pt x="132" y="29"/>
                  </a:lnTo>
                  <a:lnTo>
                    <a:pt x="134" y="32"/>
                  </a:lnTo>
                  <a:lnTo>
                    <a:pt x="134" y="33"/>
                  </a:lnTo>
                  <a:lnTo>
                    <a:pt x="134" y="34"/>
                  </a:lnTo>
                  <a:lnTo>
                    <a:pt x="136" y="34"/>
                  </a:lnTo>
                  <a:lnTo>
                    <a:pt x="137" y="33"/>
                  </a:lnTo>
                  <a:lnTo>
                    <a:pt x="138" y="32"/>
                  </a:lnTo>
                  <a:lnTo>
                    <a:pt x="140" y="30"/>
                  </a:lnTo>
                  <a:lnTo>
                    <a:pt x="140" y="33"/>
                  </a:lnTo>
                  <a:lnTo>
                    <a:pt x="138" y="33"/>
                  </a:lnTo>
                  <a:lnTo>
                    <a:pt x="138" y="36"/>
                  </a:lnTo>
                  <a:lnTo>
                    <a:pt x="137" y="37"/>
                  </a:lnTo>
                  <a:lnTo>
                    <a:pt x="134" y="37"/>
                  </a:lnTo>
                  <a:lnTo>
                    <a:pt x="134" y="40"/>
                  </a:lnTo>
                  <a:lnTo>
                    <a:pt x="133" y="40"/>
                  </a:lnTo>
                  <a:lnTo>
                    <a:pt x="132" y="41"/>
                  </a:lnTo>
                  <a:lnTo>
                    <a:pt x="130" y="40"/>
                  </a:lnTo>
                  <a:lnTo>
                    <a:pt x="129" y="41"/>
                  </a:lnTo>
                  <a:lnTo>
                    <a:pt x="129" y="43"/>
                  </a:lnTo>
                  <a:lnTo>
                    <a:pt x="126" y="43"/>
                  </a:lnTo>
                  <a:lnTo>
                    <a:pt x="125" y="41"/>
                  </a:lnTo>
                  <a:lnTo>
                    <a:pt x="122" y="43"/>
                  </a:lnTo>
                  <a:lnTo>
                    <a:pt x="119" y="47"/>
                  </a:lnTo>
                  <a:lnTo>
                    <a:pt x="118" y="52"/>
                  </a:lnTo>
                  <a:lnTo>
                    <a:pt x="118" y="55"/>
                  </a:lnTo>
                  <a:lnTo>
                    <a:pt x="118" y="58"/>
                  </a:lnTo>
                  <a:lnTo>
                    <a:pt x="118" y="60"/>
                  </a:lnTo>
                  <a:lnTo>
                    <a:pt x="118" y="62"/>
                  </a:lnTo>
                  <a:lnTo>
                    <a:pt x="115" y="60"/>
                  </a:lnTo>
                  <a:lnTo>
                    <a:pt x="115" y="59"/>
                  </a:lnTo>
                  <a:lnTo>
                    <a:pt x="111" y="59"/>
                  </a:lnTo>
                  <a:lnTo>
                    <a:pt x="107" y="56"/>
                  </a:lnTo>
                  <a:lnTo>
                    <a:pt x="104" y="53"/>
                  </a:lnTo>
                  <a:lnTo>
                    <a:pt x="102" y="51"/>
                  </a:lnTo>
                  <a:lnTo>
                    <a:pt x="100" y="52"/>
                  </a:lnTo>
                  <a:lnTo>
                    <a:pt x="99" y="51"/>
                  </a:lnTo>
                  <a:lnTo>
                    <a:pt x="98" y="51"/>
                  </a:lnTo>
                  <a:lnTo>
                    <a:pt x="95" y="51"/>
                  </a:lnTo>
                  <a:lnTo>
                    <a:pt x="92" y="52"/>
                  </a:lnTo>
                  <a:lnTo>
                    <a:pt x="89" y="56"/>
                  </a:lnTo>
                  <a:lnTo>
                    <a:pt x="88" y="55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3" y="55"/>
                  </a:lnTo>
                  <a:lnTo>
                    <a:pt x="83" y="58"/>
                  </a:lnTo>
                  <a:lnTo>
                    <a:pt x="83" y="59"/>
                  </a:lnTo>
                  <a:lnTo>
                    <a:pt x="85" y="60"/>
                  </a:lnTo>
                  <a:lnTo>
                    <a:pt x="88" y="60"/>
                  </a:lnTo>
                  <a:lnTo>
                    <a:pt x="91" y="63"/>
                  </a:lnTo>
                  <a:lnTo>
                    <a:pt x="94" y="64"/>
                  </a:lnTo>
                  <a:lnTo>
                    <a:pt x="96" y="64"/>
                  </a:lnTo>
                  <a:lnTo>
                    <a:pt x="98" y="66"/>
                  </a:lnTo>
                  <a:lnTo>
                    <a:pt x="96" y="67"/>
                  </a:lnTo>
                  <a:lnTo>
                    <a:pt x="95" y="70"/>
                  </a:lnTo>
                  <a:lnTo>
                    <a:pt x="94" y="68"/>
                  </a:lnTo>
                  <a:lnTo>
                    <a:pt x="91" y="67"/>
                  </a:lnTo>
                  <a:lnTo>
                    <a:pt x="89" y="68"/>
                  </a:lnTo>
                  <a:lnTo>
                    <a:pt x="89" y="70"/>
                  </a:lnTo>
                  <a:lnTo>
                    <a:pt x="88" y="73"/>
                  </a:lnTo>
                  <a:lnTo>
                    <a:pt x="85" y="75"/>
                  </a:lnTo>
                  <a:lnTo>
                    <a:pt x="85" y="75"/>
                  </a:lnTo>
                  <a:close/>
                  <a:moveTo>
                    <a:pt x="36" y="222"/>
                  </a:moveTo>
                  <a:lnTo>
                    <a:pt x="38" y="223"/>
                  </a:lnTo>
                  <a:lnTo>
                    <a:pt x="39" y="222"/>
                  </a:lnTo>
                  <a:lnTo>
                    <a:pt x="41" y="223"/>
                  </a:lnTo>
                  <a:lnTo>
                    <a:pt x="41" y="222"/>
                  </a:lnTo>
                  <a:lnTo>
                    <a:pt x="41" y="221"/>
                  </a:lnTo>
                  <a:lnTo>
                    <a:pt x="39" y="219"/>
                  </a:lnTo>
                  <a:lnTo>
                    <a:pt x="41" y="217"/>
                  </a:lnTo>
                  <a:lnTo>
                    <a:pt x="41" y="214"/>
                  </a:lnTo>
                  <a:lnTo>
                    <a:pt x="43" y="211"/>
                  </a:lnTo>
                  <a:lnTo>
                    <a:pt x="45" y="210"/>
                  </a:lnTo>
                  <a:lnTo>
                    <a:pt x="47" y="211"/>
                  </a:lnTo>
                  <a:lnTo>
                    <a:pt x="50" y="213"/>
                  </a:lnTo>
                  <a:lnTo>
                    <a:pt x="51" y="214"/>
                  </a:lnTo>
                  <a:lnTo>
                    <a:pt x="53" y="214"/>
                  </a:lnTo>
                  <a:lnTo>
                    <a:pt x="54" y="210"/>
                  </a:lnTo>
                  <a:lnTo>
                    <a:pt x="57" y="207"/>
                  </a:lnTo>
                  <a:lnTo>
                    <a:pt x="57" y="206"/>
                  </a:lnTo>
                  <a:lnTo>
                    <a:pt x="55" y="204"/>
                  </a:lnTo>
                  <a:lnTo>
                    <a:pt x="55" y="203"/>
                  </a:lnTo>
                  <a:lnTo>
                    <a:pt x="53" y="202"/>
                  </a:lnTo>
                  <a:lnTo>
                    <a:pt x="51" y="202"/>
                  </a:lnTo>
                  <a:lnTo>
                    <a:pt x="49" y="200"/>
                  </a:lnTo>
                  <a:lnTo>
                    <a:pt x="46" y="200"/>
                  </a:lnTo>
                  <a:lnTo>
                    <a:pt x="43" y="202"/>
                  </a:lnTo>
                  <a:lnTo>
                    <a:pt x="43" y="203"/>
                  </a:lnTo>
                  <a:lnTo>
                    <a:pt x="42" y="206"/>
                  </a:lnTo>
                  <a:lnTo>
                    <a:pt x="41" y="206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6" y="203"/>
                  </a:lnTo>
                  <a:lnTo>
                    <a:pt x="35" y="203"/>
                  </a:lnTo>
                  <a:lnTo>
                    <a:pt x="32" y="207"/>
                  </a:lnTo>
                  <a:lnTo>
                    <a:pt x="32" y="210"/>
                  </a:lnTo>
                  <a:lnTo>
                    <a:pt x="30" y="211"/>
                  </a:lnTo>
                  <a:lnTo>
                    <a:pt x="30" y="213"/>
                  </a:lnTo>
                  <a:lnTo>
                    <a:pt x="32" y="214"/>
                  </a:lnTo>
                  <a:lnTo>
                    <a:pt x="34" y="217"/>
                  </a:lnTo>
                  <a:lnTo>
                    <a:pt x="32" y="217"/>
                  </a:lnTo>
                  <a:lnTo>
                    <a:pt x="32" y="218"/>
                  </a:lnTo>
                  <a:lnTo>
                    <a:pt x="34" y="221"/>
                  </a:lnTo>
                  <a:lnTo>
                    <a:pt x="36" y="221"/>
                  </a:lnTo>
                  <a:lnTo>
                    <a:pt x="36" y="222"/>
                  </a:lnTo>
                  <a:lnTo>
                    <a:pt x="36" y="222"/>
                  </a:lnTo>
                  <a:close/>
                  <a:moveTo>
                    <a:pt x="20" y="253"/>
                  </a:moveTo>
                  <a:lnTo>
                    <a:pt x="21" y="252"/>
                  </a:lnTo>
                  <a:lnTo>
                    <a:pt x="24" y="249"/>
                  </a:lnTo>
                  <a:lnTo>
                    <a:pt x="21" y="247"/>
                  </a:lnTo>
                  <a:lnTo>
                    <a:pt x="21" y="245"/>
                  </a:lnTo>
                  <a:lnTo>
                    <a:pt x="23" y="245"/>
                  </a:lnTo>
                  <a:lnTo>
                    <a:pt x="24" y="245"/>
                  </a:lnTo>
                  <a:lnTo>
                    <a:pt x="26" y="247"/>
                  </a:lnTo>
                  <a:lnTo>
                    <a:pt x="26" y="244"/>
                  </a:lnTo>
                  <a:lnTo>
                    <a:pt x="26" y="240"/>
                  </a:lnTo>
                  <a:lnTo>
                    <a:pt x="26" y="238"/>
                  </a:lnTo>
                  <a:lnTo>
                    <a:pt x="26" y="232"/>
                  </a:lnTo>
                  <a:lnTo>
                    <a:pt x="26" y="227"/>
                  </a:lnTo>
                  <a:lnTo>
                    <a:pt x="27" y="226"/>
                  </a:lnTo>
                  <a:lnTo>
                    <a:pt x="28" y="223"/>
                  </a:lnTo>
                  <a:lnTo>
                    <a:pt x="28" y="222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6" y="219"/>
                  </a:lnTo>
                  <a:lnTo>
                    <a:pt x="26" y="218"/>
                  </a:lnTo>
                  <a:lnTo>
                    <a:pt x="23" y="218"/>
                  </a:lnTo>
                  <a:lnTo>
                    <a:pt x="21" y="217"/>
                  </a:lnTo>
                  <a:lnTo>
                    <a:pt x="24" y="215"/>
                  </a:lnTo>
                  <a:lnTo>
                    <a:pt x="24" y="214"/>
                  </a:lnTo>
                  <a:lnTo>
                    <a:pt x="24" y="211"/>
                  </a:lnTo>
                  <a:lnTo>
                    <a:pt x="21" y="210"/>
                  </a:lnTo>
                  <a:lnTo>
                    <a:pt x="20" y="210"/>
                  </a:lnTo>
                  <a:lnTo>
                    <a:pt x="20" y="211"/>
                  </a:lnTo>
                  <a:lnTo>
                    <a:pt x="19" y="213"/>
                  </a:lnTo>
                  <a:lnTo>
                    <a:pt x="17" y="213"/>
                  </a:lnTo>
                  <a:lnTo>
                    <a:pt x="15" y="210"/>
                  </a:lnTo>
                  <a:lnTo>
                    <a:pt x="15" y="207"/>
                  </a:lnTo>
                  <a:lnTo>
                    <a:pt x="19" y="206"/>
                  </a:lnTo>
                  <a:lnTo>
                    <a:pt x="21" y="206"/>
                  </a:lnTo>
                  <a:lnTo>
                    <a:pt x="26" y="207"/>
                  </a:lnTo>
                  <a:lnTo>
                    <a:pt x="27" y="207"/>
                  </a:lnTo>
                  <a:lnTo>
                    <a:pt x="27" y="206"/>
                  </a:lnTo>
                  <a:lnTo>
                    <a:pt x="27" y="204"/>
                  </a:lnTo>
                  <a:lnTo>
                    <a:pt x="27" y="202"/>
                  </a:lnTo>
                  <a:lnTo>
                    <a:pt x="27" y="200"/>
                  </a:lnTo>
                  <a:lnTo>
                    <a:pt x="28" y="199"/>
                  </a:lnTo>
                  <a:lnTo>
                    <a:pt x="30" y="199"/>
                  </a:lnTo>
                  <a:lnTo>
                    <a:pt x="30" y="200"/>
                  </a:lnTo>
                  <a:lnTo>
                    <a:pt x="32" y="200"/>
                  </a:lnTo>
                  <a:lnTo>
                    <a:pt x="34" y="200"/>
                  </a:lnTo>
                  <a:lnTo>
                    <a:pt x="38" y="199"/>
                  </a:lnTo>
                  <a:lnTo>
                    <a:pt x="41" y="198"/>
                  </a:lnTo>
                  <a:lnTo>
                    <a:pt x="43" y="198"/>
                  </a:lnTo>
                  <a:lnTo>
                    <a:pt x="45" y="198"/>
                  </a:lnTo>
                  <a:lnTo>
                    <a:pt x="46" y="198"/>
                  </a:lnTo>
                  <a:lnTo>
                    <a:pt x="46" y="196"/>
                  </a:lnTo>
                  <a:lnTo>
                    <a:pt x="49" y="195"/>
                  </a:lnTo>
                  <a:lnTo>
                    <a:pt x="49" y="194"/>
                  </a:lnTo>
                  <a:lnTo>
                    <a:pt x="51" y="192"/>
                  </a:lnTo>
                  <a:lnTo>
                    <a:pt x="54" y="191"/>
                  </a:lnTo>
                  <a:lnTo>
                    <a:pt x="58" y="192"/>
                  </a:lnTo>
                  <a:lnTo>
                    <a:pt x="60" y="191"/>
                  </a:lnTo>
                  <a:lnTo>
                    <a:pt x="61" y="192"/>
                  </a:lnTo>
                  <a:lnTo>
                    <a:pt x="61" y="194"/>
                  </a:lnTo>
                  <a:lnTo>
                    <a:pt x="60" y="196"/>
                  </a:lnTo>
                  <a:lnTo>
                    <a:pt x="58" y="199"/>
                  </a:lnTo>
                  <a:lnTo>
                    <a:pt x="60" y="199"/>
                  </a:lnTo>
                  <a:lnTo>
                    <a:pt x="60" y="202"/>
                  </a:lnTo>
                  <a:lnTo>
                    <a:pt x="60" y="203"/>
                  </a:lnTo>
                  <a:lnTo>
                    <a:pt x="60" y="204"/>
                  </a:lnTo>
                  <a:lnTo>
                    <a:pt x="61" y="207"/>
                  </a:lnTo>
                  <a:lnTo>
                    <a:pt x="62" y="207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9" y="210"/>
                  </a:lnTo>
                  <a:lnTo>
                    <a:pt x="72" y="207"/>
                  </a:lnTo>
                  <a:lnTo>
                    <a:pt x="72" y="204"/>
                  </a:lnTo>
                  <a:lnTo>
                    <a:pt x="73" y="204"/>
                  </a:lnTo>
                  <a:lnTo>
                    <a:pt x="73" y="203"/>
                  </a:lnTo>
                  <a:lnTo>
                    <a:pt x="73" y="202"/>
                  </a:lnTo>
                  <a:lnTo>
                    <a:pt x="75" y="199"/>
                  </a:lnTo>
                  <a:lnTo>
                    <a:pt x="77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5" y="192"/>
                  </a:lnTo>
                  <a:lnTo>
                    <a:pt x="73" y="191"/>
                  </a:lnTo>
                  <a:lnTo>
                    <a:pt x="75" y="188"/>
                  </a:lnTo>
                  <a:lnTo>
                    <a:pt x="76" y="187"/>
                  </a:lnTo>
                  <a:lnTo>
                    <a:pt x="77" y="187"/>
                  </a:lnTo>
                  <a:lnTo>
                    <a:pt x="76" y="187"/>
                  </a:lnTo>
                  <a:lnTo>
                    <a:pt x="76" y="189"/>
                  </a:lnTo>
                  <a:lnTo>
                    <a:pt x="77" y="191"/>
                  </a:lnTo>
                  <a:lnTo>
                    <a:pt x="79" y="189"/>
                  </a:lnTo>
                  <a:lnTo>
                    <a:pt x="79" y="189"/>
                  </a:lnTo>
                  <a:lnTo>
                    <a:pt x="80" y="189"/>
                  </a:lnTo>
                  <a:lnTo>
                    <a:pt x="81" y="189"/>
                  </a:lnTo>
                  <a:lnTo>
                    <a:pt x="83" y="189"/>
                  </a:lnTo>
                  <a:lnTo>
                    <a:pt x="84" y="189"/>
                  </a:lnTo>
                  <a:lnTo>
                    <a:pt x="83" y="191"/>
                  </a:lnTo>
                  <a:lnTo>
                    <a:pt x="81" y="191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3" y="192"/>
                  </a:lnTo>
                  <a:lnTo>
                    <a:pt x="87" y="191"/>
                  </a:lnTo>
                  <a:lnTo>
                    <a:pt x="92" y="191"/>
                  </a:lnTo>
                  <a:lnTo>
                    <a:pt x="95" y="191"/>
                  </a:lnTo>
                  <a:lnTo>
                    <a:pt x="94" y="189"/>
                  </a:lnTo>
                  <a:lnTo>
                    <a:pt x="94" y="188"/>
                  </a:lnTo>
                  <a:lnTo>
                    <a:pt x="94" y="185"/>
                  </a:lnTo>
                  <a:lnTo>
                    <a:pt x="96" y="184"/>
                  </a:lnTo>
                  <a:lnTo>
                    <a:pt x="99" y="184"/>
                  </a:lnTo>
                  <a:lnTo>
                    <a:pt x="99" y="187"/>
                  </a:lnTo>
                  <a:lnTo>
                    <a:pt x="99" y="188"/>
                  </a:lnTo>
                  <a:lnTo>
                    <a:pt x="99" y="189"/>
                  </a:lnTo>
                  <a:lnTo>
                    <a:pt x="102" y="189"/>
                  </a:lnTo>
                  <a:lnTo>
                    <a:pt x="103" y="188"/>
                  </a:lnTo>
                  <a:lnTo>
                    <a:pt x="102" y="184"/>
                  </a:lnTo>
                  <a:lnTo>
                    <a:pt x="102" y="181"/>
                  </a:lnTo>
                  <a:lnTo>
                    <a:pt x="106" y="179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6" y="176"/>
                  </a:lnTo>
                  <a:lnTo>
                    <a:pt x="107" y="173"/>
                  </a:lnTo>
                  <a:lnTo>
                    <a:pt x="109" y="172"/>
                  </a:lnTo>
                  <a:lnTo>
                    <a:pt x="110" y="173"/>
                  </a:lnTo>
                  <a:lnTo>
                    <a:pt x="111" y="174"/>
                  </a:lnTo>
                  <a:lnTo>
                    <a:pt x="110" y="176"/>
                  </a:lnTo>
                  <a:lnTo>
                    <a:pt x="109" y="179"/>
                  </a:lnTo>
                  <a:lnTo>
                    <a:pt x="110" y="185"/>
                  </a:lnTo>
                  <a:lnTo>
                    <a:pt x="111" y="187"/>
                  </a:lnTo>
                  <a:lnTo>
                    <a:pt x="113" y="185"/>
                  </a:lnTo>
                  <a:lnTo>
                    <a:pt x="114" y="183"/>
                  </a:lnTo>
                  <a:lnTo>
                    <a:pt x="115" y="183"/>
                  </a:lnTo>
                  <a:lnTo>
                    <a:pt x="118" y="180"/>
                  </a:lnTo>
                  <a:lnTo>
                    <a:pt x="118" y="177"/>
                  </a:lnTo>
                  <a:lnTo>
                    <a:pt x="118" y="176"/>
                  </a:lnTo>
                  <a:lnTo>
                    <a:pt x="121" y="173"/>
                  </a:lnTo>
                  <a:lnTo>
                    <a:pt x="121" y="172"/>
                  </a:lnTo>
                  <a:lnTo>
                    <a:pt x="119" y="170"/>
                  </a:lnTo>
                  <a:lnTo>
                    <a:pt x="117" y="166"/>
                  </a:lnTo>
                  <a:lnTo>
                    <a:pt x="115" y="164"/>
                  </a:lnTo>
                  <a:lnTo>
                    <a:pt x="114" y="158"/>
                  </a:lnTo>
                  <a:lnTo>
                    <a:pt x="115" y="151"/>
                  </a:lnTo>
                  <a:lnTo>
                    <a:pt x="115" y="147"/>
                  </a:lnTo>
                  <a:lnTo>
                    <a:pt x="114" y="139"/>
                  </a:lnTo>
                  <a:lnTo>
                    <a:pt x="111" y="135"/>
                  </a:lnTo>
                  <a:lnTo>
                    <a:pt x="110" y="132"/>
                  </a:lnTo>
                  <a:lnTo>
                    <a:pt x="111" y="128"/>
                  </a:lnTo>
                  <a:lnTo>
                    <a:pt x="115" y="127"/>
                  </a:lnTo>
                  <a:lnTo>
                    <a:pt x="117" y="127"/>
                  </a:lnTo>
                  <a:lnTo>
                    <a:pt x="118" y="128"/>
                  </a:lnTo>
                  <a:lnTo>
                    <a:pt x="118" y="127"/>
                  </a:lnTo>
                  <a:lnTo>
                    <a:pt x="118" y="124"/>
                  </a:lnTo>
                  <a:lnTo>
                    <a:pt x="117" y="123"/>
                  </a:lnTo>
                  <a:lnTo>
                    <a:pt x="117" y="121"/>
                  </a:lnTo>
                  <a:lnTo>
                    <a:pt x="115" y="120"/>
                  </a:lnTo>
                  <a:lnTo>
                    <a:pt x="115" y="119"/>
                  </a:lnTo>
                  <a:lnTo>
                    <a:pt x="115" y="116"/>
                  </a:lnTo>
                  <a:lnTo>
                    <a:pt x="117" y="115"/>
                  </a:lnTo>
                  <a:lnTo>
                    <a:pt x="117" y="115"/>
                  </a:lnTo>
                  <a:lnTo>
                    <a:pt x="117" y="112"/>
                  </a:lnTo>
                  <a:lnTo>
                    <a:pt x="117" y="112"/>
                  </a:lnTo>
                  <a:lnTo>
                    <a:pt x="117" y="109"/>
                  </a:lnTo>
                  <a:lnTo>
                    <a:pt x="117" y="108"/>
                  </a:lnTo>
                  <a:lnTo>
                    <a:pt x="115" y="105"/>
                  </a:lnTo>
                  <a:lnTo>
                    <a:pt x="115" y="101"/>
                  </a:lnTo>
                  <a:lnTo>
                    <a:pt x="113" y="97"/>
                  </a:lnTo>
                  <a:lnTo>
                    <a:pt x="111" y="97"/>
                  </a:lnTo>
                  <a:lnTo>
                    <a:pt x="110" y="97"/>
                  </a:lnTo>
                  <a:lnTo>
                    <a:pt x="110" y="92"/>
                  </a:lnTo>
                  <a:lnTo>
                    <a:pt x="109" y="90"/>
                  </a:lnTo>
                  <a:lnTo>
                    <a:pt x="103" y="85"/>
                  </a:lnTo>
                  <a:lnTo>
                    <a:pt x="102" y="82"/>
                  </a:lnTo>
                  <a:lnTo>
                    <a:pt x="100" y="78"/>
                  </a:lnTo>
                  <a:lnTo>
                    <a:pt x="100" y="75"/>
                  </a:lnTo>
                  <a:lnTo>
                    <a:pt x="100" y="74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5" y="74"/>
                  </a:lnTo>
                  <a:lnTo>
                    <a:pt x="94" y="77"/>
                  </a:lnTo>
                  <a:lnTo>
                    <a:pt x="94" y="78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9" y="77"/>
                  </a:lnTo>
                  <a:lnTo>
                    <a:pt x="99" y="79"/>
                  </a:lnTo>
                  <a:lnTo>
                    <a:pt x="99" y="82"/>
                  </a:lnTo>
                  <a:lnTo>
                    <a:pt x="98" y="82"/>
                  </a:lnTo>
                  <a:lnTo>
                    <a:pt x="96" y="81"/>
                  </a:lnTo>
                  <a:lnTo>
                    <a:pt x="95" y="81"/>
                  </a:lnTo>
                  <a:lnTo>
                    <a:pt x="96" y="83"/>
                  </a:lnTo>
                  <a:lnTo>
                    <a:pt x="95" y="85"/>
                  </a:lnTo>
                  <a:lnTo>
                    <a:pt x="94" y="85"/>
                  </a:lnTo>
                  <a:lnTo>
                    <a:pt x="94" y="82"/>
                  </a:lnTo>
                  <a:lnTo>
                    <a:pt x="92" y="81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8" y="81"/>
                  </a:lnTo>
                  <a:lnTo>
                    <a:pt x="89" y="83"/>
                  </a:lnTo>
                  <a:lnTo>
                    <a:pt x="89" y="86"/>
                  </a:lnTo>
                  <a:lnTo>
                    <a:pt x="88" y="87"/>
                  </a:lnTo>
                  <a:lnTo>
                    <a:pt x="87" y="89"/>
                  </a:lnTo>
                  <a:lnTo>
                    <a:pt x="87" y="90"/>
                  </a:lnTo>
                  <a:lnTo>
                    <a:pt x="89" y="93"/>
                  </a:lnTo>
                  <a:lnTo>
                    <a:pt x="91" y="96"/>
                  </a:lnTo>
                  <a:lnTo>
                    <a:pt x="89" y="98"/>
                  </a:lnTo>
                  <a:lnTo>
                    <a:pt x="88" y="100"/>
                  </a:lnTo>
                  <a:lnTo>
                    <a:pt x="87" y="98"/>
                  </a:lnTo>
                  <a:lnTo>
                    <a:pt x="85" y="100"/>
                  </a:lnTo>
                  <a:lnTo>
                    <a:pt x="88" y="102"/>
                  </a:lnTo>
                  <a:lnTo>
                    <a:pt x="89" y="102"/>
                  </a:lnTo>
                  <a:lnTo>
                    <a:pt x="91" y="100"/>
                  </a:lnTo>
                  <a:lnTo>
                    <a:pt x="94" y="105"/>
                  </a:lnTo>
                  <a:lnTo>
                    <a:pt x="94" y="111"/>
                  </a:lnTo>
                  <a:lnTo>
                    <a:pt x="94" y="115"/>
                  </a:lnTo>
                  <a:lnTo>
                    <a:pt x="94" y="120"/>
                  </a:lnTo>
                  <a:lnTo>
                    <a:pt x="92" y="128"/>
                  </a:lnTo>
                  <a:lnTo>
                    <a:pt x="92" y="131"/>
                  </a:lnTo>
                  <a:lnTo>
                    <a:pt x="91" y="135"/>
                  </a:lnTo>
                  <a:lnTo>
                    <a:pt x="88" y="136"/>
                  </a:lnTo>
                  <a:lnTo>
                    <a:pt x="87" y="139"/>
                  </a:lnTo>
                  <a:lnTo>
                    <a:pt x="88" y="143"/>
                  </a:lnTo>
                  <a:lnTo>
                    <a:pt x="85" y="146"/>
                  </a:lnTo>
                  <a:lnTo>
                    <a:pt x="85" y="147"/>
                  </a:lnTo>
                  <a:lnTo>
                    <a:pt x="83" y="150"/>
                  </a:lnTo>
                  <a:lnTo>
                    <a:pt x="77" y="154"/>
                  </a:lnTo>
                  <a:lnTo>
                    <a:pt x="75" y="154"/>
                  </a:lnTo>
                  <a:lnTo>
                    <a:pt x="75" y="157"/>
                  </a:lnTo>
                  <a:lnTo>
                    <a:pt x="70" y="155"/>
                  </a:lnTo>
                  <a:lnTo>
                    <a:pt x="68" y="151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70" y="147"/>
                  </a:lnTo>
                  <a:lnTo>
                    <a:pt x="70" y="146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69" y="145"/>
                  </a:lnTo>
                  <a:lnTo>
                    <a:pt x="68" y="147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6" y="153"/>
                  </a:lnTo>
                  <a:lnTo>
                    <a:pt x="66" y="158"/>
                  </a:lnTo>
                  <a:lnTo>
                    <a:pt x="66" y="161"/>
                  </a:lnTo>
                  <a:lnTo>
                    <a:pt x="64" y="164"/>
                  </a:lnTo>
                  <a:lnTo>
                    <a:pt x="64" y="165"/>
                  </a:lnTo>
                  <a:lnTo>
                    <a:pt x="62" y="166"/>
                  </a:lnTo>
                  <a:lnTo>
                    <a:pt x="62" y="170"/>
                  </a:lnTo>
                  <a:lnTo>
                    <a:pt x="62" y="172"/>
                  </a:lnTo>
                  <a:lnTo>
                    <a:pt x="64" y="173"/>
                  </a:lnTo>
                  <a:lnTo>
                    <a:pt x="62" y="174"/>
                  </a:lnTo>
                  <a:lnTo>
                    <a:pt x="62" y="174"/>
                  </a:lnTo>
                  <a:lnTo>
                    <a:pt x="62" y="176"/>
                  </a:lnTo>
                  <a:lnTo>
                    <a:pt x="61" y="176"/>
                  </a:lnTo>
                  <a:lnTo>
                    <a:pt x="62" y="177"/>
                  </a:lnTo>
                  <a:lnTo>
                    <a:pt x="60" y="179"/>
                  </a:lnTo>
                  <a:lnTo>
                    <a:pt x="60" y="177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5" y="176"/>
                  </a:lnTo>
                  <a:lnTo>
                    <a:pt x="55" y="176"/>
                  </a:lnTo>
                  <a:lnTo>
                    <a:pt x="54" y="176"/>
                  </a:lnTo>
                  <a:lnTo>
                    <a:pt x="53" y="176"/>
                  </a:lnTo>
                  <a:lnTo>
                    <a:pt x="51" y="176"/>
                  </a:lnTo>
                  <a:lnTo>
                    <a:pt x="46" y="177"/>
                  </a:lnTo>
                  <a:lnTo>
                    <a:pt x="43" y="179"/>
                  </a:lnTo>
                  <a:lnTo>
                    <a:pt x="41" y="180"/>
                  </a:lnTo>
                  <a:lnTo>
                    <a:pt x="38" y="180"/>
                  </a:lnTo>
                  <a:lnTo>
                    <a:pt x="35" y="181"/>
                  </a:lnTo>
                  <a:lnTo>
                    <a:pt x="34" y="180"/>
                  </a:lnTo>
                  <a:lnTo>
                    <a:pt x="31" y="180"/>
                  </a:lnTo>
                  <a:lnTo>
                    <a:pt x="27" y="184"/>
                  </a:lnTo>
                  <a:lnTo>
                    <a:pt x="27" y="187"/>
                  </a:lnTo>
                  <a:lnTo>
                    <a:pt x="24" y="187"/>
                  </a:lnTo>
                  <a:lnTo>
                    <a:pt x="24" y="189"/>
                  </a:lnTo>
                  <a:lnTo>
                    <a:pt x="21" y="192"/>
                  </a:lnTo>
                  <a:lnTo>
                    <a:pt x="19" y="194"/>
                  </a:lnTo>
                  <a:lnTo>
                    <a:pt x="17" y="196"/>
                  </a:lnTo>
                  <a:lnTo>
                    <a:pt x="17" y="198"/>
                  </a:lnTo>
                  <a:lnTo>
                    <a:pt x="15" y="199"/>
                  </a:lnTo>
                  <a:lnTo>
                    <a:pt x="12" y="200"/>
                  </a:lnTo>
                  <a:lnTo>
                    <a:pt x="11" y="202"/>
                  </a:lnTo>
                  <a:lnTo>
                    <a:pt x="12" y="204"/>
                  </a:lnTo>
                  <a:lnTo>
                    <a:pt x="13" y="206"/>
                  </a:lnTo>
                  <a:lnTo>
                    <a:pt x="13" y="207"/>
                  </a:lnTo>
                  <a:lnTo>
                    <a:pt x="13" y="208"/>
                  </a:lnTo>
                  <a:lnTo>
                    <a:pt x="11" y="208"/>
                  </a:lnTo>
                  <a:lnTo>
                    <a:pt x="8" y="210"/>
                  </a:lnTo>
                  <a:lnTo>
                    <a:pt x="8" y="211"/>
                  </a:lnTo>
                  <a:lnTo>
                    <a:pt x="7" y="213"/>
                  </a:lnTo>
                  <a:lnTo>
                    <a:pt x="4" y="215"/>
                  </a:lnTo>
                  <a:lnTo>
                    <a:pt x="4" y="217"/>
                  </a:lnTo>
                  <a:lnTo>
                    <a:pt x="1" y="217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1" y="218"/>
                  </a:lnTo>
                  <a:lnTo>
                    <a:pt x="2" y="221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2"/>
                  </a:lnTo>
                  <a:lnTo>
                    <a:pt x="1" y="221"/>
                  </a:lnTo>
                  <a:lnTo>
                    <a:pt x="0" y="222"/>
                  </a:lnTo>
                  <a:lnTo>
                    <a:pt x="1" y="225"/>
                  </a:lnTo>
                  <a:lnTo>
                    <a:pt x="2" y="225"/>
                  </a:lnTo>
                  <a:lnTo>
                    <a:pt x="2" y="226"/>
                  </a:lnTo>
                  <a:lnTo>
                    <a:pt x="2" y="227"/>
                  </a:lnTo>
                  <a:lnTo>
                    <a:pt x="2" y="227"/>
                  </a:lnTo>
                  <a:lnTo>
                    <a:pt x="4" y="226"/>
                  </a:lnTo>
                  <a:lnTo>
                    <a:pt x="5" y="225"/>
                  </a:lnTo>
                  <a:lnTo>
                    <a:pt x="7" y="226"/>
                  </a:lnTo>
                  <a:lnTo>
                    <a:pt x="7" y="226"/>
                  </a:lnTo>
                  <a:lnTo>
                    <a:pt x="7" y="227"/>
                  </a:lnTo>
                  <a:lnTo>
                    <a:pt x="9" y="226"/>
                  </a:lnTo>
                  <a:lnTo>
                    <a:pt x="8" y="225"/>
                  </a:lnTo>
                  <a:lnTo>
                    <a:pt x="7" y="223"/>
                  </a:lnTo>
                  <a:lnTo>
                    <a:pt x="5" y="223"/>
                  </a:lnTo>
                  <a:lnTo>
                    <a:pt x="5" y="223"/>
                  </a:lnTo>
                  <a:lnTo>
                    <a:pt x="5" y="222"/>
                  </a:lnTo>
                  <a:lnTo>
                    <a:pt x="5" y="221"/>
                  </a:lnTo>
                  <a:lnTo>
                    <a:pt x="7" y="219"/>
                  </a:lnTo>
                  <a:lnTo>
                    <a:pt x="8" y="219"/>
                  </a:lnTo>
                  <a:lnTo>
                    <a:pt x="11" y="223"/>
                  </a:lnTo>
                  <a:lnTo>
                    <a:pt x="11" y="226"/>
                  </a:lnTo>
                  <a:lnTo>
                    <a:pt x="12" y="227"/>
                  </a:lnTo>
                  <a:lnTo>
                    <a:pt x="12" y="232"/>
                  </a:lnTo>
                  <a:lnTo>
                    <a:pt x="9" y="234"/>
                  </a:lnTo>
                  <a:lnTo>
                    <a:pt x="8" y="234"/>
                  </a:lnTo>
                  <a:lnTo>
                    <a:pt x="8" y="236"/>
                  </a:lnTo>
                  <a:lnTo>
                    <a:pt x="11" y="240"/>
                  </a:lnTo>
                  <a:lnTo>
                    <a:pt x="11" y="244"/>
                  </a:lnTo>
                  <a:lnTo>
                    <a:pt x="13" y="245"/>
                  </a:lnTo>
                  <a:lnTo>
                    <a:pt x="13" y="248"/>
                  </a:lnTo>
                  <a:lnTo>
                    <a:pt x="12" y="249"/>
                  </a:lnTo>
                  <a:lnTo>
                    <a:pt x="13" y="251"/>
                  </a:lnTo>
                  <a:lnTo>
                    <a:pt x="15" y="251"/>
                  </a:lnTo>
                  <a:lnTo>
                    <a:pt x="17" y="252"/>
                  </a:lnTo>
                  <a:lnTo>
                    <a:pt x="17" y="251"/>
                  </a:lnTo>
                  <a:lnTo>
                    <a:pt x="17" y="249"/>
                  </a:lnTo>
                  <a:lnTo>
                    <a:pt x="16" y="247"/>
                  </a:lnTo>
                  <a:lnTo>
                    <a:pt x="16" y="242"/>
                  </a:lnTo>
                  <a:lnTo>
                    <a:pt x="17" y="241"/>
                  </a:lnTo>
                  <a:lnTo>
                    <a:pt x="17" y="242"/>
                  </a:lnTo>
                  <a:lnTo>
                    <a:pt x="17" y="244"/>
                  </a:lnTo>
                  <a:lnTo>
                    <a:pt x="17" y="245"/>
                  </a:lnTo>
                  <a:lnTo>
                    <a:pt x="19" y="247"/>
                  </a:lnTo>
                  <a:lnTo>
                    <a:pt x="20" y="249"/>
                  </a:lnTo>
                  <a:lnTo>
                    <a:pt x="19" y="252"/>
                  </a:lnTo>
                  <a:lnTo>
                    <a:pt x="20" y="25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09" name="Freeform 9"/>
            <p:cNvSpPr>
              <a:spLocks/>
            </p:cNvSpPr>
            <p:nvPr/>
          </p:nvSpPr>
          <p:spPr bwMode="auto">
            <a:xfrm>
              <a:off x="3392" y="1476"/>
              <a:ext cx="48" cy="68"/>
            </a:xfrm>
            <a:custGeom>
              <a:avLst/>
              <a:gdLst>
                <a:gd name="T0" fmla="*/ 0 w 48"/>
                <a:gd name="T1" fmla="*/ 15 h 68"/>
                <a:gd name="T2" fmla="*/ 6 w 48"/>
                <a:gd name="T3" fmla="*/ 14 h 68"/>
                <a:gd name="T4" fmla="*/ 8 w 48"/>
                <a:gd name="T5" fmla="*/ 18 h 68"/>
                <a:gd name="T6" fmla="*/ 13 w 48"/>
                <a:gd name="T7" fmla="*/ 23 h 68"/>
                <a:gd name="T8" fmla="*/ 14 w 48"/>
                <a:gd name="T9" fmla="*/ 26 h 68"/>
                <a:gd name="T10" fmla="*/ 11 w 48"/>
                <a:gd name="T11" fmla="*/ 27 h 68"/>
                <a:gd name="T12" fmla="*/ 10 w 48"/>
                <a:gd name="T13" fmla="*/ 29 h 68"/>
                <a:gd name="T14" fmla="*/ 6 w 48"/>
                <a:gd name="T15" fmla="*/ 31 h 68"/>
                <a:gd name="T16" fmla="*/ 11 w 48"/>
                <a:gd name="T17" fmla="*/ 33 h 68"/>
                <a:gd name="T18" fmla="*/ 13 w 48"/>
                <a:gd name="T19" fmla="*/ 41 h 68"/>
                <a:gd name="T20" fmla="*/ 15 w 48"/>
                <a:gd name="T21" fmla="*/ 41 h 68"/>
                <a:gd name="T22" fmla="*/ 14 w 48"/>
                <a:gd name="T23" fmla="*/ 48 h 68"/>
                <a:gd name="T24" fmla="*/ 15 w 48"/>
                <a:gd name="T25" fmla="*/ 49 h 68"/>
                <a:gd name="T26" fmla="*/ 14 w 48"/>
                <a:gd name="T27" fmla="*/ 52 h 68"/>
                <a:gd name="T28" fmla="*/ 15 w 48"/>
                <a:gd name="T29" fmla="*/ 57 h 68"/>
                <a:gd name="T30" fmla="*/ 17 w 48"/>
                <a:gd name="T31" fmla="*/ 63 h 68"/>
                <a:gd name="T32" fmla="*/ 18 w 48"/>
                <a:gd name="T33" fmla="*/ 65 h 68"/>
                <a:gd name="T34" fmla="*/ 19 w 48"/>
                <a:gd name="T35" fmla="*/ 68 h 68"/>
                <a:gd name="T36" fmla="*/ 21 w 48"/>
                <a:gd name="T37" fmla="*/ 64 h 68"/>
                <a:gd name="T38" fmla="*/ 23 w 48"/>
                <a:gd name="T39" fmla="*/ 63 h 68"/>
                <a:gd name="T40" fmla="*/ 32 w 48"/>
                <a:gd name="T41" fmla="*/ 57 h 68"/>
                <a:gd name="T42" fmla="*/ 33 w 48"/>
                <a:gd name="T43" fmla="*/ 57 h 68"/>
                <a:gd name="T44" fmla="*/ 36 w 48"/>
                <a:gd name="T45" fmla="*/ 60 h 68"/>
                <a:gd name="T46" fmla="*/ 38 w 48"/>
                <a:gd name="T47" fmla="*/ 60 h 68"/>
                <a:gd name="T48" fmla="*/ 38 w 48"/>
                <a:gd name="T49" fmla="*/ 57 h 68"/>
                <a:gd name="T50" fmla="*/ 44 w 48"/>
                <a:gd name="T51" fmla="*/ 56 h 68"/>
                <a:gd name="T52" fmla="*/ 46 w 48"/>
                <a:gd name="T53" fmla="*/ 50 h 68"/>
                <a:gd name="T54" fmla="*/ 48 w 48"/>
                <a:gd name="T55" fmla="*/ 39 h 68"/>
                <a:gd name="T56" fmla="*/ 46 w 48"/>
                <a:gd name="T57" fmla="*/ 41 h 68"/>
                <a:gd name="T58" fmla="*/ 45 w 48"/>
                <a:gd name="T59" fmla="*/ 30 h 68"/>
                <a:gd name="T60" fmla="*/ 42 w 48"/>
                <a:gd name="T61" fmla="*/ 23 h 68"/>
                <a:gd name="T62" fmla="*/ 29 w 48"/>
                <a:gd name="T63" fmla="*/ 8 h 68"/>
                <a:gd name="T64" fmla="*/ 21 w 48"/>
                <a:gd name="T65" fmla="*/ 3 h 68"/>
                <a:gd name="T66" fmla="*/ 8 w 48"/>
                <a:gd name="T67" fmla="*/ 7 h 68"/>
                <a:gd name="T68" fmla="*/ 0 w 48"/>
                <a:gd name="T69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" h="68">
                  <a:moveTo>
                    <a:pt x="0" y="14"/>
                  </a:moveTo>
                  <a:lnTo>
                    <a:pt x="0" y="15"/>
                  </a:lnTo>
                  <a:lnTo>
                    <a:pt x="2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8" y="18"/>
                  </a:lnTo>
                  <a:lnTo>
                    <a:pt x="11" y="22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4" y="26"/>
                  </a:lnTo>
                  <a:lnTo>
                    <a:pt x="15" y="29"/>
                  </a:lnTo>
                  <a:lnTo>
                    <a:pt x="11" y="27"/>
                  </a:lnTo>
                  <a:lnTo>
                    <a:pt x="10" y="26"/>
                  </a:lnTo>
                  <a:lnTo>
                    <a:pt x="10" y="29"/>
                  </a:lnTo>
                  <a:lnTo>
                    <a:pt x="7" y="27"/>
                  </a:lnTo>
                  <a:lnTo>
                    <a:pt x="6" y="31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3" y="35"/>
                  </a:lnTo>
                  <a:lnTo>
                    <a:pt x="13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8" y="45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5" y="49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7" y="63"/>
                  </a:lnTo>
                  <a:lnTo>
                    <a:pt x="18" y="63"/>
                  </a:lnTo>
                  <a:lnTo>
                    <a:pt x="18" y="65"/>
                  </a:lnTo>
                  <a:lnTo>
                    <a:pt x="19" y="65"/>
                  </a:lnTo>
                  <a:lnTo>
                    <a:pt x="19" y="68"/>
                  </a:lnTo>
                  <a:lnTo>
                    <a:pt x="21" y="67"/>
                  </a:lnTo>
                  <a:lnTo>
                    <a:pt x="21" y="64"/>
                  </a:lnTo>
                  <a:lnTo>
                    <a:pt x="22" y="65"/>
                  </a:lnTo>
                  <a:lnTo>
                    <a:pt x="23" y="63"/>
                  </a:lnTo>
                  <a:lnTo>
                    <a:pt x="29" y="59"/>
                  </a:lnTo>
                  <a:lnTo>
                    <a:pt x="32" y="57"/>
                  </a:lnTo>
                  <a:lnTo>
                    <a:pt x="32" y="59"/>
                  </a:lnTo>
                  <a:lnTo>
                    <a:pt x="33" y="57"/>
                  </a:lnTo>
                  <a:lnTo>
                    <a:pt x="34" y="57"/>
                  </a:lnTo>
                  <a:lnTo>
                    <a:pt x="36" y="60"/>
                  </a:lnTo>
                  <a:lnTo>
                    <a:pt x="38" y="59"/>
                  </a:lnTo>
                  <a:lnTo>
                    <a:pt x="38" y="60"/>
                  </a:lnTo>
                  <a:lnTo>
                    <a:pt x="40" y="59"/>
                  </a:lnTo>
                  <a:lnTo>
                    <a:pt x="38" y="57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8" y="52"/>
                  </a:lnTo>
                  <a:lnTo>
                    <a:pt x="46" y="50"/>
                  </a:lnTo>
                  <a:lnTo>
                    <a:pt x="48" y="49"/>
                  </a:lnTo>
                  <a:lnTo>
                    <a:pt x="48" y="39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8"/>
                  </a:lnTo>
                  <a:lnTo>
                    <a:pt x="45" y="30"/>
                  </a:lnTo>
                  <a:lnTo>
                    <a:pt x="42" y="29"/>
                  </a:lnTo>
                  <a:lnTo>
                    <a:pt x="42" y="23"/>
                  </a:lnTo>
                  <a:lnTo>
                    <a:pt x="36" y="14"/>
                  </a:lnTo>
                  <a:lnTo>
                    <a:pt x="29" y="8"/>
                  </a:lnTo>
                  <a:lnTo>
                    <a:pt x="25" y="0"/>
                  </a:lnTo>
                  <a:lnTo>
                    <a:pt x="21" y="3"/>
                  </a:lnTo>
                  <a:lnTo>
                    <a:pt x="13" y="3"/>
                  </a:lnTo>
                  <a:lnTo>
                    <a:pt x="8" y="7"/>
                  </a:lnTo>
                  <a:lnTo>
                    <a:pt x="4" y="8"/>
                  </a:lnTo>
                  <a:lnTo>
                    <a:pt x="0" y="12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0" name="Freeform 10"/>
            <p:cNvSpPr>
              <a:spLocks/>
            </p:cNvSpPr>
            <p:nvPr/>
          </p:nvSpPr>
          <p:spPr bwMode="auto">
            <a:xfrm>
              <a:off x="3368" y="1397"/>
              <a:ext cx="56" cy="97"/>
            </a:xfrm>
            <a:custGeom>
              <a:avLst/>
              <a:gdLst>
                <a:gd name="T0" fmla="*/ 0 w 56"/>
                <a:gd name="T1" fmla="*/ 55 h 97"/>
                <a:gd name="T2" fmla="*/ 4 w 56"/>
                <a:gd name="T3" fmla="*/ 48 h 97"/>
                <a:gd name="T4" fmla="*/ 8 w 56"/>
                <a:gd name="T5" fmla="*/ 44 h 97"/>
                <a:gd name="T6" fmla="*/ 12 w 56"/>
                <a:gd name="T7" fmla="*/ 40 h 97"/>
                <a:gd name="T8" fmla="*/ 15 w 56"/>
                <a:gd name="T9" fmla="*/ 31 h 97"/>
                <a:gd name="T10" fmla="*/ 15 w 56"/>
                <a:gd name="T11" fmla="*/ 26 h 97"/>
                <a:gd name="T12" fmla="*/ 19 w 56"/>
                <a:gd name="T13" fmla="*/ 27 h 97"/>
                <a:gd name="T14" fmla="*/ 23 w 56"/>
                <a:gd name="T15" fmla="*/ 30 h 97"/>
                <a:gd name="T16" fmla="*/ 27 w 56"/>
                <a:gd name="T17" fmla="*/ 30 h 97"/>
                <a:gd name="T18" fmla="*/ 35 w 56"/>
                <a:gd name="T19" fmla="*/ 30 h 97"/>
                <a:gd name="T20" fmla="*/ 37 w 56"/>
                <a:gd name="T21" fmla="*/ 25 h 97"/>
                <a:gd name="T22" fmla="*/ 31 w 56"/>
                <a:gd name="T23" fmla="*/ 21 h 97"/>
                <a:gd name="T24" fmla="*/ 35 w 56"/>
                <a:gd name="T25" fmla="*/ 19 h 97"/>
                <a:gd name="T26" fmla="*/ 41 w 56"/>
                <a:gd name="T27" fmla="*/ 12 h 97"/>
                <a:gd name="T28" fmla="*/ 45 w 56"/>
                <a:gd name="T29" fmla="*/ 10 h 97"/>
                <a:gd name="T30" fmla="*/ 45 w 56"/>
                <a:gd name="T31" fmla="*/ 6 h 97"/>
                <a:gd name="T32" fmla="*/ 45 w 56"/>
                <a:gd name="T33" fmla="*/ 2 h 97"/>
                <a:gd name="T34" fmla="*/ 49 w 56"/>
                <a:gd name="T35" fmla="*/ 3 h 97"/>
                <a:gd name="T36" fmla="*/ 49 w 56"/>
                <a:gd name="T37" fmla="*/ 6 h 97"/>
                <a:gd name="T38" fmla="*/ 56 w 56"/>
                <a:gd name="T39" fmla="*/ 10 h 97"/>
                <a:gd name="T40" fmla="*/ 51 w 56"/>
                <a:gd name="T41" fmla="*/ 15 h 97"/>
                <a:gd name="T42" fmla="*/ 50 w 56"/>
                <a:gd name="T43" fmla="*/ 17 h 97"/>
                <a:gd name="T44" fmla="*/ 49 w 56"/>
                <a:gd name="T45" fmla="*/ 26 h 97"/>
                <a:gd name="T46" fmla="*/ 51 w 56"/>
                <a:gd name="T47" fmla="*/ 34 h 97"/>
                <a:gd name="T48" fmla="*/ 51 w 56"/>
                <a:gd name="T49" fmla="*/ 38 h 97"/>
                <a:gd name="T50" fmla="*/ 49 w 56"/>
                <a:gd name="T51" fmla="*/ 42 h 97"/>
                <a:gd name="T52" fmla="*/ 45 w 56"/>
                <a:gd name="T53" fmla="*/ 49 h 97"/>
                <a:gd name="T54" fmla="*/ 42 w 56"/>
                <a:gd name="T55" fmla="*/ 53 h 97"/>
                <a:gd name="T56" fmla="*/ 38 w 56"/>
                <a:gd name="T57" fmla="*/ 55 h 97"/>
                <a:gd name="T58" fmla="*/ 34 w 56"/>
                <a:gd name="T59" fmla="*/ 59 h 97"/>
                <a:gd name="T60" fmla="*/ 34 w 56"/>
                <a:gd name="T61" fmla="*/ 64 h 97"/>
                <a:gd name="T62" fmla="*/ 34 w 56"/>
                <a:gd name="T63" fmla="*/ 68 h 97"/>
                <a:gd name="T64" fmla="*/ 39 w 56"/>
                <a:gd name="T65" fmla="*/ 71 h 97"/>
                <a:gd name="T66" fmla="*/ 49 w 56"/>
                <a:gd name="T67" fmla="*/ 79 h 97"/>
                <a:gd name="T68" fmla="*/ 37 w 56"/>
                <a:gd name="T69" fmla="*/ 82 h 97"/>
                <a:gd name="T70" fmla="*/ 28 w 56"/>
                <a:gd name="T71" fmla="*/ 87 h 97"/>
                <a:gd name="T72" fmla="*/ 24 w 56"/>
                <a:gd name="T73" fmla="*/ 93 h 97"/>
                <a:gd name="T74" fmla="*/ 20 w 56"/>
                <a:gd name="T75" fmla="*/ 91 h 97"/>
                <a:gd name="T76" fmla="*/ 19 w 56"/>
                <a:gd name="T77" fmla="*/ 95 h 97"/>
                <a:gd name="T78" fmla="*/ 15 w 56"/>
                <a:gd name="T79" fmla="*/ 97 h 97"/>
                <a:gd name="T80" fmla="*/ 16 w 56"/>
                <a:gd name="T81" fmla="*/ 91 h 97"/>
                <a:gd name="T82" fmla="*/ 11 w 56"/>
                <a:gd name="T83" fmla="*/ 91 h 97"/>
                <a:gd name="T84" fmla="*/ 11 w 56"/>
                <a:gd name="T85" fmla="*/ 89 h 97"/>
                <a:gd name="T86" fmla="*/ 12 w 56"/>
                <a:gd name="T87" fmla="*/ 80 h 97"/>
                <a:gd name="T88" fmla="*/ 17 w 56"/>
                <a:gd name="T89" fmla="*/ 79 h 97"/>
                <a:gd name="T90" fmla="*/ 11 w 56"/>
                <a:gd name="T91" fmla="*/ 79 h 97"/>
                <a:gd name="T92" fmla="*/ 11 w 56"/>
                <a:gd name="T93" fmla="*/ 74 h 97"/>
                <a:gd name="T94" fmla="*/ 12 w 56"/>
                <a:gd name="T95" fmla="*/ 67 h 97"/>
                <a:gd name="T96" fmla="*/ 13 w 56"/>
                <a:gd name="T97" fmla="*/ 63 h 97"/>
                <a:gd name="T98" fmla="*/ 11 w 56"/>
                <a:gd name="T99" fmla="*/ 65 h 97"/>
                <a:gd name="T100" fmla="*/ 7 w 56"/>
                <a:gd name="T101" fmla="*/ 64 h 97"/>
                <a:gd name="T102" fmla="*/ 4 w 56"/>
                <a:gd name="T103" fmla="*/ 64 h 97"/>
                <a:gd name="T104" fmla="*/ 1 w 56"/>
                <a:gd name="T105" fmla="*/ 61 h 97"/>
                <a:gd name="T106" fmla="*/ 0 w 56"/>
                <a:gd name="T107" fmla="*/ 6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6" h="97">
                  <a:moveTo>
                    <a:pt x="0" y="60"/>
                  </a:moveTo>
                  <a:lnTo>
                    <a:pt x="0" y="55"/>
                  </a:lnTo>
                  <a:lnTo>
                    <a:pt x="3" y="52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9" y="41"/>
                  </a:lnTo>
                  <a:lnTo>
                    <a:pt x="12" y="40"/>
                  </a:lnTo>
                  <a:lnTo>
                    <a:pt x="13" y="34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5" y="26"/>
                  </a:lnTo>
                  <a:lnTo>
                    <a:pt x="16" y="23"/>
                  </a:lnTo>
                  <a:lnTo>
                    <a:pt x="19" y="27"/>
                  </a:lnTo>
                  <a:lnTo>
                    <a:pt x="20" y="29"/>
                  </a:lnTo>
                  <a:lnTo>
                    <a:pt x="23" y="30"/>
                  </a:lnTo>
                  <a:lnTo>
                    <a:pt x="24" y="29"/>
                  </a:lnTo>
                  <a:lnTo>
                    <a:pt x="27" y="30"/>
                  </a:lnTo>
                  <a:lnTo>
                    <a:pt x="31" y="30"/>
                  </a:lnTo>
                  <a:lnTo>
                    <a:pt x="35" y="30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4" y="22"/>
                  </a:lnTo>
                  <a:lnTo>
                    <a:pt x="31" y="21"/>
                  </a:lnTo>
                  <a:lnTo>
                    <a:pt x="32" y="19"/>
                  </a:lnTo>
                  <a:lnTo>
                    <a:pt x="35" y="19"/>
                  </a:lnTo>
                  <a:lnTo>
                    <a:pt x="41" y="15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5" y="6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6" y="0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6"/>
                  </a:lnTo>
                  <a:lnTo>
                    <a:pt x="53" y="7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1" y="15"/>
                  </a:lnTo>
                  <a:lnTo>
                    <a:pt x="50" y="14"/>
                  </a:lnTo>
                  <a:lnTo>
                    <a:pt x="50" y="17"/>
                  </a:lnTo>
                  <a:lnTo>
                    <a:pt x="49" y="23"/>
                  </a:lnTo>
                  <a:lnTo>
                    <a:pt x="49" y="26"/>
                  </a:lnTo>
                  <a:lnTo>
                    <a:pt x="50" y="29"/>
                  </a:lnTo>
                  <a:lnTo>
                    <a:pt x="51" y="34"/>
                  </a:lnTo>
                  <a:lnTo>
                    <a:pt x="53" y="36"/>
                  </a:lnTo>
                  <a:lnTo>
                    <a:pt x="51" y="38"/>
                  </a:lnTo>
                  <a:lnTo>
                    <a:pt x="49" y="41"/>
                  </a:lnTo>
                  <a:lnTo>
                    <a:pt x="49" y="42"/>
                  </a:lnTo>
                  <a:lnTo>
                    <a:pt x="43" y="48"/>
                  </a:lnTo>
                  <a:lnTo>
                    <a:pt x="45" y="49"/>
                  </a:lnTo>
                  <a:lnTo>
                    <a:pt x="42" y="52"/>
                  </a:lnTo>
                  <a:lnTo>
                    <a:pt x="42" y="53"/>
                  </a:lnTo>
                  <a:lnTo>
                    <a:pt x="39" y="52"/>
                  </a:lnTo>
                  <a:lnTo>
                    <a:pt x="38" y="55"/>
                  </a:lnTo>
                  <a:lnTo>
                    <a:pt x="37" y="56"/>
                  </a:lnTo>
                  <a:lnTo>
                    <a:pt x="34" y="59"/>
                  </a:lnTo>
                  <a:lnTo>
                    <a:pt x="34" y="61"/>
                  </a:lnTo>
                  <a:lnTo>
                    <a:pt x="34" y="64"/>
                  </a:lnTo>
                  <a:lnTo>
                    <a:pt x="32" y="65"/>
                  </a:lnTo>
                  <a:lnTo>
                    <a:pt x="34" y="68"/>
                  </a:lnTo>
                  <a:lnTo>
                    <a:pt x="38" y="70"/>
                  </a:lnTo>
                  <a:lnTo>
                    <a:pt x="39" y="71"/>
                  </a:lnTo>
                  <a:lnTo>
                    <a:pt x="47" y="76"/>
                  </a:lnTo>
                  <a:lnTo>
                    <a:pt x="49" y="79"/>
                  </a:lnTo>
                  <a:lnTo>
                    <a:pt x="45" y="82"/>
                  </a:lnTo>
                  <a:lnTo>
                    <a:pt x="37" y="82"/>
                  </a:lnTo>
                  <a:lnTo>
                    <a:pt x="32" y="86"/>
                  </a:lnTo>
                  <a:lnTo>
                    <a:pt x="28" y="87"/>
                  </a:lnTo>
                  <a:lnTo>
                    <a:pt x="24" y="91"/>
                  </a:lnTo>
                  <a:lnTo>
                    <a:pt x="24" y="93"/>
                  </a:lnTo>
                  <a:lnTo>
                    <a:pt x="22" y="90"/>
                  </a:lnTo>
                  <a:lnTo>
                    <a:pt x="20" y="91"/>
                  </a:lnTo>
                  <a:lnTo>
                    <a:pt x="20" y="93"/>
                  </a:lnTo>
                  <a:lnTo>
                    <a:pt x="19" y="95"/>
                  </a:lnTo>
                  <a:lnTo>
                    <a:pt x="17" y="94"/>
                  </a:lnTo>
                  <a:lnTo>
                    <a:pt x="15" y="97"/>
                  </a:lnTo>
                  <a:lnTo>
                    <a:pt x="13" y="95"/>
                  </a:lnTo>
                  <a:lnTo>
                    <a:pt x="16" y="91"/>
                  </a:lnTo>
                  <a:lnTo>
                    <a:pt x="13" y="90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89"/>
                  </a:lnTo>
                  <a:lnTo>
                    <a:pt x="11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7" y="79"/>
                  </a:lnTo>
                  <a:lnTo>
                    <a:pt x="16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4"/>
                  </a:lnTo>
                  <a:lnTo>
                    <a:pt x="13" y="68"/>
                  </a:lnTo>
                  <a:lnTo>
                    <a:pt x="12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2" y="63"/>
                  </a:lnTo>
                  <a:lnTo>
                    <a:pt x="11" y="65"/>
                  </a:lnTo>
                  <a:lnTo>
                    <a:pt x="8" y="65"/>
                  </a:lnTo>
                  <a:lnTo>
                    <a:pt x="7" y="64"/>
                  </a:lnTo>
                  <a:lnTo>
                    <a:pt x="4" y="63"/>
                  </a:lnTo>
                  <a:lnTo>
                    <a:pt x="4" y="64"/>
                  </a:lnTo>
                  <a:lnTo>
                    <a:pt x="1" y="65"/>
                  </a:lnTo>
                  <a:lnTo>
                    <a:pt x="1" y="61"/>
                  </a:lnTo>
                  <a:lnTo>
                    <a:pt x="0" y="61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1" name="Freeform 11"/>
            <p:cNvSpPr>
              <a:spLocks/>
            </p:cNvSpPr>
            <p:nvPr/>
          </p:nvSpPr>
          <p:spPr bwMode="auto">
            <a:xfrm>
              <a:off x="2916" y="1274"/>
              <a:ext cx="362" cy="169"/>
            </a:xfrm>
            <a:custGeom>
              <a:avLst/>
              <a:gdLst>
                <a:gd name="T0" fmla="*/ 13 w 362"/>
                <a:gd name="T1" fmla="*/ 51 h 169"/>
                <a:gd name="T2" fmla="*/ 22 w 362"/>
                <a:gd name="T3" fmla="*/ 40 h 169"/>
                <a:gd name="T4" fmla="*/ 26 w 362"/>
                <a:gd name="T5" fmla="*/ 33 h 169"/>
                <a:gd name="T6" fmla="*/ 41 w 362"/>
                <a:gd name="T7" fmla="*/ 28 h 169"/>
                <a:gd name="T8" fmla="*/ 51 w 362"/>
                <a:gd name="T9" fmla="*/ 31 h 169"/>
                <a:gd name="T10" fmla="*/ 63 w 362"/>
                <a:gd name="T11" fmla="*/ 31 h 169"/>
                <a:gd name="T12" fmla="*/ 76 w 362"/>
                <a:gd name="T13" fmla="*/ 43 h 169"/>
                <a:gd name="T14" fmla="*/ 90 w 362"/>
                <a:gd name="T15" fmla="*/ 40 h 169"/>
                <a:gd name="T16" fmla="*/ 104 w 362"/>
                <a:gd name="T17" fmla="*/ 40 h 169"/>
                <a:gd name="T18" fmla="*/ 106 w 362"/>
                <a:gd name="T19" fmla="*/ 27 h 169"/>
                <a:gd name="T20" fmla="*/ 98 w 362"/>
                <a:gd name="T21" fmla="*/ 13 h 169"/>
                <a:gd name="T22" fmla="*/ 106 w 362"/>
                <a:gd name="T23" fmla="*/ 5 h 169"/>
                <a:gd name="T24" fmla="*/ 115 w 362"/>
                <a:gd name="T25" fmla="*/ 1 h 169"/>
                <a:gd name="T26" fmla="*/ 130 w 362"/>
                <a:gd name="T27" fmla="*/ 6 h 169"/>
                <a:gd name="T28" fmla="*/ 143 w 362"/>
                <a:gd name="T29" fmla="*/ 9 h 169"/>
                <a:gd name="T30" fmla="*/ 149 w 362"/>
                <a:gd name="T31" fmla="*/ 20 h 169"/>
                <a:gd name="T32" fmla="*/ 157 w 362"/>
                <a:gd name="T33" fmla="*/ 27 h 169"/>
                <a:gd name="T34" fmla="*/ 170 w 362"/>
                <a:gd name="T35" fmla="*/ 28 h 169"/>
                <a:gd name="T36" fmla="*/ 185 w 362"/>
                <a:gd name="T37" fmla="*/ 23 h 169"/>
                <a:gd name="T38" fmla="*/ 204 w 362"/>
                <a:gd name="T39" fmla="*/ 27 h 169"/>
                <a:gd name="T40" fmla="*/ 219 w 362"/>
                <a:gd name="T41" fmla="*/ 33 h 169"/>
                <a:gd name="T42" fmla="*/ 236 w 362"/>
                <a:gd name="T43" fmla="*/ 39 h 169"/>
                <a:gd name="T44" fmla="*/ 253 w 362"/>
                <a:gd name="T45" fmla="*/ 38 h 169"/>
                <a:gd name="T46" fmla="*/ 271 w 362"/>
                <a:gd name="T47" fmla="*/ 31 h 169"/>
                <a:gd name="T48" fmla="*/ 280 w 362"/>
                <a:gd name="T49" fmla="*/ 20 h 169"/>
                <a:gd name="T50" fmla="*/ 291 w 362"/>
                <a:gd name="T51" fmla="*/ 16 h 169"/>
                <a:gd name="T52" fmla="*/ 302 w 362"/>
                <a:gd name="T53" fmla="*/ 20 h 169"/>
                <a:gd name="T54" fmla="*/ 312 w 362"/>
                <a:gd name="T55" fmla="*/ 38 h 169"/>
                <a:gd name="T56" fmla="*/ 319 w 362"/>
                <a:gd name="T57" fmla="*/ 58 h 169"/>
                <a:gd name="T58" fmla="*/ 336 w 362"/>
                <a:gd name="T59" fmla="*/ 51 h 169"/>
                <a:gd name="T60" fmla="*/ 354 w 362"/>
                <a:gd name="T61" fmla="*/ 57 h 169"/>
                <a:gd name="T62" fmla="*/ 361 w 362"/>
                <a:gd name="T63" fmla="*/ 70 h 169"/>
                <a:gd name="T64" fmla="*/ 354 w 362"/>
                <a:gd name="T65" fmla="*/ 73 h 169"/>
                <a:gd name="T66" fmla="*/ 339 w 362"/>
                <a:gd name="T67" fmla="*/ 77 h 169"/>
                <a:gd name="T68" fmla="*/ 333 w 362"/>
                <a:gd name="T69" fmla="*/ 82 h 169"/>
                <a:gd name="T70" fmla="*/ 323 w 362"/>
                <a:gd name="T71" fmla="*/ 97 h 169"/>
                <a:gd name="T72" fmla="*/ 308 w 362"/>
                <a:gd name="T73" fmla="*/ 106 h 169"/>
                <a:gd name="T74" fmla="*/ 295 w 362"/>
                <a:gd name="T75" fmla="*/ 107 h 169"/>
                <a:gd name="T76" fmla="*/ 280 w 362"/>
                <a:gd name="T77" fmla="*/ 115 h 169"/>
                <a:gd name="T78" fmla="*/ 290 w 362"/>
                <a:gd name="T79" fmla="*/ 130 h 169"/>
                <a:gd name="T80" fmla="*/ 272 w 362"/>
                <a:gd name="T81" fmla="*/ 148 h 169"/>
                <a:gd name="T82" fmla="*/ 252 w 362"/>
                <a:gd name="T83" fmla="*/ 154 h 169"/>
                <a:gd name="T84" fmla="*/ 223 w 362"/>
                <a:gd name="T85" fmla="*/ 169 h 169"/>
                <a:gd name="T86" fmla="*/ 207 w 362"/>
                <a:gd name="T87" fmla="*/ 168 h 169"/>
                <a:gd name="T88" fmla="*/ 178 w 362"/>
                <a:gd name="T89" fmla="*/ 156 h 169"/>
                <a:gd name="T90" fmla="*/ 155 w 362"/>
                <a:gd name="T91" fmla="*/ 157 h 169"/>
                <a:gd name="T92" fmla="*/ 120 w 362"/>
                <a:gd name="T93" fmla="*/ 159 h 169"/>
                <a:gd name="T94" fmla="*/ 109 w 362"/>
                <a:gd name="T95" fmla="*/ 141 h 169"/>
                <a:gd name="T96" fmla="*/ 102 w 362"/>
                <a:gd name="T97" fmla="*/ 133 h 169"/>
                <a:gd name="T98" fmla="*/ 89 w 362"/>
                <a:gd name="T99" fmla="*/ 127 h 169"/>
                <a:gd name="T100" fmla="*/ 72 w 362"/>
                <a:gd name="T101" fmla="*/ 122 h 169"/>
                <a:gd name="T102" fmla="*/ 47 w 362"/>
                <a:gd name="T103" fmla="*/ 115 h 169"/>
                <a:gd name="T104" fmla="*/ 48 w 362"/>
                <a:gd name="T105" fmla="*/ 106 h 169"/>
                <a:gd name="T106" fmla="*/ 44 w 362"/>
                <a:gd name="T107" fmla="*/ 95 h 169"/>
                <a:gd name="T108" fmla="*/ 37 w 362"/>
                <a:gd name="T109" fmla="*/ 82 h 169"/>
                <a:gd name="T110" fmla="*/ 29 w 362"/>
                <a:gd name="T111" fmla="*/ 80 h 169"/>
                <a:gd name="T112" fmla="*/ 19 w 362"/>
                <a:gd name="T113" fmla="*/ 78 h 169"/>
                <a:gd name="T114" fmla="*/ 14 w 362"/>
                <a:gd name="T115" fmla="*/ 77 h 169"/>
                <a:gd name="T116" fmla="*/ 4 w 362"/>
                <a:gd name="T117" fmla="*/ 67 h 169"/>
                <a:gd name="T118" fmla="*/ 2 w 362"/>
                <a:gd name="T119" fmla="*/ 6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2" h="169">
                  <a:moveTo>
                    <a:pt x="0" y="61"/>
                  </a:moveTo>
                  <a:lnTo>
                    <a:pt x="3" y="55"/>
                  </a:lnTo>
                  <a:lnTo>
                    <a:pt x="4" y="55"/>
                  </a:lnTo>
                  <a:lnTo>
                    <a:pt x="10" y="55"/>
                  </a:lnTo>
                  <a:lnTo>
                    <a:pt x="11" y="54"/>
                  </a:lnTo>
                  <a:lnTo>
                    <a:pt x="13" y="51"/>
                  </a:lnTo>
                  <a:lnTo>
                    <a:pt x="17" y="50"/>
                  </a:lnTo>
                  <a:lnTo>
                    <a:pt x="17" y="48"/>
                  </a:lnTo>
                  <a:lnTo>
                    <a:pt x="18" y="46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2" y="40"/>
                  </a:lnTo>
                  <a:lnTo>
                    <a:pt x="25" y="40"/>
                  </a:lnTo>
                  <a:lnTo>
                    <a:pt x="26" y="38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6" y="35"/>
                  </a:lnTo>
                  <a:lnTo>
                    <a:pt x="26" y="33"/>
                  </a:lnTo>
                  <a:lnTo>
                    <a:pt x="30" y="35"/>
                  </a:lnTo>
                  <a:lnTo>
                    <a:pt x="32" y="33"/>
                  </a:lnTo>
                  <a:lnTo>
                    <a:pt x="33" y="31"/>
                  </a:lnTo>
                  <a:lnTo>
                    <a:pt x="36" y="29"/>
                  </a:lnTo>
                  <a:lnTo>
                    <a:pt x="40" y="29"/>
                  </a:lnTo>
                  <a:lnTo>
                    <a:pt x="41" y="28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51" y="29"/>
                  </a:lnTo>
                  <a:lnTo>
                    <a:pt x="51" y="31"/>
                  </a:lnTo>
                  <a:lnTo>
                    <a:pt x="52" y="32"/>
                  </a:lnTo>
                  <a:lnTo>
                    <a:pt x="55" y="32"/>
                  </a:lnTo>
                  <a:lnTo>
                    <a:pt x="56" y="32"/>
                  </a:lnTo>
                  <a:lnTo>
                    <a:pt x="57" y="32"/>
                  </a:lnTo>
                  <a:lnTo>
                    <a:pt x="59" y="31"/>
                  </a:lnTo>
                  <a:lnTo>
                    <a:pt x="63" y="31"/>
                  </a:lnTo>
                  <a:lnTo>
                    <a:pt x="64" y="32"/>
                  </a:lnTo>
                  <a:lnTo>
                    <a:pt x="64" y="35"/>
                  </a:lnTo>
                  <a:lnTo>
                    <a:pt x="64" y="36"/>
                  </a:lnTo>
                  <a:lnTo>
                    <a:pt x="71" y="39"/>
                  </a:lnTo>
                  <a:lnTo>
                    <a:pt x="72" y="40"/>
                  </a:lnTo>
                  <a:lnTo>
                    <a:pt x="76" y="43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3" y="39"/>
                  </a:lnTo>
                  <a:lnTo>
                    <a:pt x="86" y="39"/>
                  </a:lnTo>
                  <a:lnTo>
                    <a:pt x="87" y="40"/>
                  </a:lnTo>
                  <a:lnTo>
                    <a:pt x="90" y="40"/>
                  </a:lnTo>
                  <a:lnTo>
                    <a:pt x="91" y="40"/>
                  </a:lnTo>
                  <a:lnTo>
                    <a:pt x="97" y="40"/>
                  </a:lnTo>
                  <a:lnTo>
                    <a:pt x="98" y="42"/>
                  </a:lnTo>
                  <a:lnTo>
                    <a:pt x="101" y="42"/>
                  </a:lnTo>
                  <a:lnTo>
                    <a:pt x="101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9" y="36"/>
                  </a:lnTo>
                  <a:lnTo>
                    <a:pt x="108" y="35"/>
                  </a:lnTo>
                  <a:lnTo>
                    <a:pt x="105" y="33"/>
                  </a:lnTo>
                  <a:lnTo>
                    <a:pt x="106" y="31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4" y="24"/>
                  </a:lnTo>
                  <a:lnTo>
                    <a:pt x="102" y="23"/>
                  </a:lnTo>
                  <a:lnTo>
                    <a:pt x="100" y="21"/>
                  </a:lnTo>
                  <a:lnTo>
                    <a:pt x="98" y="19"/>
                  </a:lnTo>
                  <a:lnTo>
                    <a:pt x="98" y="13"/>
                  </a:lnTo>
                  <a:lnTo>
                    <a:pt x="101" y="10"/>
                  </a:lnTo>
                  <a:lnTo>
                    <a:pt x="101" y="9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6" y="5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1"/>
                  </a:lnTo>
                  <a:lnTo>
                    <a:pt x="115" y="1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20" y="5"/>
                  </a:lnTo>
                  <a:lnTo>
                    <a:pt x="123" y="5"/>
                  </a:lnTo>
                  <a:lnTo>
                    <a:pt x="127" y="5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34" y="8"/>
                  </a:lnTo>
                  <a:lnTo>
                    <a:pt x="135" y="8"/>
                  </a:lnTo>
                  <a:lnTo>
                    <a:pt x="136" y="8"/>
                  </a:lnTo>
                  <a:lnTo>
                    <a:pt x="142" y="8"/>
                  </a:lnTo>
                  <a:lnTo>
                    <a:pt x="143" y="9"/>
                  </a:lnTo>
                  <a:lnTo>
                    <a:pt x="144" y="10"/>
                  </a:lnTo>
                  <a:lnTo>
                    <a:pt x="144" y="12"/>
                  </a:lnTo>
                  <a:lnTo>
                    <a:pt x="146" y="14"/>
                  </a:lnTo>
                  <a:lnTo>
                    <a:pt x="146" y="16"/>
                  </a:lnTo>
                  <a:lnTo>
                    <a:pt x="147" y="17"/>
                  </a:lnTo>
                  <a:lnTo>
                    <a:pt x="149" y="20"/>
                  </a:lnTo>
                  <a:lnTo>
                    <a:pt x="147" y="21"/>
                  </a:lnTo>
                  <a:lnTo>
                    <a:pt x="150" y="23"/>
                  </a:lnTo>
                  <a:lnTo>
                    <a:pt x="151" y="23"/>
                  </a:lnTo>
                  <a:lnTo>
                    <a:pt x="153" y="25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61" y="29"/>
                  </a:lnTo>
                  <a:lnTo>
                    <a:pt x="162" y="29"/>
                  </a:lnTo>
                  <a:lnTo>
                    <a:pt x="164" y="28"/>
                  </a:lnTo>
                  <a:lnTo>
                    <a:pt x="166" y="28"/>
                  </a:lnTo>
                  <a:lnTo>
                    <a:pt x="169" y="28"/>
                  </a:lnTo>
                  <a:lnTo>
                    <a:pt x="170" y="28"/>
                  </a:lnTo>
                  <a:lnTo>
                    <a:pt x="172" y="28"/>
                  </a:lnTo>
                  <a:lnTo>
                    <a:pt x="173" y="28"/>
                  </a:lnTo>
                  <a:lnTo>
                    <a:pt x="176" y="25"/>
                  </a:lnTo>
                  <a:lnTo>
                    <a:pt x="178" y="24"/>
                  </a:lnTo>
                  <a:lnTo>
                    <a:pt x="183" y="24"/>
                  </a:lnTo>
                  <a:lnTo>
                    <a:pt x="185" y="23"/>
                  </a:lnTo>
                  <a:lnTo>
                    <a:pt x="188" y="23"/>
                  </a:lnTo>
                  <a:lnTo>
                    <a:pt x="192" y="21"/>
                  </a:lnTo>
                  <a:lnTo>
                    <a:pt x="195" y="23"/>
                  </a:lnTo>
                  <a:lnTo>
                    <a:pt x="198" y="24"/>
                  </a:lnTo>
                  <a:lnTo>
                    <a:pt x="202" y="23"/>
                  </a:lnTo>
                  <a:lnTo>
                    <a:pt x="204" y="27"/>
                  </a:lnTo>
                  <a:lnTo>
                    <a:pt x="208" y="28"/>
                  </a:lnTo>
                  <a:lnTo>
                    <a:pt x="212" y="28"/>
                  </a:lnTo>
                  <a:lnTo>
                    <a:pt x="214" y="28"/>
                  </a:lnTo>
                  <a:lnTo>
                    <a:pt x="215" y="28"/>
                  </a:lnTo>
                  <a:lnTo>
                    <a:pt x="217" y="32"/>
                  </a:lnTo>
                  <a:lnTo>
                    <a:pt x="219" y="33"/>
                  </a:lnTo>
                  <a:lnTo>
                    <a:pt x="221" y="35"/>
                  </a:lnTo>
                  <a:lnTo>
                    <a:pt x="222" y="35"/>
                  </a:lnTo>
                  <a:lnTo>
                    <a:pt x="225" y="38"/>
                  </a:lnTo>
                  <a:lnTo>
                    <a:pt x="226" y="38"/>
                  </a:lnTo>
                  <a:lnTo>
                    <a:pt x="232" y="38"/>
                  </a:lnTo>
                  <a:lnTo>
                    <a:pt x="236" y="39"/>
                  </a:lnTo>
                  <a:lnTo>
                    <a:pt x="242" y="38"/>
                  </a:lnTo>
                  <a:lnTo>
                    <a:pt x="246" y="38"/>
                  </a:lnTo>
                  <a:lnTo>
                    <a:pt x="248" y="36"/>
                  </a:lnTo>
                  <a:lnTo>
                    <a:pt x="249" y="36"/>
                  </a:lnTo>
                  <a:lnTo>
                    <a:pt x="252" y="38"/>
                  </a:lnTo>
                  <a:lnTo>
                    <a:pt x="253" y="38"/>
                  </a:lnTo>
                  <a:lnTo>
                    <a:pt x="255" y="35"/>
                  </a:lnTo>
                  <a:lnTo>
                    <a:pt x="260" y="32"/>
                  </a:lnTo>
                  <a:lnTo>
                    <a:pt x="263" y="32"/>
                  </a:lnTo>
                  <a:lnTo>
                    <a:pt x="264" y="31"/>
                  </a:lnTo>
                  <a:lnTo>
                    <a:pt x="265" y="31"/>
                  </a:lnTo>
                  <a:lnTo>
                    <a:pt x="271" y="31"/>
                  </a:lnTo>
                  <a:lnTo>
                    <a:pt x="274" y="28"/>
                  </a:lnTo>
                  <a:lnTo>
                    <a:pt x="275" y="25"/>
                  </a:lnTo>
                  <a:lnTo>
                    <a:pt x="275" y="25"/>
                  </a:lnTo>
                  <a:lnTo>
                    <a:pt x="276" y="23"/>
                  </a:lnTo>
                  <a:lnTo>
                    <a:pt x="278" y="21"/>
                  </a:lnTo>
                  <a:lnTo>
                    <a:pt x="280" y="20"/>
                  </a:lnTo>
                  <a:lnTo>
                    <a:pt x="280" y="17"/>
                  </a:lnTo>
                  <a:lnTo>
                    <a:pt x="283" y="16"/>
                  </a:lnTo>
                  <a:lnTo>
                    <a:pt x="285" y="16"/>
                  </a:lnTo>
                  <a:lnTo>
                    <a:pt x="286" y="16"/>
                  </a:lnTo>
                  <a:lnTo>
                    <a:pt x="289" y="16"/>
                  </a:lnTo>
                  <a:lnTo>
                    <a:pt x="291" y="16"/>
                  </a:lnTo>
                  <a:lnTo>
                    <a:pt x="294" y="17"/>
                  </a:lnTo>
                  <a:lnTo>
                    <a:pt x="295" y="19"/>
                  </a:lnTo>
                  <a:lnTo>
                    <a:pt x="297" y="20"/>
                  </a:lnTo>
                  <a:lnTo>
                    <a:pt x="299" y="19"/>
                  </a:lnTo>
                  <a:lnTo>
                    <a:pt x="301" y="20"/>
                  </a:lnTo>
                  <a:lnTo>
                    <a:pt x="302" y="20"/>
                  </a:lnTo>
                  <a:lnTo>
                    <a:pt x="305" y="19"/>
                  </a:lnTo>
                  <a:lnTo>
                    <a:pt x="305" y="17"/>
                  </a:lnTo>
                  <a:lnTo>
                    <a:pt x="309" y="16"/>
                  </a:lnTo>
                  <a:lnTo>
                    <a:pt x="313" y="17"/>
                  </a:lnTo>
                  <a:lnTo>
                    <a:pt x="314" y="19"/>
                  </a:lnTo>
                  <a:lnTo>
                    <a:pt x="312" y="38"/>
                  </a:lnTo>
                  <a:lnTo>
                    <a:pt x="313" y="40"/>
                  </a:lnTo>
                  <a:lnTo>
                    <a:pt x="312" y="44"/>
                  </a:lnTo>
                  <a:lnTo>
                    <a:pt x="312" y="47"/>
                  </a:lnTo>
                  <a:lnTo>
                    <a:pt x="310" y="51"/>
                  </a:lnTo>
                  <a:lnTo>
                    <a:pt x="313" y="55"/>
                  </a:lnTo>
                  <a:lnTo>
                    <a:pt x="319" y="58"/>
                  </a:lnTo>
                  <a:lnTo>
                    <a:pt x="321" y="55"/>
                  </a:lnTo>
                  <a:lnTo>
                    <a:pt x="327" y="55"/>
                  </a:lnTo>
                  <a:lnTo>
                    <a:pt x="332" y="57"/>
                  </a:lnTo>
                  <a:lnTo>
                    <a:pt x="333" y="58"/>
                  </a:lnTo>
                  <a:lnTo>
                    <a:pt x="336" y="54"/>
                  </a:lnTo>
                  <a:lnTo>
                    <a:pt x="336" y="51"/>
                  </a:lnTo>
                  <a:lnTo>
                    <a:pt x="336" y="50"/>
                  </a:lnTo>
                  <a:lnTo>
                    <a:pt x="340" y="48"/>
                  </a:lnTo>
                  <a:lnTo>
                    <a:pt x="342" y="47"/>
                  </a:lnTo>
                  <a:lnTo>
                    <a:pt x="346" y="48"/>
                  </a:lnTo>
                  <a:lnTo>
                    <a:pt x="350" y="53"/>
                  </a:lnTo>
                  <a:lnTo>
                    <a:pt x="354" y="57"/>
                  </a:lnTo>
                  <a:lnTo>
                    <a:pt x="357" y="61"/>
                  </a:lnTo>
                  <a:lnTo>
                    <a:pt x="361" y="63"/>
                  </a:lnTo>
                  <a:lnTo>
                    <a:pt x="361" y="66"/>
                  </a:lnTo>
                  <a:lnTo>
                    <a:pt x="362" y="67"/>
                  </a:lnTo>
                  <a:lnTo>
                    <a:pt x="362" y="69"/>
                  </a:lnTo>
                  <a:lnTo>
                    <a:pt x="361" y="70"/>
                  </a:lnTo>
                  <a:lnTo>
                    <a:pt x="361" y="73"/>
                  </a:lnTo>
                  <a:lnTo>
                    <a:pt x="361" y="74"/>
                  </a:lnTo>
                  <a:lnTo>
                    <a:pt x="358" y="73"/>
                  </a:lnTo>
                  <a:lnTo>
                    <a:pt x="358" y="72"/>
                  </a:lnTo>
                  <a:lnTo>
                    <a:pt x="355" y="73"/>
                  </a:lnTo>
                  <a:lnTo>
                    <a:pt x="354" y="73"/>
                  </a:lnTo>
                  <a:lnTo>
                    <a:pt x="350" y="72"/>
                  </a:lnTo>
                  <a:lnTo>
                    <a:pt x="348" y="73"/>
                  </a:lnTo>
                  <a:lnTo>
                    <a:pt x="346" y="76"/>
                  </a:lnTo>
                  <a:lnTo>
                    <a:pt x="343" y="78"/>
                  </a:lnTo>
                  <a:lnTo>
                    <a:pt x="342" y="80"/>
                  </a:lnTo>
                  <a:lnTo>
                    <a:pt x="339" y="77"/>
                  </a:lnTo>
                  <a:lnTo>
                    <a:pt x="338" y="78"/>
                  </a:lnTo>
                  <a:lnTo>
                    <a:pt x="338" y="80"/>
                  </a:lnTo>
                  <a:lnTo>
                    <a:pt x="338" y="81"/>
                  </a:lnTo>
                  <a:lnTo>
                    <a:pt x="335" y="81"/>
                  </a:lnTo>
                  <a:lnTo>
                    <a:pt x="335" y="81"/>
                  </a:lnTo>
                  <a:lnTo>
                    <a:pt x="333" y="82"/>
                  </a:lnTo>
                  <a:lnTo>
                    <a:pt x="331" y="87"/>
                  </a:lnTo>
                  <a:lnTo>
                    <a:pt x="331" y="89"/>
                  </a:lnTo>
                  <a:lnTo>
                    <a:pt x="331" y="92"/>
                  </a:lnTo>
                  <a:lnTo>
                    <a:pt x="329" y="93"/>
                  </a:lnTo>
                  <a:lnTo>
                    <a:pt x="327" y="93"/>
                  </a:lnTo>
                  <a:lnTo>
                    <a:pt x="323" y="97"/>
                  </a:lnTo>
                  <a:lnTo>
                    <a:pt x="320" y="97"/>
                  </a:lnTo>
                  <a:lnTo>
                    <a:pt x="316" y="97"/>
                  </a:lnTo>
                  <a:lnTo>
                    <a:pt x="314" y="97"/>
                  </a:lnTo>
                  <a:lnTo>
                    <a:pt x="313" y="103"/>
                  </a:lnTo>
                  <a:lnTo>
                    <a:pt x="310" y="104"/>
                  </a:lnTo>
                  <a:lnTo>
                    <a:pt x="308" y="106"/>
                  </a:lnTo>
                  <a:lnTo>
                    <a:pt x="306" y="108"/>
                  </a:lnTo>
                  <a:lnTo>
                    <a:pt x="306" y="110"/>
                  </a:lnTo>
                  <a:lnTo>
                    <a:pt x="305" y="110"/>
                  </a:lnTo>
                  <a:lnTo>
                    <a:pt x="302" y="108"/>
                  </a:lnTo>
                  <a:lnTo>
                    <a:pt x="299" y="108"/>
                  </a:lnTo>
                  <a:lnTo>
                    <a:pt x="295" y="107"/>
                  </a:lnTo>
                  <a:lnTo>
                    <a:pt x="293" y="104"/>
                  </a:lnTo>
                  <a:lnTo>
                    <a:pt x="290" y="104"/>
                  </a:lnTo>
                  <a:lnTo>
                    <a:pt x="286" y="106"/>
                  </a:lnTo>
                  <a:lnTo>
                    <a:pt x="283" y="108"/>
                  </a:lnTo>
                  <a:lnTo>
                    <a:pt x="280" y="110"/>
                  </a:lnTo>
                  <a:lnTo>
                    <a:pt x="280" y="115"/>
                  </a:lnTo>
                  <a:lnTo>
                    <a:pt x="280" y="118"/>
                  </a:lnTo>
                  <a:lnTo>
                    <a:pt x="280" y="119"/>
                  </a:lnTo>
                  <a:lnTo>
                    <a:pt x="286" y="123"/>
                  </a:lnTo>
                  <a:lnTo>
                    <a:pt x="291" y="126"/>
                  </a:lnTo>
                  <a:lnTo>
                    <a:pt x="291" y="127"/>
                  </a:lnTo>
                  <a:lnTo>
                    <a:pt x="290" y="130"/>
                  </a:lnTo>
                  <a:lnTo>
                    <a:pt x="289" y="131"/>
                  </a:lnTo>
                  <a:lnTo>
                    <a:pt x="283" y="138"/>
                  </a:lnTo>
                  <a:lnTo>
                    <a:pt x="280" y="142"/>
                  </a:lnTo>
                  <a:lnTo>
                    <a:pt x="278" y="146"/>
                  </a:lnTo>
                  <a:lnTo>
                    <a:pt x="276" y="146"/>
                  </a:lnTo>
                  <a:lnTo>
                    <a:pt x="272" y="148"/>
                  </a:lnTo>
                  <a:lnTo>
                    <a:pt x="270" y="148"/>
                  </a:lnTo>
                  <a:lnTo>
                    <a:pt x="267" y="150"/>
                  </a:lnTo>
                  <a:lnTo>
                    <a:pt x="264" y="152"/>
                  </a:lnTo>
                  <a:lnTo>
                    <a:pt x="260" y="152"/>
                  </a:lnTo>
                  <a:lnTo>
                    <a:pt x="256" y="153"/>
                  </a:lnTo>
                  <a:lnTo>
                    <a:pt x="252" y="154"/>
                  </a:lnTo>
                  <a:lnTo>
                    <a:pt x="248" y="154"/>
                  </a:lnTo>
                  <a:lnTo>
                    <a:pt x="240" y="159"/>
                  </a:lnTo>
                  <a:lnTo>
                    <a:pt x="233" y="160"/>
                  </a:lnTo>
                  <a:lnTo>
                    <a:pt x="230" y="164"/>
                  </a:lnTo>
                  <a:lnTo>
                    <a:pt x="225" y="168"/>
                  </a:lnTo>
                  <a:lnTo>
                    <a:pt x="223" y="169"/>
                  </a:lnTo>
                  <a:lnTo>
                    <a:pt x="221" y="169"/>
                  </a:lnTo>
                  <a:lnTo>
                    <a:pt x="217" y="169"/>
                  </a:lnTo>
                  <a:lnTo>
                    <a:pt x="217" y="168"/>
                  </a:lnTo>
                  <a:lnTo>
                    <a:pt x="217" y="165"/>
                  </a:lnTo>
                  <a:lnTo>
                    <a:pt x="211" y="167"/>
                  </a:lnTo>
                  <a:lnTo>
                    <a:pt x="207" y="168"/>
                  </a:lnTo>
                  <a:lnTo>
                    <a:pt x="203" y="165"/>
                  </a:lnTo>
                  <a:lnTo>
                    <a:pt x="200" y="165"/>
                  </a:lnTo>
                  <a:lnTo>
                    <a:pt x="192" y="163"/>
                  </a:lnTo>
                  <a:lnTo>
                    <a:pt x="185" y="159"/>
                  </a:lnTo>
                  <a:lnTo>
                    <a:pt x="181" y="156"/>
                  </a:lnTo>
                  <a:lnTo>
                    <a:pt x="178" y="156"/>
                  </a:lnTo>
                  <a:lnTo>
                    <a:pt x="169" y="154"/>
                  </a:lnTo>
                  <a:lnTo>
                    <a:pt x="162" y="154"/>
                  </a:lnTo>
                  <a:lnTo>
                    <a:pt x="161" y="154"/>
                  </a:lnTo>
                  <a:lnTo>
                    <a:pt x="159" y="154"/>
                  </a:lnTo>
                  <a:lnTo>
                    <a:pt x="158" y="156"/>
                  </a:lnTo>
                  <a:lnTo>
                    <a:pt x="155" y="157"/>
                  </a:lnTo>
                  <a:lnTo>
                    <a:pt x="149" y="159"/>
                  </a:lnTo>
                  <a:lnTo>
                    <a:pt x="139" y="157"/>
                  </a:lnTo>
                  <a:lnTo>
                    <a:pt x="132" y="157"/>
                  </a:lnTo>
                  <a:lnTo>
                    <a:pt x="127" y="157"/>
                  </a:lnTo>
                  <a:lnTo>
                    <a:pt x="123" y="159"/>
                  </a:lnTo>
                  <a:lnTo>
                    <a:pt x="120" y="159"/>
                  </a:lnTo>
                  <a:lnTo>
                    <a:pt x="117" y="157"/>
                  </a:lnTo>
                  <a:lnTo>
                    <a:pt x="116" y="152"/>
                  </a:lnTo>
                  <a:lnTo>
                    <a:pt x="115" y="150"/>
                  </a:lnTo>
                  <a:lnTo>
                    <a:pt x="112" y="146"/>
                  </a:lnTo>
                  <a:lnTo>
                    <a:pt x="110" y="144"/>
                  </a:lnTo>
                  <a:lnTo>
                    <a:pt x="109" y="141"/>
                  </a:lnTo>
                  <a:lnTo>
                    <a:pt x="108" y="140"/>
                  </a:lnTo>
                  <a:lnTo>
                    <a:pt x="106" y="137"/>
                  </a:lnTo>
                  <a:lnTo>
                    <a:pt x="105" y="137"/>
                  </a:lnTo>
                  <a:lnTo>
                    <a:pt x="104" y="137"/>
                  </a:lnTo>
                  <a:lnTo>
                    <a:pt x="104" y="135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1" y="133"/>
                  </a:lnTo>
                  <a:lnTo>
                    <a:pt x="98" y="133"/>
                  </a:lnTo>
                  <a:lnTo>
                    <a:pt x="96" y="131"/>
                  </a:lnTo>
                  <a:lnTo>
                    <a:pt x="90" y="129"/>
                  </a:lnTo>
                  <a:lnTo>
                    <a:pt x="89" y="127"/>
                  </a:lnTo>
                  <a:lnTo>
                    <a:pt x="89" y="127"/>
                  </a:lnTo>
                  <a:lnTo>
                    <a:pt x="86" y="127"/>
                  </a:lnTo>
                  <a:lnTo>
                    <a:pt x="85" y="126"/>
                  </a:lnTo>
                  <a:lnTo>
                    <a:pt x="82" y="123"/>
                  </a:lnTo>
                  <a:lnTo>
                    <a:pt x="74" y="122"/>
                  </a:lnTo>
                  <a:lnTo>
                    <a:pt x="72" y="122"/>
                  </a:lnTo>
                  <a:lnTo>
                    <a:pt x="71" y="123"/>
                  </a:lnTo>
                  <a:lnTo>
                    <a:pt x="68" y="123"/>
                  </a:lnTo>
                  <a:lnTo>
                    <a:pt x="63" y="123"/>
                  </a:lnTo>
                  <a:lnTo>
                    <a:pt x="52" y="120"/>
                  </a:lnTo>
                  <a:lnTo>
                    <a:pt x="49" y="119"/>
                  </a:lnTo>
                  <a:lnTo>
                    <a:pt x="47" y="115"/>
                  </a:lnTo>
                  <a:lnTo>
                    <a:pt x="47" y="114"/>
                  </a:lnTo>
                  <a:lnTo>
                    <a:pt x="47" y="112"/>
                  </a:lnTo>
                  <a:lnTo>
                    <a:pt x="47" y="111"/>
                  </a:lnTo>
                  <a:lnTo>
                    <a:pt x="49" y="110"/>
                  </a:lnTo>
                  <a:lnTo>
                    <a:pt x="49" y="107"/>
                  </a:lnTo>
                  <a:lnTo>
                    <a:pt x="48" y="106"/>
                  </a:lnTo>
                  <a:lnTo>
                    <a:pt x="48" y="103"/>
                  </a:lnTo>
                  <a:lnTo>
                    <a:pt x="48" y="101"/>
                  </a:lnTo>
                  <a:lnTo>
                    <a:pt x="48" y="99"/>
                  </a:lnTo>
                  <a:lnTo>
                    <a:pt x="47" y="97"/>
                  </a:lnTo>
                  <a:lnTo>
                    <a:pt x="45" y="95"/>
                  </a:lnTo>
                  <a:lnTo>
                    <a:pt x="44" y="95"/>
                  </a:lnTo>
                  <a:lnTo>
                    <a:pt x="42" y="93"/>
                  </a:lnTo>
                  <a:lnTo>
                    <a:pt x="41" y="91"/>
                  </a:lnTo>
                  <a:lnTo>
                    <a:pt x="40" y="89"/>
                  </a:lnTo>
                  <a:lnTo>
                    <a:pt x="40" y="87"/>
                  </a:lnTo>
                  <a:lnTo>
                    <a:pt x="38" y="85"/>
                  </a:lnTo>
                  <a:lnTo>
                    <a:pt x="37" y="82"/>
                  </a:lnTo>
                  <a:lnTo>
                    <a:pt x="36" y="81"/>
                  </a:lnTo>
                  <a:lnTo>
                    <a:pt x="34" y="81"/>
                  </a:lnTo>
                  <a:lnTo>
                    <a:pt x="33" y="80"/>
                  </a:lnTo>
                  <a:lnTo>
                    <a:pt x="32" y="78"/>
                  </a:lnTo>
                  <a:lnTo>
                    <a:pt x="29" y="78"/>
                  </a:lnTo>
                  <a:lnTo>
                    <a:pt x="29" y="80"/>
                  </a:lnTo>
                  <a:lnTo>
                    <a:pt x="28" y="81"/>
                  </a:lnTo>
                  <a:lnTo>
                    <a:pt x="26" y="80"/>
                  </a:lnTo>
                  <a:lnTo>
                    <a:pt x="23" y="78"/>
                  </a:lnTo>
                  <a:lnTo>
                    <a:pt x="23" y="77"/>
                  </a:lnTo>
                  <a:lnTo>
                    <a:pt x="21" y="77"/>
                  </a:lnTo>
                  <a:lnTo>
                    <a:pt x="19" y="78"/>
                  </a:lnTo>
                  <a:lnTo>
                    <a:pt x="18" y="80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4" y="80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1" y="74"/>
                  </a:lnTo>
                  <a:lnTo>
                    <a:pt x="10" y="73"/>
                  </a:lnTo>
                  <a:lnTo>
                    <a:pt x="7" y="72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4" y="65"/>
                  </a:lnTo>
                  <a:lnTo>
                    <a:pt x="3" y="65"/>
                  </a:lnTo>
                  <a:lnTo>
                    <a:pt x="3" y="66"/>
                  </a:lnTo>
                  <a:lnTo>
                    <a:pt x="3" y="66"/>
                  </a:lnTo>
                  <a:lnTo>
                    <a:pt x="2" y="65"/>
                  </a:lnTo>
                  <a:lnTo>
                    <a:pt x="0" y="63"/>
                  </a:lnTo>
                  <a:lnTo>
                    <a:pt x="2" y="62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2" name="Freeform 12"/>
            <p:cNvSpPr>
              <a:spLocks/>
            </p:cNvSpPr>
            <p:nvPr/>
          </p:nvSpPr>
          <p:spPr bwMode="auto">
            <a:xfrm>
              <a:off x="2468" y="1242"/>
              <a:ext cx="444" cy="234"/>
            </a:xfrm>
            <a:custGeom>
              <a:avLst/>
              <a:gdLst>
                <a:gd name="T0" fmla="*/ 10 w 444"/>
                <a:gd name="T1" fmla="*/ 136 h 234"/>
                <a:gd name="T2" fmla="*/ 0 w 444"/>
                <a:gd name="T3" fmla="*/ 109 h 234"/>
                <a:gd name="T4" fmla="*/ 20 w 444"/>
                <a:gd name="T5" fmla="*/ 105 h 234"/>
                <a:gd name="T6" fmla="*/ 31 w 444"/>
                <a:gd name="T7" fmla="*/ 85 h 234"/>
                <a:gd name="T8" fmla="*/ 42 w 444"/>
                <a:gd name="T9" fmla="*/ 79 h 234"/>
                <a:gd name="T10" fmla="*/ 50 w 444"/>
                <a:gd name="T11" fmla="*/ 78 h 234"/>
                <a:gd name="T12" fmla="*/ 70 w 444"/>
                <a:gd name="T13" fmla="*/ 85 h 234"/>
                <a:gd name="T14" fmla="*/ 83 w 444"/>
                <a:gd name="T15" fmla="*/ 89 h 234"/>
                <a:gd name="T16" fmla="*/ 100 w 444"/>
                <a:gd name="T17" fmla="*/ 85 h 234"/>
                <a:gd name="T18" fmla="*/ 117 w 444"/>
                <a:gd name="T19" fmla="*/ 83 h 234"/>
                <a:gd name="T20" fmla="*/ 127 w 444"/>
                <a:gd name="T21" fmla="*/ 90 h 234"/>
                <a:gd name="T22" fmla="*/ 149 w 444"/>
                <a:gd name="T23" fmla="*/ 89 h 234"/>
                <a:gd name="T24" fmla="*/ 142 w 444"/>
                <a:gd name="T25" fmla="*/ 71 h 234"/>
                <a:gd name="T26" fmla="*/ 141 w 444"/>
                <a:gd name="T27" fmla="*/ 59 h 234"/>
                <a:gd name="T28" fmla="*/ 149 w 444"/>
                <a:gd name="T29" fmla="*/ 44 h 234"/>
                <a:gd name="T30" fmla="*/ 141 w 444"/>
                <a:gd name="T31" fmla="*/ 40 h 234"/>
                <a:gd name="T32" fmla="*/ 148 w 444"/>
                <a:gd name="T33" fmla="*/ 34 h 234"/>
                <a:gd name="T34" fmla="*/ 163 w 444"/>
                <a:gd name="T35" fmla="*/ 29 h 234"/>
                <a:gd name="T36" fmla="*/ 183 w 444"/>
                <a:gd name="T37" fmla="*/ 23 h 234"/>
                <a:gd name="T38" fmla="*/ 194 w 444"/>
                <a:gd name="T39" fmla="*/ 17 h 234"/>
                <a:gd name="T40" fmla="*/ 213 w 444"/>
                <a:gd name="T41" fmla="*/ 7 h 234"/>
                <a:gd name="T42" fmla="*/ 229 w 444"/>
                <a:gd name="T43" fmla="*/ 2 h 234"/>
                <a:gd name="T44" fmla="*/ 246 w 444"/>
                <a:gd name="T45" fmla="*/ 11 h 234"/>
                <a:gd name="T46" fmla="*/ 250 w 444"/>
                <a:gd name="T47" fmla="*/ 21 h 234"/>
                <a:gd name="T48" fmla="*/ 259 w 444"/>
                <a:gd name="T49" fmla="*/ 18 h 234"/>
                <a:gd name="T50" fmla="*/ 272 w 444"/>
                <a:gd name="T51" fmla="*/ 23 h 234"/>
                <a:gd name="T52" fmla="*/ 280 w 444"/>
                <a:gd name="T53" fmla="*/ 29 h 234"/>
                <a:gd name="T54" fmla="*/ 296 w 444"/>
                <a:gd name="T55" fmla="*/ 21 h 234"/>
                <a:gd name="T56" fmla="*/ 308 w 444"/>
                <a:gd name="T57" fmla="*/ 17 h 234"/>
                <a:gd name="T58" fmla="*/ 361 w 444"/>
                <a:gd name="T59" fmla="*/ 64 h 234"/>
                <a:gd name="T60" fmla="*/ 376 w 444"/>
                <a:gd name="T61" fmla="*/ 70 h 234"/>
                <a:gd name="T62" fmla="*/ 394 w 444"/>
                <a:gd name="T63" fmla="*/ 65 h 234"/>
                <a:gd name="T64" fmla="*/ 413 w 444"/>
                <a:gd name="T65" fmla="*/ 79 h 234"/>
                <a:gd name="T66" fmla="*/ 421 w 444"/>
                <a:gd name="T67" fmla="*/ 89 h 234"/>
                <a:gd name="T68" fmla="*/ 436 w 444"/>
                <a:gd name="T69" fmla="*/ 87 h 234"/>
                <a:gd name="T70" fmla="*/ 437 w 444"/>
                <a:gd name="T71" fmla="*/ 101 h 234"/>
                <a:gd name="T72" fmla="*/ 432 w 444"/>
                <a:gd name="T73" fmla="*/ 127 h 234"/>
                <a:gd name="T74" fmla="*/ 409 w 444"/>
                <a:gd name="T75" fmla="*/ 128 h 234"/>
                <a:gd name="T76" fmla="*/ 403 w 444"/>
                <a:gd name="T77" fmla="*/ 154 h 234"/>
                <a:gd name="T78" fmla="*/ 394 w 444"/>
                <a:gd name="T79" fmla="*/ 161 h 234"/>
                <a:gd name="T80" fmla="*/ 383 w 444"/>
                <a:gd name="T81" fmla="*/ 167 h 234"/>
                <a:gd name="T82" fmla="*/ 390 w 444"/>
                <a:gd name="T83" fmla="*/ 185 h 234"/>
                <a:gd name="T84" fmla="*/ 390 w 444"/>
                <a:gd name="T85" fmla="*/ 204 h 234"/>
                <a:gd name="T86" fmla="*/ 348 w 444"/>
                <a:gd name="T87" fmla="*/ 197 h 234"/>
                <a:gd name="T88" fmla="*/ 319 w 444"/>
                <a:gd name="T89" fmla="*/ 197 h 234"/>
                <a:gd name="T90" fmla="*/ 295 w 444"/>
                <a:gd name="T91" fmla="*/ 206 h 234"/>
                <a:gd name="T92" fmla="*/ 280 w 444"/>
                <a:gd name="T93" fmla="*/ 214 h 234"/>
                <a:gd name="T94" fmla="*/ 251 w 444"/>
                <a:gd name="T95" fmla="*/ 230 h 234"/>
                <a:gd name="T96" fmla="*/ 197 w 444"/>
                <a:gd name="T97" fmla="*/ 191 h 234"/>
                <a:gd name="T98" fmla="*/ 108 w 444"/>
                <a:gd name="T99" fmla="*/ 226 h 234"/>
                <a:gd name="T100" fmla="*/ 80 w 444"/>
                <a:gd name="T101" fmla="*/ 215 h 234"/>
                <a:gd name="T102" fmla="*/ 69 w 444"/>
                <a:gd name="T103" fmla="*/ 210 h 234"/>
                <a:gd name="T104" fmla="*/ 59 w 444"/>
                <a:gd name="T105" fmla="*/ 197 h 234"/>
                <a:gd name="T106" fmla="*/ 51 w 444"/>
                <a:gd name="T107" fmla="*/ 186 h 234"/>
                <a:gd name="T108" fmla="*/ 64 w 444"/>
                <a:gd name="T109" fmla="*/ 186 h 234"/>
                <a:gd name="T110" fmla="*/ 58 w 444"/>
                <a:gd name="T111" fmla="*/ 176 h 234"/>
                <a:gd name="T112" fmla="*/ 74 w 444"/>
                <a:gd name="T113" fmla="*/ 173 h 234"/>
                <a:gd name="T114" fmla="*/ 77 w 444"/>
                <a:gd name="T115" fmla="*/ 166 h 234"/>
                <a:gd name="T116" fmla="*/ 76 w 444"/>
                <a:gd name="T117" fmla="*/ 152 h 234"/>
                <a:gd name="T118" fmla="*/ 65 w 444"/>
                <a:gd name="T119" fmla="*/ 151 h 234"/>
                <a:gd name="T120" fmla="*/ 58 w 444"/>
                <a:gd name="T121" fmla="*/ 148 h 234"/>
                <a:gd name="T122" fmla="*/ 47 w 444"/>
                <a:gd name="T123" fmla="*/ 151 h 234"/>
                <a:gd name="T124" fmla="*/ 36 w 444"/>
                <a:gd name="T125" fmla="*/ 15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4" h="234">
                  <a:moveTo>
                    <a:pt x="34" y="157"/>
                  </a:moveTo>
                  <a:lnTo>
                    <a:pt x="31" y="155"/>
                  </a:lnTo>
                  <a:lnTo>
                    <a:pt x="27" y="157"/>
                  </a:lnTo>
                  <a:lnTo>
                    <a:pt x="23" y="154"/>
                  </a:lnTo>
                  <a:lnTo>
                    <a:pt x="23" y="151"/>
                  </a:lnTo>
                  <a:lnTo>
                    <a:pt x="28" y="151"/>
                  </a:lnTo>
                  <a:lnTo>
                    <a:pt x="23" y="143"/>
                  </a:lnTo>
                  <a:lnTo>
                    <a:pt x="17" y="139"/>
                  </a:lnTo>
                  <a:lnTo>
                    <a:pt x="10" y="136"/>
                  </a:lnTo>
                  <a:lnTo>
                    <a:pt x="9" y="138"/>
                  </a:lnTo>
                  <a:lnTo>
                    <a:pt x="5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0" y="128"/>
                  </a:lnTo>
                  <a:lnTo>
                    <a:pt x="1" y="124"/>
                  </a:lnTo>
                  <a:lnTo>
                    <a:pt x="2" y="117"/>
                  </a:lnTo>
                  <a:lnTo>
                    <a:pt x="0" y="114"/>
                  </a:lnTo>
                  <a:lnTo>
                    <a:pt x="0" y="109"/>
                  </a:lnTo>
                  <a:lnTo>
                    <a:pt x="2" y="108"/>
                  </a:lnTo>
                  <a:lnTo>
                    <a:pt x="5" y="105"/>
                  </a:lnTo>
                  <a:lnTo>
                    <a:pt x="5" y="101"/>
                  </a:lnTo>
                  <a:lnTo>
                    <a:pt x="6" y="99"/>
                  </a:lnTo>
                  <a:lnTo>
                    <a:pt x="13" y="105"/>
                  </a:lnTo>
                  <a:lnTo>
                    <a:pt x="13" y="106"/>
                  </a:lnTo>
                  <a:lnTo>
                    <a:pt x="17" y="109"/>
                  </a:lnTo>
                  <a:lnTo>
                    <a:pt x="21" y="109"/>
                  </a:lnTo>
                  <a:lnTo>
                    <a:pt x="20" y="105"/>
                  </a:lnTo>
                  <a:lnTo>
                    <a:pt x="21" y="104"/>
                  </a:lnTo>
                  <a:lnTo>
                    <a:pt x="19" y="94"/>
                  </a:lnTo>
                  <a:lnTo>
                    <a:pt x="23" y="94"/>
                  </a:lnTo>
                  <a:lnTo>
                    <a:pt x="27" y="94"/>
                  </a:lnTo>
                  <a:lnTo>
                    <a:pt x="27" y="91"/>
                  </a:lnTo>
                  <a:lnTo>
                    <a:pt x="25" y="90"/>
                  </a:lnTo>
                  <a:lnTo>
                    <a:pt x="25" y="87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2" y="82"/>
                  </a:lnTo>
                  <a:lnTo>
                    <a:pt x="34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6"/>
                  </a:lnTo>
                  <a:lnTo>
                    <a:pt x="36" y="75"/>
                  </a:lnTo>
                  <a:lnTo>
                    <a:pt x="40" y="76"/>
                  </a:lnTo>
                  <a:lnTo>
                    <a:pt x="43" y="78"/>
                  </a:lnTo>
                  <a:lnTo>
                    <a:pt x="42" y="79"/>
                  </a:lnTo>
                  <a:lnTo>
                    <a:pt x="40" y="82"/>
                  </a:lnTo>
                  <a:lnTo>
                    <a:pt x="42" y="83"/>
                  </a:lnTo>
                  <a:lnTo>
                    <a:pt x="44" y="82"/>
                  </a:lnTo>
                  <a:lnTo>
                    <a:pt x="44" y="79"/>
                  </a:lnTo>
                  <a:lnTo>
                    <a:pt x="46" y="79"/>
                  </a:lnTo>
                  <a:lnTo>
                    <a:pt x="46" y="80"/>
                  </a:lnTo>
                  <a:lnTo>
                    <a:pt x="47" y="79"/>
                  </a:lnTo>
                  <a:lnTo>
                    <a:pt x="49" y="78"/>
                  </a:lnTo>
                  <a:lnTo>
                    <a:pt x="50" y="78"/>
                  </a:lnTo>
                  <a:lnTo>
                    <a:pt x="53" y="75"/>
                  </a:lnTo>
                  <a:lnTo>
                    <a:pt x="55" y="75"/>
                  </a:lnTo>
                  <a:lnTo>
                    <a:pt x="57" y="79"/>
                  </a:lnTo>
                  <a:lnTo>
                    <a:pt x="59" y="80"/>
                  </a:lnTo>
                  <a:lnTo>
                    <a:pt x="64" y="79"/>
                  </a:lnTo>
                  <a:lnTo>
                    <a:pt x="65" y="79"/>
                  </a:lnTo>
                  <a:lnTo>
                    <a:pt x="66" y="80"/>
                  </a:lnTo>
                  <a:lnTo>
                    <a:pt x="68" y="80"/>
                  </a:lnTo>
                  <a:lnTo>
                    <a:pt x="70" y="85"/>
                  </a:lnTo>
                  <a:lnTo>
                    <a:pt x="73" y="85"/>
                  </a:lnTo>
                  <a:lnTo>
                    <a:pt x="74" y="87"/>
                  </a:lnTo>
                  <a:lnTo>
                    <a:pt x="77" y="89"/>
                  </a:lnTo>
                  <a:lnTo>
                    <a:pt x="80" y="89"/>
                  </a:lnTo>
                  <a:lnTo>
                    <a:pt x="80" y="91"/>
                  </a:lnTo>
                  <a:lnTo>
                    <a:pt x="81" y="94"/>
                  </a:lnTo>
                  <a:lnTo>
                    <a:pt x="83" y="94"/>
                  </a:lnTo>
                  <a:lnTo>
                    <a:pt x="84" y="91"/>
                  </a:lnTo>
                  <a:lnTo>
                    <a:pt x="83" y="89"/>
                  </a:lnTo>
                  <a:lnTo>
                    <a:pt x="85" y="87"/>
                  </a:lnTo>
                  <a:lnTo>
                    <a:pt x="87" y="90"/>
                  </a:lnTo>
                  <a:lnTo>
                    <a:pt x="92" y="90"/>
                  </a:lnTo>
                  <a:lnTo>
                    <a:pt x="93" y="93"/>
                  </a:lnTo>
                  <a:lnTo>
                    <a:pt x="95" y="93"/>
                  </a:lnTo>
                  <a:lnTo>
                    <a:pt x="98" y="91"/>
                  </a:lnTo>
                  <a:lnTo>
                    <a:pt x="98" y="87"/>
                  </a:lnTo>
                  <a:lnTo>
                    <a:pt x="100" y="86"/>
                  </a:lnTo>
                  <a:lnTo>
                    <a:pt x="100" y="85"/>
                  </a:lnTo>
                  <a:lnTo>
                    <a:pt x="103" y="83"/>
                  </a:lnTo>
                  <a:lnTo>
                    <a:pt x="104" y="86"/>
                  </a:lnTo>
                  <a:lnTo>
                    <a:pt x="104" y="83"/>
                  </a:lnTo>
                  <a:lnTo>
                    <a:pt x="107" y="83"/>
                  </a:lnTo>
                  <a:lnTo>
                    <a:pt x="111" y="86"/>
                  </a:lnTo>
                  <a:lnTo>
                    <a:pt x="111" y="87"/>
                  </a:lnTo>
                  <a:lnTo>
                    <a:pt x="115" y="87"/>
                  </a:lnTo>
                  <a:lnTo>
                    <a:pt x="114" y="85"/>
                  </a:lnTo>
                  <a:lnTo>
                    <a:pt x="117" y="83"/>
                  </a:lnTo>
                  <a:lnTo>
                    <a:pt x="119" y="85"/>
                  </a:lnTo>
                  <a:lnTo>
                    <a:pt x="121" y="82"/>
                  </a:lnTo>
                  <a:lnTo>
                    <a:pt x="123" y="83"/>
                  </a:lnTo>
                  <a:lnTo>
                    <a:pt x="125" y="85"/>
                  </a:lnTo>
                  <a:lnTo>
                    <a:pt x="123" y="86"/>
                  </a:lnTo>
                  <a:lnTo>
                    <a:pt x="122" y="87"/>
                  </a:lnTo>
                  <a:lnTo>
                    <a:pt x="125" y="90"/>
                  </a:lnTo>
                  <a:lnTo>
                    <a:pt x="126" y="90"/>
                  </a:lnTo>
                  <a:lnTo>
                    <a:pt x="127" y="90"/>
                  </a:lnTo>
                  <a:lnTo>
                    <a:pt x="129" y="91"/>
                  </a:lnTo>
                  <a:lnTo>
                    <a:pt x="133" y="90"/>
                  </a:lnTo>
                  <a:lnTo>
                    <a:pt x="137" y="93"/>
                  </a:lnTo>
                  <a:lnTo>
                    <a:pt x="140" y="93"/>
                  </a:lnTo>
                  <a:lnTo>
                    <a:pt x="141" y="90"/>
                  </a:lnTo>
                  <a:lnTo>
                    <a:pt x="141" y="87"/>
                  </a:lnTo>
                  <a:lnTo>
                    <a:pt x="142" y="87"/>
                  </a:lnTo>
                  <a:lnTo>
                    <a:pt x="145" y="89"/>
                  </a:lnTo>
                  <a:lnTo>
                    <a:pt x="149" y="89"/>
                  </a:lnTo>
                  <a:lnTo>
                    <a:pt x="153" y="87"/>
                  </a:lnTo>
                  <a:lnTo>
                    <a:pt x="153" y="86"/>
                  </a:lnTo>
                  <a:lnTo>
                    <a:pt x="153" y="76"/>
                  </a:lnTo>
                  <a:lnTo>
                    <a:pt x="152" y="76"/>
                  </a:lnTo>
                  <a:lnTo>
                    <a:pt x="149" y="75"/>
                  </a:lnTo>
                  <a:lnTo>
                    <a:pt x="146" y="74"/>
                  </a:lnTo>
                  <a:lnTo>
                    <a:pt x="146" y="72"/>
                  </a:lnTo>
                  <a:lnTo>
                    <a:pt x="144" y="72"/>
                  </a:lnTo>
                  <a:lnTo>
                    <a:pt x="142" y="71"/>
                  </a:lnTo>
                  <a:lnTo>
                    <a:pt x="140" y="71"/>
                  </a:lnTo>
                  <a:lnTo>
                    <a:pt x="138" y="70"/>
                  </a:lnTo>
                  <a:lnTo>
                    <a:pt x="138" y="68"/>
                  </a:lnTo>
                  <a:lnTo>
                    <a:pt x="138" y="67"/>
                  </a:lnTo>
                  <a:lnTo>
                    <a:pt x="141" y="65"/>
                  </a:lnTo>
                  <a:lnTo>
                    <a:pt x="141" y="64"/>
                  </a:lnTo>
                  <a:lnTo>
                    <a:pt x="142" y="61"/>
                  </a:lnTo>
                  <a:lnTo>
                    <a:pt x="142" y="59"/>
                  </a:lnTo>
                  <a:lnTo>
                    <a:pt x="141" y="59"/>
                  </a:lnTo>
                  <a:lnTo>
                    <a:pt x="140" y="56"/>
                  </a:lnTo>
                  <a:lnTo>
                    <a:pt x="142" y="52"/>
                  </a:lnTo>
                  <a:lnTo>
                    <a:pt x="145" y="51"/>
                  </a:lnTo>
                  <a:lnTo>
                    <a:pt x="151" y="49"/>
                  </a:lnTo>
                  <a:lnTo>
                    <a:pt x="152" y="51"/>
                  </a:lnTo>
                  <a:lnTo>
                    <a:pt x="153" y="49"/>
                  </a:lnTo>
                  <a:lnTo>
                    <a:pt x="153" y="46"/>
                  </a:lnTo>
                  <a:lnTo>
                    <a:pt x="152" y="46"/>
                  </a:lnTo>
                  <a:lnTo>
                    <a:pt x="149" y="44"/>
                  </a:lnTo>
                  <a:lnTo>
                    <a:pt x="148" y="44"/>
                  </a:lnTo>
                  <a:lnTo>
                    <a:pt x="146" y="45"/>
                  </a:lnTo>
                  <a:lnTo>
                    <a:pt x="144" y="44"/>
                  </a:lnTo>
                  <a:lnTo>
                    <a:pt x="141" y="44"/>
                  </a:lnTo>
                  <a:lnTo>
                    <a:pt x="141" y="42"/>
                  </a:lnTo>
                  <a:lnTo>
                    <a:pt x="142" y="42"/>
                  </a:lnTo>
                  <a:lnTo>
                    <a:pt x="145" y="42"/>
                  </a:lnTo>
                  <a:lnTo>
                    <a:pt x="144" y="40"/>
                  </a:lnTo>
                  <a:lnTo>
                    <a:pt x="141" y="40"/>
                  </a:lnTo>
                  <a:lnTo>
                    <a:pt x="138" y="40"/>
                  </a:lnTo>
                  <a:lnTo>
                    <a:pt x="140" y="38"/>
                  </a:lnTo>
                  <a:lnTo>
                    <a:pt x="138" y="36"/>
                  </a:lnTo>
                  <a:lnTo>
                    <a:pt x="140" y="34"/>
                  </a:lnTo>
                  <a:lnTo>
                    <a:pt x="142" y="34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51" y="36"/>
                  </a:lnTo>
                  <a:lnTo>
                    <a:pt x="152" y="34"/>
                  </a:lnTo>
                  <a:lnTo>
                    <a:pt x="152" y="33"/>
                  </a:lnTo>
                  <a:lnTo>
                    <a:pt x="153" y="32"/>
                  </a:lnTo>
                  <a:lnTo>
                    <a:pt x="156" y="32"/>
                  </a:lnTo>
                  <a:lnTo>
                    <a:pt x="157" y="34"/>
                  </a:lnTo>
                  <a:lnTo>
                    <a:pt x="159" y="32"/>
                  </a:lnTo>
                  <a:lnTo>
                    <a:pt x="159" y="30"/>
                  </a:lnTo>
                  <a:lnTo>
                    <a:pt x="163" y="29"/>
                  </a:lnTo>
                  <a:lnTo>
                    <a:pt x="166" y="29"/>
                  </a:lnTo>
                  <a:lnTo>
                    <a:pt x="168" y="27"/>
                  </a:lnTo>
                  <a:lnTo>
                    <a:pt x="171" y="27"/>
                  </a:lnTo>
                  <a:lnTo>
                    <a:pt x="172" y="26"/>
                  </a:lnTo>
                  <a:lnTo>
                    <a:pt x="175" y="25"/>
                  </a:lnTo>
                  <a:lnTo>
                    <a:pt x="178" y="25"/>
                  </a:lnTo>
                  <a:lnTo>
                    <a:pt x="179" y="23"/>
                  </a:lnTo>
                  <a:lnTo>
                    <a:pt x="182" y="23"/>
                  </a:lnTo>
                  <a:lnTo>
                    <a:pt x="183" y="23"/>
                  </a:lnTo>
                  <a:lnTo>
                    <a:pt x="183" y="22"/>
                  </a:lnTo>
                  <a:lnTo>
                    <a:pt x="183" y="21"/>
                  </a:lnTo>
                  <a:lnTo>
                    <a:pt x="185" y="19"/>
                  </a:lnTo>
                  <a:lnTo>
                    <a:pt x="187" y="19"/>
                  </a:lnTo>
                  <a:lnTo>
                    <a:pt x="189" y="18"/>
                  </a:lnTo>
                  <a:lnTo>
                    <a:pt x="190" y="17"/>
                  </a:lnTo>
                  <a:lnTo>
                    <a:pt x="191" y="18"/>
                  </a:lnTo>
                  <a:lnTo>
                    <a:pt x="193" y="18"/>
                  </a:lnTo>
                  <a:lnTo>
                    <a:pt x="194" y="17"/>
                  </a:lnTo>
                  <a:lnTo>
                    <a:pt x="197" y="15"/>
                  </a:lnTo>
                  <a:lnTo>
                    <a:pt x="202" y="12"/>
                  </a:lnTo>
                  <a:lnTo>
                    <a:pt x="204" y="12"/>
                  </a:lnTo>
                  <a:lnTo>
                    <a:pt x="205" y="11"/>
                  </a:lnTo>
                  <a:lnTo>
                    <a:pt x="208" y="11"/>
                  </a:lnTo>
                  <a:lnTo>
                    <a:pt x="209" y="8"/>
                  </a:lnTo>
                  <a:lnTo>
                    <a:pt x="210" y="10"/>
                  </a:lnTo>
                  <a:lnTo>
                    <a:pt x="213" y="8"/>
                  </a:lnTo>
                  <a:lnTo>
                    <a:pt x="213" y="7"/>
                  </a:lnTo>
                  <a:lnTo>
                    <a:pt x="212" y="6"/>
                  </a:lnTo>
                  <a:lnTo>
                    <a:pt x="213" y="4"/>
                  </a:lnTo>
                  <a:lnTo>
                    <a:pt x="217" y="4"/>
                  </a:lnTo>
                  <a:lnTo>
                    <a:pt x="217" y="2"/>
                  </a:lnTo>
                  <a:lnTo>
                    <a:pt x="220" y="0"/>
                  </a:lnTo>
                  <a:lnTo>
                    <a:pt x="221" y="2"/>
                  </a:lnTo>
                  <a:lnTo>
                    <a:pt x="223" y="0"/>
                  </a:lnTo>
                  <a:lnTo>
                    <a:pt x="225" y="2"/>
                  </a:lnTo>
                  <a:lnTo>
                    <a:pt x="229" y="2"/>
                  </a:lnTo>
                  <a:lnTo>
                    <a:pt x="232" y="3"/>
                  </a:lnTo>
                  <a:lnTo>
                    <a:pt x="235" y="3"/>
                  </a:lnTo>
                  <a:lnTo>
                    <a:pt x="238" y="2"/>
                  </a:lnTo>
                  <a:lnTo>
                    <a:pt x="239" y="2"/>
                  </a:lnTo>
                  <a:lnTo>
                    <a:pt x="240" y="6"/>
                  </a:lnTo>
                  <a:lnTo>
                    <a:pt x="242" y="6"/>
                  </a:lnTo>
                  <a:lnTo>
                    <a:pt x="242" y="8"/>
                  </a:lnTo>
                  <a:lnTo>
                    <a:pt x="243" y="10"/>
                  </a:lnTo>
                  <a:lnTo>
                    <a:pt x="246" y="11"/>
                  </a:lnTo>
                  <a:lnTo>
                    <a:pt x="246" y="12"/>
                  </a:lnTo>
                  <a:lnTo>
                    <a:pt x="244" y="14"/>
                  </a:lnTo>
                  <a:lnTo>
                    <a:pt x="246" y="17"/>
                  </a:lnTo>
                  <a:lnTo>
                    <a:pt x="246" y="18"/>
                  </a:lnTo>
                  <a:lnTo>
                    <a:pt x="243" y="18"/>
                  </a:lnTo>
                  <a:lnTo>
                    <a:pt x="244" y="21"/>
                  </a:lnTo>
                  <a:lnTo>
                    <a:pt x="246" y="21"/>
                  </a:lnTo>
                  <a:lnTo>
                    <a:pt x="248" y="19"/>
                  </a:lnTo>
                  <a:lnTo>
                    <a:pt x="250" y="21"/>
                  </a:lnTo>
                  <a:lnTo>
                    <a:pt x="251" y="21"/>
                  </a:lnTo>
                  <a:lnTo>
                    <a:pt x="253" y="18"/>
                  </a:lnTo>
                  <a:lnTo>
                    <a:pt x="254" y="18"/>
                  </a:lnTo>
                  <a:lnTo>
                    <a:pt x="254" y="21"/>
                  </a:lnTo>
                  <a:lnTo>
                    <a:pt x="255" y="21"/>
                  </a:lnTo>
                  <a:lnTo>
                    <a:pt x="257" y="18"/>
                  </a:lnTo>
                  <a:lnTo>
                    <a:pt x="255" y="17"/>
                  </a:lnTo>
                  <a:lnTo>
                    <a:pt x="255" y="15"/>
                  </a:lnTo>
                  <a:lnTo>
                    <a:pt x="259" y="18"/>
                  </a:lnTo>
                  <a:lnTo>
                    <a:pt x="261" y="22"/>
                  </a:lnTo>
                  <a:lnTo>
                    <a:pt x="262" y="25"/>
                  </a:lnTo>
                  <a:lnTo>
                    <a:pt x="263" y="25"/>
                  </a:lnTo>
                  <a:lnTo>
                    <a:pt x="265" y="23"/>
                  </a:lnTo>
                  <a:lnTo>
                    <a:pt x="263" y="22"/>
                  </a:lnTo>
                  <a:lnTo>
                    <a:pt x="263" y="21"/>
                  </a:lnTo>
                  <a:lnTo>
                    <a:pt x="266" y="21"/>
                  </a:lnTo>
                  <a:lnTo>
                    <a:pt x="270" y="23"/>
                  </a:lnTo>
                  <a:lnTo>
                    <a:pt x="272" y="23"/>
                  </a:lnTo>
                  <a:lnTo>
                    <a:pt x="273" y="22"/>
                  </a:lnTo>
                  <a:lnTo>
                    <a:pt x="274" y="22"/>
                  </a:lnTo>
                  <a:lnTo>
                    <a:pt x="273" y="25"/>
                  </a:lnTo>
                  <a:lnTo>
                    <a:pt x="272" y="26"/>
                  </a:lnTo>
                  <a:lnTo>
                    <a:pt x="272" y="29"/>
                  </a:lnTo>
                  <a:lnTo>
                    <a:pt x="274" y="30"/>
                  </a:lnTo>
                  <a:lnTo>
                    <a:pt x="276" y="30"/>
                  </a:lnTo>
                  <a:lnTo>
                    <a:pt x="277" y="29"/>
                  </a:lnTo>
                  <a:lnTo>
                    <a:pt x="280" y="29"/>
                  </a:lnTo>
                  <a:lnTo>
                    <a:pt x="284" y="29"/>
                  </a:lnTo>
                  <a:lnTo>
                    <a:pt x="285" y="30"/>
                  </a:lnTo>
                  <a:lnTo>
                    <a:pt x="287" y="29"/>
                  </a:lnTo>
                  <a:lnTo>
                    <a:pt x="287" y="26"/>
                  </a:lnTo>
                  <a:lnTo>
                    <a:pt x="288" y="26"/>
                  </a:lnTo>
                  <a:lnTo>
                    <a:pt x="292" y="25"/>
                  </a:lnTo>
                  <a:lnTo>
                    <a:pt x="293" y="23"/>
                  </a:lnTo>
                  <a:lnTo>
                    <a:pt x="295" y="22"/>
                  </a:lnTo>
                  <a:lnTo>
                    <a:pt x="296" y="21"/>
                  </a:lnTo>
                  <a:lnTo>
                    <a:pt x="297" y="18"/>
                  </a:lnTo>
                  <a:lnTo>
                    <a:pt x="300" y="17"/>
                  </a:lnTo>
                  <a:lnTo>
                    <a:pt x="301" y="15"/>
                  </a:lnTo>
                  <a:lnTo>
                    <a:pt x="303" y="14"/>
                  </a:lnTo>
                  <a:lnTo>
                    <a:pt x="306" y="12"/>
                  </a:lnTo>
                  <a:lnTo>
                    <a:pt x="308" y="12"/>
                  </a:lnTo>
                  <a:lnTo>
                    <a:pt x="310" y="12"/>
                  </a:lnTo>
                  <a:lnTo>
                    <a:pt x="310" y="15"/>
                  </a:lnTo>
                  <a:lnTo>
                    <a:pt x="308" y="17"/>
                  </a:lnTo>
                  <a:lnTo>
                    <a:pt x="306" y="18"/>
                  </a:lnTo>
                  <a:lnTo>
                    <a:pt x="307" y="19"/>
                  </a:lnTo>
                  <a:lnTo>
                    <a:pt x="329" y="36"/>
                  </a:lnTo>
                  <a:lnTo>
                    <a:pt x="357" y="71"/>
                  </a:lnTo>
                  <a:lnTo>
                    <a:pt x="360" y="71"/>
                  </a:lnTo>
                  <a:lnTo>
                    <a:pt x="361" y="70"/>
                  </a:lnTo>
                  <a:lnTo>
                    <a:pt x="363" y="68"/>
                  </a:lnTo>
                  <a:lnTo>
                    <a:pt x="361" y="67"/>
                  </a:lnTo>
                  <a:lnTo>
                    <a:pt x="361" y="64"/>
                  </a:lnTo>
                  <a:lnTo>
                    <a:pt x="363" y="64"/>
                  </a:lnTo>
                  <a:lnTo>
                    <a:pt x="367" y="65"/>
                  </a:lnTo>
                  <a:lnTo>
                    <a:pt x="367" y="67"/>
                  </a:lnTo>
                  <a:lnTo>
                    <a:pt x="367" y="68"/>
                  </a:lnTo>
                  <a:lnTo>
                    <a:pt x="369" y="70"/>
                  </a:lnTo>
                  <a:lnTo>
                    <a:pt x="371" y="71"/>
                  </a:lnTo>
                  <a:lnTo>
                    <a:pt x="374" y="71"/>
                  </a:lnTo>
                  <a:lnTo>
                    <a:pt x="375" y="70"/>
                  </a:lnTo>
                  <a:lnTo>
                    <a:pt x="376" y="70"/>
                  </a:lnTo>
                  <a:lnTo>
                    <a:pt x="379" y="71"/>
                  </a:lnTo>
                  <a:lnTo>
                    <a:pt x="382" y="71"/>
                  </a:lnTo>
                  <a:lnTo>
                    <a:pt x="384" y="71"/>
                  </a:lnTo>
                  <a:lnTo>
                    <a:pt x="386" y="70"/>
                  </a:lnTo>
                  <a:lnTo>
                    <a:pt x="387" y="68"/>
                  </a:lnTo>
                  <a:lnTo>
                    <a:pt x="386" y="67"/>
                  </a:lnTo>
                  <a:lnTo>
                    <a:pt x="387" y="67"/>
                  </a:lnTo>
                  <a:lnTo>
                    <a:pt x="390" y="65"/>
                  </a:lnTo>
                  <a:lnTo>
                    <a:pt x="394" y="65"/>
                  </a:lnTo>
                  <a:lnTo>
                    <a:pt x="398" y="67"/>
                  </a:lnTo>
                  <a:lnTo>
                    <a:pt x="402" y="70"/>
                  </a:lnTo>
                  <a:lnTo>
                    <a:pt x="403" y="72"/>
                  </a:lnTo>
                  <a:lnTo>
                    <a:pt x="405" y="75"/>
                  </a:lnTo>
                  <a:lnTo>
                    <a:pt x="406" y="75"/>
                  </a:lnTo>
                  <a:lnTo>
                    <a:pt x="409" y="76"/>
                  </a:lnTo>
                  <a:lnTo>
                    <a:pt x="412" y="78"/>
                  </a:lnTo>
                  <a:lnTo>
                    <a:pt x="412" y="78"/>
                  </a:lnTo>
                  <a:lnTo>
                    <a:pt x="413" y="79"/>
                  </a:lnTo>
                  <a:lnTo>
                    <a:pt x="414" y="80"/>
                  </a:lnTo>
                  <a:lnTo>
                    <a:pt x="413" y="80"/>
                  </a:lnTo>
                  <a:lnTo>
                    <a:pt x="413" y="83"/>
                  </a:lnTo>
                  <a:lnTo>
                    <a:pt x="414" y="85"/>
                  </a:lnTo>
                  <a:lnTo>
                    <a:pt x="416" y="86"/>
                  </a:lnTo>
                  <a:lnTo>
                    <a:pt x="416" y="86"/>
                  </a:lnTo>
                  <a:lnTo>
                    <a:pt x="417" y="86"/>
                  </a:lnTo>
                  <a:lnTo>
                    <a:pt x="418" y="87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24" y="86"/>
                  </a:lnTo>
                  <a:lnTo>
                    <a:pt x="429" y="86"/>
                  </a:lnTo>
                  <a:lnTo>
                    <a:pt x="432" y="85"/>
                  </a:lnTo>
                  <a:lnTo>
                    <a:pt x="432" y="83"/>
                  </a:lnTo>
                  <a:lnTo>
                    <a:pt x="435" y="82"/>
                  </a:lnTo>
                  <a:lnTo>
                    <a:pt x="436" y="82"/>
                  </a:lnTo>
                  <a:lnTo>
                    <a:pt x="435" y="85"/>
                  </a:lnTo>
                  <a:lnTo>
                    <a:pt x="436" y="87"/>
                  </a:lnTo>
                  <a:lnTo>
                    <a:pt x="437" y="87"/>
                  </a:lnTo>
                  <a:lnTo>
                    <a:pt x="440" y="90"/>
                  </a:lnTo>
                  <a:lnTo>
                    <a:pt x="443" y="91"/>
                  </a:lnTo>
                  <a:lnTo>
                    <a:pt x="444" y="91"/>
                  </a:lnTo>
                  <a:lnTo>
                    <a:pt x="443" y="94"/>
                  </a:lnTo>
                  <a:lnTo>
                    <a:pt x="440" y="95"/>
                  </a:lnTo>
                  <a:lnTo>
                    <a:pt x="437" y="98"/>
                  </a:lnTo>
                  <a:lnTo>
                    <a:pt x="437" y="101"/>
                  </a:lnTo>
                  <a:lnTo>
                    <a:pt x="437" y="101"/>
                  </a:lnTo>
                  <a:lnTo>
                    <a:pt x="436" y="104"/>
                  </a:lnTo>
                  <a:lnTo>
                    <a:pt x="433" y="105"/>
                  </a:lnTo>
                  <a:lnTo>
                    <a:pt x="431" y="106"/>
                  </a:lnTo>
                  <a:lnTo>
                    <a:pt x="431" y="109"/>
                  </a:lnTo>
                  <a:lnTo>
                    <a:pt x="431" y="114"/>
                  </a:lnTo>
                  <a:lnTo>
                    <a:pt x="433" y="119"/>
                  </a:lnTo>
                  <a:lnTo>
                    <a:pt x="435" y="123"/>
                  </a:lnTo>
                  <a:lnTo>
                    <a:pt x="435" y="124"/>
                  </a:lnTo>
                  <a:lnTo>
                    <a:pt x="432" y="127"/>
                  </a:lnTo>
                  <a:lnTo>
                    <a:pt x="429" y="128"/>
                  </a:lnTo>
                  <a:lnTo>
                    <a:pt x="427" y="131"/>
                  </a:lnTo>
                  <a:lnTo>
                    <a:pt x="425" y="131"/>
                  </a:lnTo>
                  <a:lnTo>
                    <a:pt x="424" y="131"/>
                  </a:lnTo>
                  <a:lnTo>
                    <a:pt x="424" y="129"/>
                  </a:lnTo>
                  <a:lnTo>
                    <a:pt x="421" y="129"/>
                  </a:lnTo>
                  <a:lnTo>
                    <a:pt x="417" y="131"/>
                  </a:lnTo>
                  <a:lnTo>
                    <a:pt x="414" y="129"/>
                  </a:lnTo>
                  <a:lnTo>
                    <a:pt x="409" y="128"/>
                  </a:lnTo>
                  <a:lnTo>
                    <a:pt x="408" y="128"/>
                  </a:lnTo>
                  <a:lnTo>
                    <a:pt x="406" y="128"/>
                  </a:lnTo>
                  <a:lnTo>
                    <a:pt x="405" y="133"/>
                  </a:lnTo>
                  <a:lnTo>
                    <a:pt x="403" y="136"/>
                  </a:lnTo>
                  <a:lnTo>
                    <a:pt x="403" y="139"/>
                  </a:lnTo>
                  <a:lnTo>
                    <a:pt x="402" y="146"/>
                  </a:lnTo>
                  <a:lnTo>
                    <a:pt x="402" y="151"/>
                  </a:lnTo>
                  <a:lnTo>
                    <a:pt x="402" y="152"/>
                  </a:lnTo>
                  <a:lnTo>
                    <a:pt x="403" y="154"/>
                  </a:lnTo>
                  <a:lnTo>
                    <a:pt x="406" y="155"/>
                  </a:lnTo>
                  <a:lnTo>
                    <a:pt x="405" y="158"/>
                  </a:lnTo>
                  <a:lnTo>
                    <a:pt x="405" y="159"/>
                  </a:lnTo>
                  <a:lnTo>
                    <a:pt x="403" y="159"/>
                  </a:lnTo>
                  <a:lnTo>
                    <a:pt x="402" y="161"/>
                  </a:lnTo>
                  <a:lnTo>
                    <a:pt x="399" y="161"/>
                  </a:lnTo>
                  <a:lnTo>
                    <a:pt x="398" y="159"/>
                  </a:lnTo>
                  <a:lnTo>
                    <a:pt x="397" y="159"/>
                  </a:lnTo>
                  <a:lnTo>
                    <a:pt x="394" y="161"/>
                  </a:lnTo>
                  <a:lnTo>
                    <a:pt x="389" y="162"/>
                  </a:lnTo>
                  <a:lnTo>
                    <a:pt x="386" y="163"/>
                  </a:lnTo>
                  <a:lnTo>
                    <a:pt x="383" y="163"/>
                  </a:lnTo>
                  <a:lnTo>
                    <a:pt x="382" y="162"/>
                  </a:lnTo>
                  <a:lnTo>
                    <a:pt x="380" y="163"/>
                  </a:lnTo>
                  <a:lnTo>
                    <a:pt x="378" y="165"/>
                  </a:lnTo>
                  <a:lnTo>
                    <a:pt x="378" y="166"/>
                  </a:lnTo>
                  <a:lnTo>
                    <a:pt x="380" y="169"/>
                  </a:lnTo>
                  <a:lnTo>
                    <a:pt x="383" y="167"/>
                  </a:lnTo>
                  <a:lnTo>
                    <a:pt x="386" y="169"/>
                  </a:lnTo>
                  <a:lnTo>
                    <a:pt x="386" y="169"/>
                  </a:lnTo>
                  <a:lnTo>
                    <a:pt x="384" y="172"/>
                  </a:lnTo>
                  <a:lnTo>
                    <a:pt x="386" y="174"/>
                  </a:lnTo>
                  <a:lnTo>
                    <a:pt x="386" y="177"/>
                  </a:lnTo>
                  <a:lnTo>
                    <a:pt x="387" y="178"/>
                  </a:lnTo>
                  <a:lnTo>
                    <a:pt x="387" y="180"/>
                  </a:lnTo>
                  <a:lnTo>
                    <a:pt x="390" y="184"/>
                  </a:lnTo>
                  <a:lnTo>
                    <a:pt x="390" y="185"/>
                  </a:lnTo>
                  <a:lnTo>
                    <a:pt x="393" y="188"/>
                  </a:lnTo>
                  <a:lnTo>
                    <a:pt x="393" y="192"/>
                  </a:lnTo>
                  <a:lnTo>
                    <a:pt x="391" y="193"/>
                  </a:lnTo>
                  <a:lnTo>
                    <a:pt x="391" y="196"/>
                  </a:lnTo>
                  <a:lnTo>
                    <a:pt x="393" y="199"/>
                  </a:lnTo>
                  <a:lnTo>
                    <a:pt x="391" y="199"/>
                  </a:lnTo>
                  <a:lnTo>
                    <a:pt x="391" y="200"/>
                  </a:lnTo>
                  <a:lnTo>
                    <a:pt x="390" y="201"/>
                  </a:lnTo>
                  <a:lnTo>
                    <a:pt x="390" y="204"/>
                  </a:lnTo>
                  <a:lnTo>
                    <a:pt x="387" y="206"/>
                  </a:lnTo>
                  <a:lnTo>
                    <a:pt x="382" y="204"/>
                  </a:lnTo>
                  <a:lnTo>
                    <a:pt x="378" y="199"/>
                  </a:lnTo>
                  <a:lnTo>
                    <a:pt x="375" y="199"/>
                  </a:lnTo>
                  <a:lnTo>
                    <a:pt x="369" y="197"/>
                  </a:lnTo>
                  <a:lnTo>
                    <a:pt x="363" y="197"/>
                  </a:lnTo>
                  <a:lnTo>
                    <a:pt x="360" y="199"/>
                  </a:lnTo>
                  <a:lnTo>
                    <a:pt x="353" y="196"/>
                  </a:lnTo>
                  <a:lnTo>
                    <a:pt x="348" y="197"/>
                  </a:lnTo>
                  <a:lnTo>
                    <a:pt x="345" y="199"/>
                  </a:lnTo>
                  <a:lnTo>
                    <a:pt x="342" y="197"/>
                  </a:lnTo>
                  <a:lnTo>
                    <a:pt x="340" y="199"/>
                  </a:lnTo>
                  <a:lnTo>
                    <a:pt x="338" y="200"/>
                  </a:lnTo>
                  <a:lnTo>
                    <a:pt x="331" y="200"/>
                  </a:lnTo>
                  <a:lnTo>
                    <a:pt x="327" y="199"/>
                  </a:lnTo>
                  <a:lnTo>
                    <a:pt x="325" y="197"/>
                  </a:lnTo>
                  <a:lnTo>
                    <a:pt x="321" y="197"/>
                  </a:lnTo>
                  <a:lnTo>
                    <a:pt x="319" y="197"/>
                  </a:lnTo>
                  <a:lnTo>
                    <a:pt x="316" y="197"/>
                  </a:lnTo>
                  <a:lnTo>
                    <a:pt x="314" y="197"/>
                  </a:lnTo>
                  <a:lnTo>
                    <a:pt x="312" y="197"/>
                  </a:lnTo>
                  <a:lnTo>
                    <a:pt x="314" y="200"/>
                  </a:lnTo>
                  <a:lnTo>
                    <a:pt x="314" y="203"/>
                  </a:lnTo>
                  <a:lnTo>
                    <a:pt x="314" y="206"/>
                  </a:lnTo>
                  <a:lnTo>
                    <a:pt x="311" y="207"/>
                  </a:lnTo>
                  <a:lnTo>
                    <a:pt x="303" y="207"/>
                  </a:lnTo>
                  <a:lnTo>
                    <a:pt x="295" y="206"/>
                  </a:lnTo>
                  <a:lnTo>
                    <a:pt x="292" y="204"/>
                  </a:lnTo>
                  <a:lnTo>
                    <a:pt x="288" y="204"/>
                  </a:lnTo>
                  <a:lnTo>
                    <a:pt x="287" y="207"/>
                  </a:lnTo>
                  <a:lnTo>
                    <a:pt x="287" y="208"/>
                  </a:lnTo>
                  <a:lnTo>
                    <a:pt x="285" y="210"/>
                  </a:lnTo>
                  <a:lnTo>
                    <a:pt x="284" y="211"/>
                  </a:lnTo>
                  <a:lnTo>
                    <a:pt x="284" y="211"/>
                  </a:lnTo>
                  <a:lnTo>
                    <a:pt x="281" y="214"/>
                  </a:lnTo>
                  <a:lnTo>
                    <a:pt x="280" y="214"/>
                  </a:lnTo>
                  <a:lnTo>
                    <a:pt x="274" y="219"/>
                  </a:lnTo>
                  <a:lnTo>
                    <a:pt x="273" y="223"/>
                  </a:lnTo>
                  <a:lnTo>
                    <a:pt x="272" y="225"/>
                  </a:lnTo>
                  <a:lnTo>
                    <a:pt x="269" y="229"/>
                  </a:lnTo>
                  <a:lnTo>
                    <a:pt x="265" y="233"/>
                  </a:lnTo>
                  <a:lnTo>
                    <a:pt x="263" y="233"/>
                  </a:lnTo>
                  <a:lnTo>
                    <a:pt x="258" y="230"/>
                  </a:lnTo>
                  <a:lnTo>
                    <a:pt x="254" y="229"/>
                  </a:lnTo>
                  <a:lnTo>
                    <a:pt x="251" y="230"/>
                  </a:lnTo>
                  <a:lnTo>
                    <a:pt x="246" y="233"/>
                  </a:lnTo>
                  <a:lnTo>
                    <a:pt x="243" y="233"/>
                  </a:lnTo>
                  <a:lnTo>
                    <a:pt x="238" y="219"/>
                  </a:lnTo>
                  <a:lnTo>
                    <a:pt x="229" y="218"/>
                  </a:lnTo>
                  <a:lnTo>
                    <a:pt x="229" y="201"/>
                  </a:lnTo>
                  <a:lnTo>
                    <a:pt x="225" y="203"/>
                  </a:lnTo>
                  <a:lnTo>
                    <a:pt x="223" y="196"/>
                  </a:lnTo>
                  <a:lnTo>
                    <a:pt x="216" y="191"/>
                  </a:lnTo>
                  <a:lnTo>
                    <a:pt x="197" y="191"/>
                  </a:lnTo>
                  <a:lnTo>
                    <a:pt x="179" y="193"/>
                  </a:lnTo>
                  <a:lnTo>
                    <a:pt x="170" y="188"/>
                  </a:lnTo>
                  <a:lnTo>
                    <a:pt x="163" y="185"/>
                  </a:lnTo>
                  <a:lnTo>
                    <a:pt x="144" y="172"/>
                  </a:lnTo>
                  <a:lnTo>
                    <a:pt x="112" y="177"/>
                  </a:lnTo>
                  <a:lnTo>
                    <a:pt x="122" y="233"/>
                  </a:lnTo>
                  <a:lnTo>
                    <a:pt x="121" y="233"/>
                  </a:lnTo>
                  <a:lnTo>
                    <a:pt x="117" y="234"/>
                  </a:lnTo>
                  <a:lnTo>
                    <a:pt x="108" y="226"/>
                  </a:lnTo>
                  <a:lnTo>
                    <a:pt x="100" y="220"/>
                  </a:lnTo>
                  <a:lnTo>
                    <a:pt x="92" y="219"/>
                  </a:lnTo>
                  <a:lnTo>
                    <a:pt x="87" y="222"/>
                  </a:lnTo>
                  <a:lnTo>
                    <a:pt x="80" y="229"/>
                  </a:lnTo>
                  <a:lnTo>
                    <a:pt x="80" y="225"/>
                  </a:lnTo>
                  <a:lnTo>
                    <a:pt x="78" y="222"/>
                  </a:lnTo>
                  <a:lnTo>
                    <a:pt x="80" y="219"/>
                  </a:lnTo>
                  <a:lnTo>
                    <a:pt x="81" y="215"/>
                  </a:lnTo>
                  <a:lnTo>
                    <a:pt x="80" y="215"/>
                  </a:lnTo>
                  <a:lnTo>
                    <a:pt x="81" y="214"/>
                  </a:lnTo>
                  <a:lnTo>
                    <a:pt x="80" y="214"/>
                  </a:lnTo>
                  <a:lnTo>
                    <a:pt x="77" y="214"/>
                  </a:lnTo>
                  <a:lnTo>
                    <a:pt x="76" y="212"/>
                  </a:lnTo>
                  <a:lnTo>
                    <a:pt x="73" y="212"/>
                  </a:lnTo>
                  <a:lnTo>
                    <a:pt x="72" y="212"/>
                  </a:lnTo>
                  <a:lnTo>
                    <a:pt x="70" y="212"/>
                  </a:lnTo>
                  <a:lnTo>
                    <a:pt x="70" y="211"/>
                  </a:lnTo>
                  <a:lnTo>
                    <a:pt x="69" y="210"/>
                  </a:lnTo>
                  <a:lnTo>
                    <a:pt x="68" y="207"/>
                  </a:lnTo>
                  <a:lnTo>
                    <a:pt x="66" y="207"/>
                  </a:lnTo>
                  <a:lnTo>
                    <a:pt x="66" y="207"/>
                  </a:lnTo>
                  <a:lnTo>
                    <a:pt x="64" y="208"/>
                  </a:lnTo>
                  <a:lnTo>
                    <a:pt x="62" y="208"/>
                  </a:lnTo>
                  <a:lnTo>
                    <a:pt x="64" y="206"/>
                  </a:lnTo>
                  <a:lnTo>
                    <a:pt x="62" y="203"/>
                  </a:lnTo>
                  <a:lnTo>
                    <a:pt x="59" y="199"/>
                  </a:lnTo>
                  <a:lnTo>
                    <a:pt x="59" y="197"/>
                  </a:lnTo>
                  <a:lnTo>
                    <a:pt x="58" y="197"/>
                  </a:lnTo>
                  <a:lnTo>
                    <a:pt x="57" y="195"/>
                  </a:lnTo>
                  <a:lnTo>
                    <a:pt x="55" y="193"/>
                  </a:lnTo>
                  <a:lnTo>
                    <a:pt x="55" y="192"/>
                  </a:lnTo>
                  <a:lnTo>
                    <a:pt x="53" y="191"/>
                  </a:lnTo>
                  <a:lnTo>
                    <a:pt x="51" y="191"/>
                  </a:lnTo>
                  <a:lnTo>
                    <a:pt x="50" y="189"/>
                  </a:lnTo>
                  <a:lnTo>
                    <a:pt x="50" y="188"/>
                  </a:lnTo>
                  <a:lnTo>
                    <a:pt x="51" y="186"/>
                  </a:lnTo>
                  <a:lnTo>
                    <a:pt x="53" y="188"/>
                  </a:lnTo>
                  <a:lnTo>
                    <a:pt x="55" y="188"/>
                  </a:lnTo>
                  <a:lnTo>
                    <a:pt x="57" y="188"/>
                  </a:lnTo>
                  <a:lnTo>
                    <a:pt x="58" y="188"/>
                  </a:lnTo>
                  <a:lnTo>
                    <a:pt x="58" y="188"/>
                  </a:lnTo>
                  <a:lnTo>
                    <a:pt x="59" y="186"/>
                  </a:lnTo>
                  <a:lnTo>
                    <a:pt x="61" y="186"/>
                  </a:lnTo>
                  <a:lnTo>
                    <a:pt x="64" y="188"/>
                  </a:lnTo>
                  <a:lnTo>
                    <a:pt x="64" y="186"/>
                  </a:lnTo>
                  <a:lnTo>
                    <a:pt x="64" y="185"/>
                  </a:lnTo>
                  <a:lnTo>
                    <a:pt x="61" y="186"/>
                  </a:lnTo>
                  <a:lnTo>
                    <a:pt x="59" y="185"/>
                  </a:lnTo>
                  <a:lnTo>
                    <a:pt x="59" y="184"/>
                  </a:lnTo>
                  <a:lnTo>
                    <a:pt x="58" y="181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77"/>
                  </a:lnTo>
                  <a:lnTo>
                    <a:pt x="58" y="176"/>
                  </a:lnTo>
                  <a:lnTo>
                    <a:pt x="59" y="174"/>
                  </a:lnTo>
                  <a:lnTo>
                    <a:pt x="62" y="174"/>
                  </a:lnTo>
                  <a:lnTo>
                    <a:pt x="65" y="173"/>
                  </a:lnTo>
                  <a:lnTo>
                    <a:pt x="66" y="174"/>
                  </a:lnTo>
                  <a:lnTo>
                    <a:pt x="69" y="173"/>
                  </a:lnTo>
                  <a:lnTo>
                    <a:pt x="70" y="173"/>
                  </a:lnTo>
                  <a:lnTo>
                    <a:pt x="72" y="174"/>
                  </a:lnTo>
                  <a:lnTo>
                    <a:pt x="73" y="173"/>
                  </a:lnTo>
                  <a:lnTo>
                    <a:pt x="74" y="173"/>
                  </a:lnTo>
                  <a:lnTo>
                    <a:pt x="76" y="176"/>
                  </a:lnTo>
                  <a:lnTo>
                    <a:pt x="77" y="176"/>
                  </a:lnTo>
                  <a:lnTo>
                    <a:pt x="80" y="174"/>
                  </a:lnTo>
                  <a:lnTo>
                    <a:pt x="81" y="173"/>
                  </a:lnTo>
                  <a:lnTo>
                    <a:pt x="78" y="173"/>
                  </a:lnTo>
                  <a:lnTo>
                    <a:pt x="77" y="172"/>
                  </a:lnTo>
                  <a:lnTo>
                    <a:pt x="76" y="169"/>
                  </a:lnTo>
                  <a:lnTo>
                    <a:pt x="76" y="166"/>
                  </a:lnTo>
                  <a:lnTo>
                    <a:pt x="77" y="166"/>
                  </a:lnTo>
                  <a:lnTo>
                    <a:pt x="78" y="165"/>
                  </a:lnTo>
                  <a:lnTo>
                    <a:pt x="77" y="163"/>
                  </a:lnTo>
                  <a:lnTo>
                    <a:pt x="76" y="163"/>
                  </a:lnTo>
                  <a:lnTo>
                    <a:pt x="76" y="162"/>
                  </a:lnTo>
                  <a:lnTo>
                    <a:pt x="77" y="159"/>
                  </a:lnTo>
                  <a:lnTo>
                    <a:pt x="77" y="158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4" y="152"/>
                  </a:lnTo>
                  <a:lnTo>
                    <a:pt x="73" y="151"/>
                  </a:lnTo>
                  <a:lnTo>
                    <a:pt x="73" y="150"/>
                  </a:lnTo>
                  <a:lnTo>
                    <a:pt x="69" y="150"/>
                  </a:lnTo>
                  <a:lnTo>
                    <a:pt x="68" y="148"/>
                  </a:lnTo>
                  <a:lnTo>
                    <a:pt x="66" y="150"/>
                  </a:lnTo>
                  <a:lnTo>
                    <a:pt x="66" y="150"/>
                  </a:lnTo>
                  <a:lnTo>
                    <a:pt x="65" y="151"/>
                  </a:lnTo>
                  <a:lnTo>
                    <a:pt x="65" y="152"/>
                  </a:lnTo>
                  <a:lnTo>
                    <a:pt x="64" y="152"/>
                  </a:lnTo>
                  <a:lnTo>
                    <a:pt x="62" y="152"/>
                  </a:lnTo>
                  <a:lnTo>
                    <a:pt x="62" y="151"/>
                  </a:lnTo>
                  <a:lnTo>
                    <a:pt x="61" y="151"/>
                  </a:lnTo>
                  <a:lnTo>
                    <a:pt x="59" y="152"/>
                  </a:lnTo>
                  <a:lnTo>
                    <a:pt x="58" y="151"/>
                  </a:lnTo>
                  <a:lnTo>
                    <a:pt x="58" y="148"/>
                  </a:lnTo>
                  <a:lnTo>
                    <a:pt x="58" y="148"/>
                  </a:lnTo>
                  <a:lnTo>
                    <a:pt x="57" y="148"/>
                  </a:lnTo>
                  <a:lnTo>
                    <a:pt x="55" y="148"/>
                  </a:lnTo>
                  <a:lnTo>
                    <a:pt x="54" y="148"/>
                  </a:lnTo>
                  <a:lnTo>
                    <a:pt x="51" y="148"/>
                  </a:lnTo>
                  <a:lnTo>
                    <a:pt x="50" y="150"/>
                  </a:lnTo>
                  <a:lnTo>
                    <a:pt x="50" y="151"/>
                  </a:lnTo>
                  <a:lnTo>
                    <a:pt x="49" y="152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6" y="152"/>
                  </a:lnTo>
                  <a:lnTo>
                    <a:pt x="44" y="152"/>
                  </a:lnTo>
                  <a:lnTo>
                    <a:pt x="43" y="154"/>
                  </a:lnTo>
                  <a:lnTo>
                    <a:pt x="42" y="157"/>
                  </a:lnTo>
                  <a:lnTo>
                    <a:pt x="40" y="157"/>
                  </a:lnTo>
                  <a:lnTo>
                    <a:pt x="39" y="157"/>
                  </a:lnTo>
                  <a:lnTo>
                    <a:pt x="39" y="158"/>
                  </a:lnTo>
                  <a:lnTo>
                    <a:pt x="38" y="157"/>
                  </a:lnTo>
                  <a:lnTo>
                    <a:pt x="36" y="157"/>
                  </a:lnTo>
                  <a:lnTo>
                    <a:pt x="36" y="158"/>
                  </a:lnTo>
                  <a:lnTo>
                    <a:pt x="35" y="158"/>
                  </a:lnTo>
                  <a:lnTo>
                    <a:pt x="34" y="157"/>
                  </a:lnTo>
                  <a:lnTo>
                    <a:pt x="34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3" name="Freeform 13"/>
            <p:cNvSpPr>
              <a:spLocks/>
            </p:cNvSpPr>
            <p:nvPr/>
          </p:nvSpPr>
          <p:spPr bwMode="auto">
            <a:xfrm>
              <a:off x="2580" y="1414"/>
              <a:ext cx="189" cy="116"/>
            </a:xfrm>
            <a:custGeom>
              <a:avLst/>
              <a:gdLst>
                <a:gd name="T0" fmla="*/ 151 w 189"/>
                <a:gd name="T1" fmla="*/ 110 h 116"/>
                <a:gd name="T2" fmla="*/ 154 w 189"/>
                <a:gd name="T3" fmla="*/ 101 h 116"/>
                <a:gd name="T4" fmla="*/ 151 w 189"/>
                <a:gd name="T5" fmla="*/ 97 h 116"/>
                <a:gd name="T6" fmla="*/ 151 w 189"/>
                <a:gd name="T7" fmla="*/ 92 h 116"/>
                <a:gd name="T8" fmla="*/ 147 w 189"/>
                <a:gd name="T9" fmla="*/ 89 h 116"/>
                <a:gd name="T10" fmla="*/ 143 w 189"/>
                <a:gd name="T11" fmla="*/ 87 h 116"/>
                <a:gd name="T12" fmla="*/ 145 w 189"/>
                <a:gd name="T13" fmla="*/ 81 h 116"/>
                <a:gd name="T14" fmla="*/ 153 w 189"/>
                <a:gd name="T15" fmla="*/ 81 h 116"/>
                <a:gd name="T16" fmla="*/ 157 w 189"/>
                <a:gd name="T17" fmla="*/ 77 h 116"/>
                <a:gd name="T18" fmla="*/ 155 w 189"/>
                <a:gd name="T19" fmla="*/ 74 h 116"/>
                <a:gd name="T20" fmla="*/ 165 w 189"/>
                <a:gd name="T21" fmla="*/ 72 h 116"/>
                <a:gd name="T22" fmla="*/ 161 w 189"/>
                <a:gd name="T23" fmla="*/ 67 h 116"/>
                <a:gd name="T24" fmla="*/ 164 w 189"/>
                <a:gd name="T25" fmla="*/ 63 h 116"/>
                <a:gd name="T26" fmla="*/ 169 w 189"/>
                <a:gd name="T27" fmla="*/ 61 h 116"/>
                <a:gd name="T28" fmla="*/ 176 w 189"/>
                <a:gd name="T29" fmla="*/ 59 h 116"/>
                <a:gd name="T30" fmla="*/ 183 w 189"/>
                <a:gd name="T31" fmla="*/ 61 h 116"/>
                <a:gd name="T32" fmla="*/ 189 w 189"/>
                <a:gd name="T33" fmla="*/ 57 h 116"/>
                <a:gd name="T34" fmla="*/ 184 w 189"/>
                <a:gd name="T35" fmla="*/ 50 h 116"/>
                <a:gd name="T36" fmla="*/ 181 w 189"/>
                <a:gd name="T37" fmla="*/ 54 h 116"/>
                <a:gd name="T38" fmla="*/ 177 w 189"/>
                <a:gd name="T39" fmla="*/ 55 h 116"/>
                <a:gd name="T40" fmla="*/ 170 w 189"/>
                <a:gd name="T41" fmla="*/ 51 h 116"/>
                <a:gd name="T42" fmla="*/ 170 w 189"/>
                <a:gd name="T43" fmla="*/ 47 h 116"/>
                <a:gd name="T44" fmla="*/ 173 w 189"/>
                <a:gd name="T45" fmla="*/ 39 h 116"/>
                <a:gd name="T46" fmla="*/ 169 w 189"/>
                <a:gd name="T47" fmla="*/ 42 h 116"/>
                <a:gd name="T48" fmla="*/ 162 w 189"/>
                <a:gd name="T49" fmla="*/ 47 h 116"/>
                <a:gd name="T50" fmla="*/ 160 w 189"/>
                <a:gd name="T51" fmla="*/ 53 h 116"/>
                <a:gd name="T52" fmla="*/ 153 w 189"/>
                <a:gd name="T53" fmla="*/ 61 h 116"/>
                <a:gd name="T54" fmla="*/ 146 w 189"/>
                <a:gd name="T55" fmla="*/ 58 h 116"/>
                <a:gd name="T56" fmla="*/ 139 w 189"/>
                <a:gd name="T57" fmla="*/ 58 h 116"/>
                <a:gd name="T58" fmla="*/ 131 w 189"/>
                <a:gd name="T59" fmla="*/ 61 h 116"/>
                <a:gd name="T60" fmla="*/ 117 w 189"/>
                <a:gd name="T61" fmla="*/ 46 h 116"/>
                <a:gd name="T62" fmla="*/ 113 w 189"/>
                <a:gd name="T63" fmla="*/ 31 h 116"/>
                <a:gd name="T64" fmla="*/ 104 w 189"/>
                <a:gd name="T65" fmla="*/ 19 h 116"/>
                <a:gd name="T66" fmla="*/ 67 w 189"/>
                <a:gd name="T67" fmla="*/ 21 h 116"/>
                <a:gd name="T68" fmla="*/ 51 w 189"/>
                <a:gd name="T69" fmla="*/ 13 h 116"/>
                <a:gd name="T70" fmla="*/ 0 w 189"/>
                <a:gd name="T71" fmla="*/ 5 h 116"/>
                <a:gd name="T72" fmla="*/ 15 w 189"/>
                <a:gd name="T73" fmla="*/ 61 h 116"/>
                <a:gd name="T74" fmla="*/ 22 w 189"/>
                <a:gd name="T75" fmla="*/ 58 h 116"/>
                <a:gd name="T76" fmla="*/ 20 w 189"/>
                <a:gd name="T77" fmla="*/ 53 h 116"/>
                <a:gd name="T78" fmla="*/ 25 w 189"/>
                <a:gd name="T79" fmla="*/ 47 h 116"/>
                <a:gd name="T80" fmla="*/ 30 w 189"/>
                <a:gd name="T81" fmla="*/ 43 h 116"/>
                <a:gd name="T82" fmla="*/ 34 w 189"/>
                <a:gd name="T83" fmla="*/ 43 h 116"/>
                <a:gd name="T84" fmla="*/ 37 w 189"/>
                <a:gd name="T85" fmla="*/ 40 h 116"/>
                <a:gd name="T86" fmla="*/ 52 w 189"/>
                <a:gd name="T87" fmla="*/ 48 h 116"/>
                <a:gd name="T88" fmla="*/ 62 w 189"/>
                <a:gd name="T89" fmla="*/ 57 h 116"/>
                <a:gd name="T90" fmla="*/ 71 w 189"/>
                <a:gd name="T91" fmla="*/ 58 h 116"/>
                <a:gd name="T92" fmla="*/ 78 w 189"/>
                <a:gd name="T93" fmla="*/ 62 h 116"/>
                <a:gd name="T94" fmla="*/ 82 w 189"/>
                <a:gd name="T95" fmla="*/ 72 h 116"/>
                <a:gd name="T96" fmla="*/ 86 w 189"/>
                <a:gd name="T97" fmla="*/ 78 h 116"/>
                <a:gd name="T98" fmla="*/ 97 w 189"/>
                <a:gd name="T99" fmla="*/ 85 h 116"/>
                <a:gd name="T100" fmla="*/ 115 w 189"/>
                <a:gd name="T101" fmla="*/ 96 h 116"/>
                <a:gd name="T102" fmla="*/ 128 w 189"/>
                <a:gd name="T103" fmla="*/ 101 h 116"/>
                <a:gd name="T104" fmla="*/ 131 w 189"/>
                <a:gd name="T105" fmla="*/ 103 h 116"/>
                <a:gd name="T106" fmla="*/ 136 w 189"/>
                <a:gd name="T107" fmla="*/ 110 h 116"/>
                <a:gd name="T108" fmla="*/ 139 w 189"/>
                <a:gd name="T109" fmla="*/ 114 h 116"/>
                <a:gd name="T110" fmla="*/ 143 w 189"/>
                <a:gd name="T111" fmla="*/ 116 h 116"/>
                <a:gd name="T112" fmla="*/ 147 w 189"/>
                <a:gd name="T113" fmla="*/ 115 h 116"/>
                <a:gd name="T114" fmla="*/ 150 w 189"/>
                <a:gd name="T11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9" h="116">
                  <a:moveTo>
                    <a:pt x="150" y="116"/>
                  </a:moveTo>
                  <a:lnTo>
                    <a:pt x="151" y="110"/>
                  </a:lnTo>
                  <a:lnTo>
                    <a:pt x="154" y="103"/>
                  </a:lnTo>
                  <a:lnTo>
                    <a:pt x="154" y="101"/>
                  </a:lnTo>
                  <a:lnTo>
                    <a:pt x="154" y="99"/>
                  </a:lnTo>
                  <a:lnTo>
                    <a:pt x="151" y="97"/>
                  </a:lnTo>
                  <a:lnTo>
                    <a:pt x="151" y="95"/>
                  </a:lnTo>
                  <a:lnTo>
                    <a:pt x="151" y="92"/>
                  </a:lnTo>
                  <a:lnTo>
                    <a:pt x="151" y="89"/>
                  </a:lnTo>
                  <a:lnTo>
                    <a:pt x="147" y="89"/>
                  </a:lnTo>
                  <a:lnTo>
                    <a:pt x="146" y="91"/>
                  </a:lnTo>
                  <a:lnTo>
                    <a:pt x="143" y="87"/>
                  </a:lnTo>
                  <a:lnTo>
                    <a:pt x="143" y="82"/>
                  </a:lnTo>
                  <a:lnTo>
                    <a:pt x="145" y="81"/>
                  </a:lnTo>
                  <a:lnTo>
                    <a:pt x="150" y="81"/>
                  </a:lnTo>
                  <a:lnTo>
                    <a:pt x="153" y="81"/>
                  </a:lnTo>
                  <a:lnTo>
                    <a:pt x="153" y="78"/>
                  </a:lnTo>
                  <a:lnTo>
                    <a:pt x="157" y="77"/>
                  </a:lnTo>
                  <a:lnTo>
                    <a:pt x="157" y="74"/>
                  </a:lnTo>
                  <a:lnTo>
                    <a:pt x="155" y="74"/>
                  </a:lnTo>
                  <a:lnTo>
                    <a:pt x="161" y="73"/>
                  </a:lnTo>
                  <a:lnTo>
                    <a:pt x="165" y="72"/>
                  </a:lnTo>
                  <a:lnTo>
                    <a:pt x="165" y="69"/>
                  </a:lnTo>
                  <a:lnTo>
                    <a:pt x="161" y="67"/>
                  </a:lnTo>
                  <a:lnTo>
                    <a:pt x="161" y="65"/>
                  </a:lnTo>
                  <a:lnTo>
                    <a:pt x="164" y="63"/>
                  </a:lnTo>
                  <a:lnTo>
                    <a:pt x="168" y="61"/>
                  </a:lnTo>
                  <a:lnTo>
                    <a:pt x="169" y="61"/>
                  </a:lnTo>
                  <a:lnTo>
                    <a:pt x="173" y="57"/>
                  </a:lnTo>
                  <a:lnTo>
                    <a:pt x="176" y="59"/>
                  </a:lnTo>
                  <a:lnTo>
                    <a:pt x="177" y="62"/>
                  </a:lnTo>
                  <a:lnTo>
                    <a:pt x="183" y="61"/>
                  </a:lnTo>
                  <a:lnTo>
                    <a:pt x="187" y="61"/>
                  </a:lnTo>
                  <a:lnTo>
                    <a:pt x="189" y="57"/>
                  </a:lnTo>
                  <a:lnTo>
                    <a:pt x="189" y="55"/>
                  </a:lnTo>
                  <a:lnTo>
                    <a:pt x="184" y="50"/>
                  </a:lnTo>
                  <a:lnTo>
                    <a:pt x="183" y="50"/>
                  </a:lnTo>
                  <a:lnTo>
                    <a:pt x="181" y="54"/>
                  </a:lnTo>
                  <a:lnTo>
                    <a:pt x="180" y="55"/>
                  </a:lnTo>
                  <a:lnTo>
                    <a:pt x="177" y="55"/>
                  </a:lnTo>
                  <a:lnTo>
                    <a:pt x="176" y="53"/>
                  </a:lnTo>
                  <a:lnTo>
                    <a:pt x="170" y="51"/>
                  </a:lnTo>
                  <a:lnTo>
                    <a:pt x="168" y="50"/>
                  </a:lnTo>
                  <a:lnTo>
                    <a:pt x="170" y="47"/>
                  </a:lnTo>
                  <a:lnTo>
                    <a:pt x="173" y="42"/>
                  </a:lnTo>
                  <a:lnTo>
                    <a:pt x="173" y="39"/>
                  </a:lnTo>
                  <a:lnTo>
                    <a:pt x="172" y="39"/>
                  </a:lnTo>
                  <a:lnTo>
                    <a:pt x="169" y="42"/>
                  </a:lnTo>
                  <a:lnTo>
                    <a:pt x="168" y="42"/>
                  </a:lnTo>
                  <a:lnTo>
                    <a:pt x="162" y="47"/>
                  </a:lnTo>
                  <a:lnTo>
                    <a:pt x="161" y="51"/>
                  </a:lnTo>
                  <a:lnTo>
                    <a:pt x="160" y="53"/>
                  </a:lnTo>
                  <a:lnTo>
                    <a:pt x="157" y="57"/>
                  </a:lnTo>
                  <a:lnTo>
                    <a:pt x="153" y="61"/>
                  </a:lnTo>
                  <a:lnTo>
                    <a:pt x="151" y="61"/>
                  </a:lnTo>
                  <a:lnTo>
                    <a:pt x="146" y="58"/>
                  </a:lnTo>
                  <a:lnTo>
                    <a:pt x="142" y="57"/>
                  </a:lnTo>
                  <a:lnTo>
                    <a:pt x="139" y="58"/>
                  </a:lnTo>
                  <a:lnTo>
                    <a:pt x="134" y="61"/>
                  </a:lnTo>
                  <a:lnTo>
                    <a:pt x="131" y="61"/>
                  </a:lnTo>
                  <a:lnTo>
                    <a:pt x="126" y="47"/>
                  </a:lnTo>
                  <a:lnTo>
                    <a:pt x="117" y="46"/>
                  </a:lnTo>
                  <a:lnTo>
                    <a:pt x="117" y="29"/>
                  </a:lnTo>
                  <a:lnTo>
                    <a:pt x="113" y="31"/>
                  </a:lnTo>
                  <a:lnTo>
                    <a:pt x="111" y="24"/>
                  </a:lnTo>
                  <a:lnTo>
                    <a:pt x="104" y="19"/>
                  </a:lnTo>
                  <a:lnTo>
                    <a:pt x="85" y="19"/>
                  </a:lnTo>
                  <a:lnTo>
                    <a:pt x="67" y="21"/>
                  </a:lnTo>
                  <a:lnTo>
                    <a:pt x="58" y="16"/>
                  </a:lnTo>
                  <a:lnTo>
                    <a:pt x="51" y="13"/>
                  </a:lnTo>
                  <a:lnTo>
                    <a:pt x="32" y="0"/>
                  </a:lnTo>
                  <a:lnTo>
                    <a:pt x="0" y="5"/>
                  </a:lnTo>
                  <a:lnTo>
                    <a:pt x="10" y="61"/>
                  </a:lnTo>
                  <a:lnTo>
                    <a:pt x="15" y="61"/>
                  </a:lnTo>
                  <a:lnTo>
                    <a:pt x="21" y="61"/>
                  </a:lnTo>
                  <a:lnTo>
                    <a:pt x="22" y="58"/>
                  </a:lnTo>
                  <a:lnTo>
                    <a:pt x="20" y="57"/>
                  </a:lnTo>
                  <a:lnTo>
                    <a:pt x="20" y="53"/>
                  </a:lnTo>
                  <a:lnTo>
                    <a:pt x="22" y="47"/>
                  </a:lnTo>
                  <a:lnTo>
                    <a:pt x="25" y="47"/>
                  </a:lnTo>
                  <a:lnTo>
                    <a:pt x="28" y="44"/>
                  </a:lnTo>
                  <a:lnTo>
                    <a:pt x="30" y="43"/>
                  </a:lnTo>
                  <a:lnTo>
                    <a:pt x="33" y="44"/>
                  </a:lnTo>
                  <a:lnTo>
                    <a:pt x="34" y="43"/>
                  </a:lnTo>
                  <a:lnTo>
                    <a:pt x="32" y="40"/>
                  </a:lnTo>
                  <a:lnTo>
                    <a:pt x="37" y="40"/>
                  </a:lnTo>
                  <a:lnTo>
                    <a:pt x="45" y="44"/>
                  </a:lnTo>
                  <a:lnTo>
                    <a:pt x="52" y="48"/>
                  </a:lnTo>
                  <a:lnTo>
                    <a:pt x="54" y="51"/>
                  </a:lnTo>
                  <a:lnTo>
                    <a:pt x="62" y="57"/>
                  </a:lnTo>
                  <a:lnTo>
                    <a:pt x="68" y="59"/>
                  </a:lnTo>
                  <a:lnTo>
                    <a:pt x="71" y="58"/>
                  </a:lnTo>
                  <a:lnTo>
                    <a:pt x="73" y="59"/>
                  </a:lnTo>
                  <a:lnTo>
                    <a:pt x="78" y="62"/>
                  </a:lnTo>
                  <a:lnTo>
                    <a:pt x="79" y="69"/>
                  </a:lnTo>
                  <a:lnTo>
                    <a:pt x="82" y="72"/>
                  </a:lnTo>
                  <a:lnTo>
                    <a:pt x="83" y="74"/>
                  </a:lnTo>
                  <a:lnTo>
                    <a:pt x="86" y="78"/>
                  </a:lnTo>
                  <a:lnTo>
                    <a:pt x="90" y="81"/>
                  </a:lnTo>
                  <a:lnTo>
                    <a:pt x="97" y="85"/>
                  </a:lnTo>
                  <a:lnTo>
                    <a:pt x="105" y="92"/>
                  </a:lnTo>
                  <a:lnTo>
                    <a:pt x="115" y="96"/>
                  </a:lnTo>
                  <a:lnTo>
                    <a:pt x="121" y="101"/>
                  </a:lnTo>
                  <a:lnTo>
                    <a:pt x="128" y="101"/>
                  </a:lnTo>
                  <a:lnTo>
                    <a:pt x="130" y="103"/>
                  </a:lnTo>
                  <a:lnTo>
                    <a:pt x="131" y="103"/>
                  </a:lnTo>
                  <a:lnTo>
                    <a:pt x="136" y="106"/>
                  </a:lnTo>
                  <a:lnTo>
                    <a:pt x="136" y="110"/>
                  </a:lnTo>
                  <a:lnTo>
                    <a:pt x="136" y="114"/>
                  </a:lnTo>
                  <a:lnTo>
                    <a:pt x="139" y="114"/>
                  </a:lnTo>
                  <a:lnTo>
                    <a:pt x="142" y="115"/>
                  </a:lnTo>
                  <a:lnTo>
                    <a:pt x="143" y="116"/>
                  </a:lnTo>
                  <a:lnTo>
                    <a:pt x="146" y="116"/>
                  </a:lnTo>
                  <a:lnTo>
                    <a:pt x="147" y="115"/>
                  </a:lnTo>
                  <a:lnTo>
                    <a:pt x="149" y="115"/>
                  </a:lnTo>
                  <a:lnTo>
                    <a:pt x="150" y="1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4" name="Freeform 14"/>
            <p:cNvSpPr>
              <a:spLocks/>
            </p:cNvSpPr>
            <p:nvPr/>
          </p:nvSpPr>
          <p:spPr bwMode="auto">
            <a:xfrm>
              <a:off x="2548" y="1454"/>
              <a:ext cx="168" cy="106"/>
            </a:xfrm>
            <a:custGeom>
              <a:avLst/>
              <a:gdLst>
                <a:gd name="T0" fmla="*/ 168 w 168"/>
                <a:gd name="T1" fmla="*/ 66 h 106"/>
                <a:gd name="T2" fmla="*/ 160 w 168"/>
                <a:gd name="T3" fmla="*/ 61 h 106"/>
                <a:gd name="T4" fmla="*/ 137 w 168"/>
                <a:gd name="T5" fmla="*/ 52 h 106"/>
                <a:gd name="T6" fmla="*/ 118 w 168"/>
                <a:gd name="T7" fmla="*/ 38 h 106"/>
                <a:gd name="T8" fmla="*/ 111 w 168"/>
                <a:gd name="T9" fmla="*/ 29 h 106"/>
                <a:gd name="T10" fmla="*/ 103 w 168"/>
                <a:gd name="T11" fmla="*/ 18 h 106"/>
                <a:gd name="T12" fmla="*/ 86 w 168"/>
                <a:gd name="T13" fmla="*/ 11 h 106"/>
                <a:gd name="T14" fmla="*/ 69 w 168"/>
                <a:gd name="T15" fmla="*/ 0 h 106"/>
                <a:gd name="T16" fmla="*/ 65 w 168"/>
                <a:gd name="T17" fmla="*/ 4 h 106"/>
                <a:gd name="T18" fmla="*/ 57 w 168"/>
                <a:gd name="T19" fmla="*/ 7 h 106"/>
                <a:gd name="T20" fmla="*/ 52 w 168"/>
                <a:gd name="T21" fmla="*/ 17 h 106"/>
                <a:gd name="T22" fmla="*/ 47 w 168"/>
                <a:gd name="T23" fmla="*/ 21 h 106"/>
                <a:gd name="T24" fmla="*/ 28 w 168"/>
                <a:gd name="T25" fmla="*/ 14 h 106"/>
                <a:gd name="T26" fmla="*/ 7 w 168"/>
                <a:gd name="T27" fmla="*/ 10 h 106"/>
                <a:gd name="T28" fmla="*/ 1 w 168"/>
                <a:gd name="T29" fmla="*/ 19 h 106"/>
                <a:gd name="T30" fmla="*/ 5 w 168"/>
                <a:gd name="T31" fmla="*/ 23 h 106"/>
                <a:gd name="T32" fmla="*/ 5 w 168"/>
                <a:gd name="T33" fmla="*/ 34 h 106"/>
                <a:gd name="T34" fmla="*/ 8 w 168"/>
                <a:gd name="T35" fmla="*/ 44 h 106"/>
                <a:gd name="T36" fmla="*/ 11 w 168"/>
                <a:gd name="T37" fmla="*/ 44 h 106"/>
                <a:gd name="T38" fmla="*/ 16 w 168"/>
                <a:gd name="T39" fmla="*/ 42 h 106"/>
                <a:gd name="T40" fmla="*/ 18 w 168"/>
                <a:gd name="T41" fmla="*/ 48 h 106"/>
                <a:gd name="T42" fmla="*/ 19 w 168"/>
                <a:gd name="T43" fmla="*/ 51 h 106"/>
                <a:gd name="T44" fmla="*/ 15 w 168"/>
                <a:gd name="T45" fmla="*/ 49 h 106"/>
                <a:gd name="T46" fmla="*/ 15 w 168"/>
                <a:gd name="T47" fmla="*/ 56 h 106"/>
                <a:gd name="T48" fmla="*/ 16 w 168"/>
                <a:gd name="T49" fmla="*/ 53 h 106"/>
                <a:gd name="T50" fmla="*/ 23 w 168"/>
                <a:gd name="T51" fmla="*/ 57 h 106"/>
                <a:gd name="T52" fmla="*/ 24 w 168"/>
                <a:gd name="T53" fmla="*/ 64 h 106"/>
                <a:gd name="T54" fmla="*/ 27 w 168"/>
                <a:gd name="T55" fmla="*/ 81 h 106"/>
                <a:gd name="T56" fmla="*/ 37 w 168"/>
                <a:gd name="T57" fmla="*/ 76 h 106"/>
                <a:gd name="T58" fmla="*/ 45 w 168"/>
                <a:gd name="T59" fmla="*/ 70 h 106"/>
                <a:gd name="T60" fmla="*/ 54 w 168"/>
                <a:gd name="T61" fmla="*/ 67 h 106"/>
                <a:gd name="T62" fmla="*/ 62 w 168"/>
                <a:gd name="T63" fmla="*/ 67 h 106"/>
                <a:gd name="T64" fmla="*/ 76 w 168"/>
                <a:gd name="T65" fmla="*/ 76 h 106"/>
                <a:gd name="T66" fmla="*/ 86 w 168"/>
                <a:gd name="T67" fmla="*/ 76 h 106"/>
                <a:gd name="T68" fmla="*/ 90 w 168"/>
                <a:gd name="T69" fmla="*/ 81 h 106"/>
                <a:gd name="T70" fmla="*/ 100 w 168"/>
                <a:gd name="T71" fmla="*/ 89 h 106"/>
                <a:gd name="T72" fmla="*/ 111 w 168"/>
                <a:gd name="T73" fmla="*/ 93 h 106"/>
                <a:gd name="T74" fmla="*/ 111 w 168"/>
                <a:gd name="T75" fmla="*/ 100 h 106"/>
                <a:gd name="T76" fmla="*/ 115 w 168"/>
                <a:gd name="T77" fmla="*/ 102 h 106"/>
                <a:gd name="T78" fmla="*/ 121 w 168"/>
                <a:gd name="T79" fmla="*/ 102 h 106"/>
                <a:gd name="T80" fmla="*/ 126 w 168"/>
                <a:gd name="T81" fmla="*/ 105 h 106"/>
                <a:gd name="T82" fmla="*/ 132 w 168"/>
                <a:gd name="T83" fmla="*/ 105 h 106"/>
                <a:gd name="T84" fmla="*/ 136 w 168"/>
                <a:gd name="T85" fmla="*/ 100 h 106"/>
                <a:gd name="T86" fmla="*/ 143 w 168"/>
                <a:gd name="T87" fmla="*/ 95 h 106"/>
                <a:gd name="T88" fmla="*/ 147 w 168"/>
                <a:gd name="T89" fmla="*/ 93 h 106"/>
                <a:gd name="T90" fmla="*/ 151 w 168"/>
                <a:gd name="T91" fmla="*/ 83 h 106"/>
                <a:gd name="T92" fmla="*/ 149 w 168"/>
                <a:gd name="T93" fmla="*/ 78 h 106"/>
                <a:gd name="T94" fmla="*/ 155 w 168"/>
                <a:gd name="T95" fmla="*/ 76 h 106"/>
                <a:gd name="T96" fmla="*/ 162 w 168"/>
                <a:gd name="T97" fmla="*/ 72 h 106"/>
                <a:gd name="T98" fmla="*/ 168 w 168"/>
                <a:gd name="T99" fmla="*/ 7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8" h="106">
                  <a:moveTo>
                    <a:pt x="168" y="74"/>
                  </a:moveTo>
                  <a:lnTo>
                    <a:pt x="168" y="70"/>
                  </a:lnTo>
                  <a:lnTo>
                    <a:pt x="168" y="66"/>
                  </a:lnTo>
                  <a:lnTo>
                    <a:pt x="163" y="63"/>
                  </a:lnTo>
                  <a:lnTo>
                    <a:pt x="162" y="63"/>
                  </a:lnTo>
                  <a:lnTo>
                    <a:pt x="160" y="61"/>
                  </a:lnTo>
                  <a:lnTo>
                    <a:pt x="153" y="61"/>
                  </a:lnTo>
                  <a:lnTo>
                    <a:pt x="147" y="56"/>
                  </a:lnTo>
                  <a:lnTo>
                    <a:pt x="137" y="52"/>
                  </a:lnTo>
                  <a:lnTo>
                    <a:pt x="129" y="45"/>
                  </a:lnTo>
                  <a:lnTo>
                    <a:pt x="122" y="41"/>
                  </a:lnTo>
                  <a:lnTo>
                    <a:pt x="118" y="38"/>
                  </a:lnTo>
                  <a:lnTo>
                    <a:pt x="115" y="34"/>
                  </a:lnTo>
                  <a:lnTo>
                    <a:pt x="114" y="32"/>
                  </a:lnTo>
                  <a:lnTo>
                    <a:pt x="111" y="29"/>
                  </a:lnTo>
                  <a:lnTo>
                    <a:pt x="110" y="22"/>
                  </a:lnTo>
                  <a:lnTo>
                    <a:pt x="105" y="19"/>
                  </a:lnTo>
                  <a:lnTo>
                    <a:pt x="103" y="18"/>
                  </a:lnTo>
                  <a:lnTo>
                    <a:pt x="100" y="19"/>
                  </a:lnTo>
                  <a:lnTo>
                    <a:pt x="94" y="17"/>
                  </a:lnTo>
                  <a:lnTo>
                    <a:pt x="86" y="11"/>
                  </a:lnTo>
                  <a:lnTo>
                    <a:pt x="84" y="8"/>
                  </a:lnTo>
                  <a:lnTo>
                    <a:pt x="77" y="4"/>
                  </a:lnTo>
                  <a:lnTo>
                    <a:pt x="69" y="0"/>
                  </a:lnTo>
                  <a:lnTo>
                    <a:pt x="64" y="0"/>
                  </a:lnTo>
                  <a:lnTo>
                    <a:pt x="66" y="3"/>
                  </a:lnTo>
                  <a:lnTo>
                    <a:pt x="65" y="4"/>
                  </a:lnTo>
                  <a:lnTo>
                    <a:pt x="62" y="3"/>
                  </a:lnTo>
                  <a:lnTo>
                    <a:pt x="60" y="4"/>
                  </a:lnTo>
                  <a:lnTo>
                    <a:pt x="57" y="7"/>
                  </a:lnTo>
                  <a:lnTo>
                    <a:pt x="54" y="7"/>
                  </a:lnTo>
                  <a:lnTo>
                    <a:pt x="52" y="13"/>
                  </a:lnTo>
                  <a:lnTo>
                    <a:pt x="52" y="17"/>
                  </a:lnTo>
                  <a:lnTo>
                    <a:pt x="54" y="18"/>
                  </a:lnTo>
                  <a:lnTo>
                    <a:pt x="53" y="21"/>
                  </a:lnTo>
                  <a:lnTo>
                    <a:pt x="47" y="21"/>
                  </a:lnTo>
                  <a:lnTo>
                    <a:pt x="41" y="21"/>
                  </a:lnTo>
                  <a:lnTo>
                    <a:pt x="37" y="22"/>
                  </a:lnTo>
                  <a:lnTo>
                    <a:pt x="28" y="14"/>
                  </a:lnTo>
                  <a:lnTo>
                    <a:pt x="20" y="8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9"/>
                  </a:lnTo>
                  <a:lnTo>
                    <a:pt x="3" y="21"/>
                  </a:lnTo>
                  <a:lnTo>
                    <a:pt x="4" y="22"/>
                  </a:lnTo>
                  <a:lnTo>
                    <a:pt x="5" y="23"/>
                  </a:lnTo>
                  <a:lnTo>
                    <a:pt x="8" y="27"/>
                  </a:lnTo>
                  <a:lnTo>
                    <a:pt x="7" y="32"/>
                  </a:lnTo>
                  <a:lnTo>
                    <a:pt x="5" y="34"/>
                  </a:lnTo>
                  <a:lnTo>
                    <a:pt x="7" y="40"/>
                  </a:lnTo>
                  <a:lnTo>
                    <a:pt x="8" y="41"/>
                  </a:lnTo>
                  <a:lnTo>
                    <a:pt x="8" y="44"/>
                  </a:lnTo>
                  <a:lnTo>
                    <a:pt x="12" y="47"/>
                  </a:lnTo>
                  <a:lnTo>
                    <a:pt x="12" y="4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5" y="44"/>
                  </a:lnTo>
                  <a:lnTo>
                    <a:pt x="16" y="42"/>
                  </a:lnTo>
                  <a:lnTo>
                    <a:pt x="18" y="44"/>
                  </a:lnTo>
                  <a:lnTo>
                    <a:pt x="16" y="47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20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6" y="51"/>
                  </a:lnTo>
                  <a:lnTo>
                    <a:pt x="15" y="49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5" y="56"/>
                  </a:lnTo>
                  <a:lnTo>
                    <a:pt x="15" y="53"/>
                  </a:lnTo>
                  <a:lnTo>
                    <a:pt x="16" y="52"/>
                  </a:lnTo>
                  <a:lnTo>
                    <a:pt x="16" y="53"/>
                  </a:lnTo>
                  <a:lnTo>
                    <a:pt x="19" y="53"/>
                  </a:lnTo>
                  <a:lnTo>
                    <a:pt x="20" y="56"/>
                  </a:lnTo>
                  <a:lnTo>
                    <a:pt x="23" y="57"/>
                  </a:lnTo>
                  <a:lnTo>
                    <a:pt x="23" y="60"/>
                  </a:lnTo>
                  <a:lnTo>
                    <a:pt x="23" y="63"/>
                  </a:lnTo>
                  <a:lnTo>
                    <a:pt x="24" y="64"/>
                  </a:lnTo>
                  <a:lnTo>
                    <a:pt x="23" y="71"/>
                  </a:lnTo>
                  <a:lnTo>
                    <a:pt x="24" y="75"/>
                  </a:lnTo>
                  <a:lnTo>
                    <a:pt x="27" y="81"/>
                  </a:lnTo>
                  <a:lnTo>
                    <a:pt x="30" y="79"/>
                  </a:lnTo>
                  <a:lnTo>
                    <a:pt x="35" y="79"/>
                  </a:lnTo>
                  <a:lnTo>
                    <a:pt x="37" y="76"/>
                  </a:lnTo>
                  <a:lnTo>
                    <a:pt x="38" y="74"/>
                  </a:lnTo>
                  <a:lnTo>
                    <a:pt x="39" y="74"/>
                  </a:lnTo>
                  <a:lnTo>
                    <a:pt x="45" y="70"/>
                  </a:lnTo>
                  <a:lnTo>
                    <a:pt x="49" y="68"/>
                  </a:lnTo>
                  <a:lnTo>
                    <a:pt x="54" y="70"/>
                  </a:lnTo>
                  <a:lnTo>
                    <a:pt x="54" y="67"/>
                  </a:lnTo>
                  <a:lnTo>
                    <a:pt x="57" y="67"/>
                  </a:lnTo>
                  <a:lnTo>
                    <a:pt x="60" y="67"/>
                  </a:lnTo>
                  <a:lnTo>
                    <a:pt x="62" y="67"/>
                  </a:lnTo>
                  <a:lnTo>
                    <a:pt x="66" y="71"/>
                  </a:lnTo>
                  <a:lnTo>
                    <a:pt x="69" y="71"/>
                  </a:lnTo>
                  <a:lnTo>
                    <a:pt x="76" y="76"/>
                  </a:lnTo>
                  <a:lnTo>
                    <a:pt x="79" y="76"/>
                  </a:lnTo>
                  <a:lnTo>
                    <a:pt x="80" y="75"/>
                  </a:lnTo>
                  <a:lnTo>
                    <a:pt x="86" y="76"/>
                  </a:lnTo>
                  <a:lnTo>
                    <a:pt x="87" y="76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1" y="81"/>
                  </a:lnTo>
                  <a:lnTo>
                    <a:pt x="96" y="82"/>
                  </a:lnTo>
                  <a:lnTo>
                    <a:pt x="100" y="89"/>
                  </a:lnTo>
                  <a:lnTo>
                    <a:pt x="106" y="89"/>
                  </a:lnTo>
                  <a:lnTo>
                    <a:pt x="109" y="90"/>
                  </a:lnTo>
                  <a:lnTo>
                    <a:pt x="111" y="93"/>
                  </a:lnTo>
                  <a:lnTo>
                    <a:pt x="110" y="95"/>
                  </a:lnTo>
                  <a:lnTo>
                    <a:pt x="111" y="98"/>
                  </a:lnTo>
                  <a:lnTo>
                    <a:pt x="111" y="100"/>
                  </a:lnTo>
                  <a:lnTo>
                    <a:pt x="111" y="101"/>
                  </a:lnTo>
                  <a:lnTo>
                    <a:pt x="113" y="101"/>
                  </a:lnTo>
                  <a:lnTo>
                    <a:pt x="115" y="102"/>
                  </a:lnTo>
                  <a:lnTo>
                    <a:pt x="117" y="104"/>
                  </a:lnTo>
                  <a:lnTo>
                    <a:pt x="120" y="104"/>
                  </a:lnTo>
                  <a:lnTo>
                    <a:pt x="121" y="102"/>
                  </a:lnTo>
                  <a:lnTo>
                    <a:pt x="122" y="102"/>
                  </a:lnTo>
                  <a:lnTo>
                    <a:pt x="125" y="104"/>
                  </a:lnTo>
                  <a:lnTo>
                    <a:pt x="126" y="105"/>
                  </a:lnTo>
                  <a:lnTo>
                    <a:pt x="128" y="106"/>
                  </a:lnTo>
                  <a:lnTo>
                    <a:pt x="128" y="105"/>
                  </a:lnTo>
                  <a:lnTo>
                    <a:pt x="132" y="105"/>
                  </a:lnTo>
                  <a:lnTo>
                    <a:pt x="133" y="102"/>
                  </a:lnTo>
                  <a:lnTo>
                    <a:pt x="133" y="101"/>
                  </a:lnTo>
                  <a:lnTo>
                    <a:pt x="136" y="100"/>
                  </a:lnTo>
                  <a:lnTo>
                    <a:pt x="134" y="98"/>
                  </a:lnTo>
                  <a:lnTo>
                    <a:pt x="139" y="95"/>
                  </a:lnTo>
                  <a:lnTo>
                    <a:pt x="143" y="95"/>
                  </a:lnTo>
                  <a:lnTo>
                    <a:pt x="143" y="94"/>
                  </a:lnTo>
                  <a:lnTo>
                    <a:pt x="145" y="93"/>
                  </a:lnTo>
                  <a:lnTo>
                    <a:pt x="147" y="93"/>
                  </a:lnTo>
                  <a:lnTo>
                    <a:pt x="148" y="89"/>
                  </a:lnTo>
                  <a:lnTo>
                    <a:pt x="148" y="86"/>
                  </a:lnTo>
                  <a:lnTo>
                    <a:pt x="151" y="83"/>
                  </a:lnTo>
                  <a:lnTo>
                    <a:pt x="151" y="81"/>
                  </a:lnTo>
                  <a:lnTo>
                    <a:pt x="149" y="81"/>
                  </a:lnTo>
                  <a:lnTo>
                    <a:pt x="149" y="78"/>
                  </a:lnTo>
                  <a:lnTo>
                    <a:pt x="151" y="78"/>
                  </a:lnTo>
                  <a:lnTo>
                    <a:pt x="152" y="76"/>
                  </a:lnTo>
                  <a:lnTo>
                    <a:pt x="155" y="76"/>
                  </a:lnTo>
                  <a:lnTo>
                    <a:pt x="156" y="76"/>
                  </a:lnTo>
                  <a:lnTo>
                    <a:pt x="159" y="74"/>
                  </a:lnTo>
                  <a:lnTo>
                    <a:pt x="162" y="72"/>
                  </a:lnTo>
                  <a:lnTo>
                    <a:pt x="164" y="74"/>
                  </a:lnTo>
                  <a:lnTo>
                    <a:pt x="167" y="74"/>
                  </a:lnTo>
                  <a:lnTo>
                    <a:pt x="168" y="75"/>
                  </a:lnTo>
                  <a:lnTo>
                    <a:pt x="168" y="7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5" name="Freeform 15"/>
            <p:cNvSpPr>
              <a:spLocks noEditPoints="1"/>
            </p:cNvSpPr>
            <p:nvPr/>
          </p:nvSpPr>
          <p:spPr bwMode="auto">
            <a:xfrm>
              <a:off x="3628" y="2036"/>
              <a:ext cx="114" cy="99"/>
            </a:xfrm>
            <a:custGeom>
              <a:avLst/>
              <a:gdLst>
                <a:gd name="T0" fmla="*/ 48 w 114"/>
                <a:gd name="T1" fmla="*/ 64 h 99"/>
                <a:gd name="T2" fmla="*/ 43 w 114"/>
                <a:gd name="T3" fmla="*/ 61 h 99"/>
                <a:gd name="T4" fmla="*/ 40 w 114"/>
                <a:gd name="T5" fmla="*/ 61 h 99"/>
                <a:gd name="T6" fmla="*/ 40 w 114"/>
                <a:gd name="T7" fmla="*/ 61 h 99"/>
                <a:gd name="T8" fmla="*/ 42 w 114"/>
                <a:gd name="T9" fmla="*/ 60 h 99"/>
                <a:gd name="T10" fmla="*/ 43 w 114"/>
                <a:gd name="T11" fmla="*/ 63 h 99"/>
                <a:gd name="T12" fmla="*/ 35 w 114"/>
                <a:gd name="T13" fmla="*/ 63 h 99"/>
                <a:gd name="T14" fmla="*/ 32 w 114"/>
                <a:gd name="T15" fmla="*/ 67 h 99"/>
                <a:gd name="T16" fmla="*/ 29 w 114"/>
                <a:gd name="T17" fmla="*/ 67 h 99"/>
                <a:gd name="T18" fmla="*/ 33 w 114"/>
                <a:gd name="T19" fmla="*/ 63 h 99"/>
                <a:gd name="T20" fmla="*/ 32 w 114"/>
                <a:gd name="T21" fmla="*/ 67 h 99"/>
                <a:gd name="T22" fmla="*/ 0 w 114"/>
                <a:gd name="T23" fmla="*/ 48 h 99"/>
                <a:gd name="T24" fmla="*/ 4 w 114"/>
                <a:gd name="T25" fmla="*/ 79 h 99"/>
                <a:gd name="T26" fmla="*/ 14 w 114"/>
                <a:gd name="T27" fmla="*/ 79 h 99"/>
                <a:gd name="T28" fmla="*/ 21 w 114"/>
                <a:gd name="T29" fmla="*/ 82 h 99"/>
                <a:gd name="T30" fmla="*/ 27 w 114"/>
                <a:gd name="T31" fmla="*/ 79 h 99"/>
                <a:gd name="T32" fmla="*/ 17 w 114"/>
                <a:gd name="T33" fmla="*/ 71 h 99"/>
                <a:gd name="T34" fmla="*/ 13 w 114"/>
                <a:gd name="T35" fmla="*/ 68 h 99"/>
                <a:gd name="T36" fmla="*/ 8 w 114"/>
                <a:gd name="T37" fmla="*/ 60 h 99"/>
                <a:gd name="T38" fmla="*/ 10 w 114"/>
                <a:gd name="T39" fmla="*/ 63 h 99"/>
                <a:gd name="T40" fmla="*/ 14 w 114"/>
                <a:gd name="T41" fmla="*/ 68 h 99"/>
                <a:gd name="T42" fmla="*/ 23 w 114"/>
                <a:gd name="T43" fmla="*/ 71 h 99"/>
                <a:gd name="T44" fmla="*/ 29 w 114"/>
                <a:gd name="T45" fmla="*/ 68 h 99"/>
                <a:gd name="T46" fmla="*/ 24 w 114"/>
                <a:gd name="T47" fmla="*/ 64 h 99"/>
                <a:gd name="T48" fmla="*/ 32 w 114"/>
                <a:gd name="T49" fmla="*/ 67 h 99"/>
                <a:gd name="T50" fmla="*/ 32 w 114"/>
                <a:gd name="T51" fmla="*/ 61 h 99"/>
                <a:gd name="T52" fmla="*/ 32 w 114"/>
                <a:gd name="T53" fmla="*/ 59 h 99"/>
                <a:gd name="T54" fmla="*/ 38 w 114"/>
                <a:gd name="T55" fmla="*/ 61 h 99"/>
                <a:gd name="T56" fmla="*/ 39 w 114"/>
                <a:gd name="T57" fmla="*/ 63 h 99"/>
                <a:gd name="T58" fmla="*/ 40 w 114"/>
                <a:gd name="T59" fmla="*/ 59 h 99"/>
                <a:gd name="T60" fmla="*/ 47 w 114"/>
                <a:gd name="T61" fmla="*/ 61 h 99"/>
                <a:gd name="T62" fmla="*/ 48 w 114"/>
                <a:gd name="T63" fmla="*/ 63 h 99"/>
                <a:gd name="T64" fmla="*/ 59 w 114"/>
                <a:gd name="T65" fmla="*/ 68 h 99"/>
                <a:gd name="T66" fmla="*/ 66 w 114"/>
                <a:gd name="T67" fmla="*/ 79 h 99"/>
                <a:gd name="T68" fmla="*/ 76 w 114"/>
                <a:gd name="T69" fmla="*/ 88 h 99"/>
                <a:gd name="T70" fmla="*/ 82 w 114"/>
                <a:gd name="T71" fmla="*/ 91 h 99"/>
                <a:gd name="T72" fmla="*/ 91 w 114"/>
                <a:gd name="T73" fmla="*/ 93 h 99"/>
                <a:gd name="T74" fmla="*/ 101 w 114"/>
                <a:gd name="T75" fmla="*/ 94 h 99"/>
                <a:gd name="T76" fmla="*/ 104 w 114"/>
                <a:gd name="T77" fmla="*/ 97 h 99"/>
                <a:gd name="T78" fmla="*/ 112 w 114"/>
                <a:gd name="T79" fmla="*/ 97 h 99"/>
                <a:gd name="T80" fmla="*/ 110 w 114"/>
                <a:gd name="T81" fmla="*/ 94 h 99"/>
                <a:gd name="T82" fmla="*/ 104 w 114"/>
                <a:gd name="T83" fmla="*/ 91 h 99"/>
                <a:gd name="T84" fmla="*/ 106 w 114"/>
                <a:gd name="T85" fmla="*/ 87 h 99"/>
                <a:gd name="T86" fmla="*/ 96 w 114"/>
                <a:gd name="T87" fmla="*/ 86 h 99"/>
                <a:gd name="T88" fmla="*/ 97 w 114"/>
                <a:gd name="T89" fmla="*/ 79 h 99"/>
                <a:gd name="T90" fmla="*/ 92 w 114"/>
                <a:gd name="T91" fmla="*/ 78 h 99"/>
                <a:gd name="T92" fmla="*/ 87 w 114"/>
                <a:gd name="T93" fmla="*/ 72 h 99"/>
                <a:gd name="T94" fmla="*/ 80 w 114"/>
                <a:gd name="T95" fmla="*/ 64 h 99"/>
                <a:gd name="T96" fmla="*/ 73 w 114"/>
                <a:gd name="T97" fmla="*/ 56 h 99"/>
                <a:gd name="T98" fmla="*/ 76 w 114"/>
                <a:gd name="T99" fmla="*/ 52 h 99"/>
                <a:gd name="T100" fmla="*/ 77 w 114"/>
                <a:gd name="T101" fmla="*/ 41 h 99"/>
                <a:gd name="T102" fmla="*/ 67 w 114"/>
                <a:gd name="T103" fmla="*/ 38 h 99"/>
                <a:gd name="T104" fmla="*/ 57 w 114"/>
                <a:gd name="T105" fmla="*/ 33 h 99"/>
                <a:gd name="T106" fmla="*/ 53 w 114"/>
                <a:gd name="T107" fmla="*/ 22 h 99"/>
                <a:gd name="T108" fmla="*/ 47 w 114"/>
                <a:gd name="T109" fmla="*/ 19 h 99"/>
                <a:gd name="T110" fmla="*/ 42 w 114"/>
                <a:gd name="T111" fmla="*/ 15 h 99"/>
                <a:gd name="T112" fmla="*/ 32 w 114"/>
                <a:gd name="T113" fmla="*/ 11 h 99"/>
                <a:gd name="T114" fmla="*/ 17 w 114"/>
                <a:gd name="T115" fmla="*/ 6 h 99"/>
                <a:gd name="T116" fmla="*/ 10 w 114"/>
                <a:gd name="T117" fmla="*/ 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99">
                  <a:moveTo>
                    <a:pt x="48" y="63"/>
                  </a:moveTo>
                  <a:lnTo>
                    <a:pt x="47" y="63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3"/>
                  </a:lnTo>
                  <a:lnTo>
                    <a:pt x="48" y="63"/>
                  </a:lnTo>
                  <a:close/>
                  <a:moveTo>
                    <a:pt x="43" y="63"/>
                  </a:moveTo>
                  <a:lnTo>
                    <a:pt x="43" y="61"/>
                  </a:lnTo>
                  <a:lnTo>
                    <a:pt x="44" y="61"/>
                  </a:lnTo>
                  <a:lnTo>
                    <a:pt x="43" y="63"/>
                  </a:lnTo>
                  <a:lnTo>
                    <a:pt x="43" y="63"/>
                  </a:lnTo>
                  <a:close/>
                  <a:moveTo>
                    <a:pt x="40" y="61"/>
                  </a:moveTo>
                  <a:lnTo>
                    <a:pt x="39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1"/>
                  </a:lnTo>
                  <a:lnTo>
                    <a:pt x="40" y="61"/>
                  </a:lnTo>
                  <a:close/>
                  <a:moveTo>
                    <a:pt x="43" y="63"/>
                  </a:moveTo>
                  <a:lnTo>
                    <a:pt x="40" y="61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2" y="61"/>
                  </a:lnTo>
                  <a:lnTo>
                    <a:pt x="43" y="63"/>
                  </a:lnTo>
                  <a:lnTo>
                    <a:pt x="43" y="63"/>
                  </a:lnTo>
                  <a:close/>
                  <a:moveTo>
                    <a:pt x="33" y="63"/>
                  </a:moveTo>
                  <a:lnTo>
                    <a:pt x="35" y="64"/>
                  </a:lnTo>
                  <a:lnTo>
                    <a:pt x="36" y="64"/>
                  </a:lnTo>
                  <a:lnTo>
                    <a:pt x="35" y="63"/>
                  </a:lnTo>
                  <a:lnTo>
                    <a:pt x="33" y="63"/>
                  </a:lnTo>
                  <a:lnTo>
                    <a:pt x="33" y="63"/>
                  </a:lnTo>
                  <a:close/>
                  <a:moveTo>
                    <a:pt x="29" y="67"/>
                  </a:moveTo>
                  <a:lnTo>
                    <a:pt x="32" y="67"/>
                  </a:lnTo>
                  <a:lnTo>
                    <a:pt x="31" y="68"/>
                  </a:lnTo>
                  <a:lnTo>
                    <a:pt x="29" y="68"/>
                  </a:lnTo>
                  <a:lnTo>
                    <a:pt x="29" y="67"/>
                  </a:lnTo>
                  <a:lnTo>
                    <a:pt x="29" y="67"/>
                  </a:lnTo>
                  <a:close/>
                  <a:moveTo>
                    <a:pt x="32" y="67"/>
                  </a:moveTo>
                  <a:lnTo>
                    <a:pt x="32" y="65"/>
                  </a:lnTo>
                  <a:lnTo>
                    <a:pt x="32" y="64"/>
                  </a:lnTo>
                  <a:lnTo>
                    <a:pt x="33" y="63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2" y="67"/>
                  </a:lnTo>
                  <a:lnTo>
                    <a:pt x="32" y="67"/>
                  </a:lnTo>
                  <a:close/>
                  <a:moveTo>
                    <a:pt x="2" y="0"/>
                  </a:moveTo>
                  <a:lnTo>
                    <a:pt x="1" y="45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5" y="80"/>
                  </a:lnTo>
                  <a:lnTo>
                    <a:pt x="6" y="79"/>
                  </a:lnTo>
                  <a:lnTo>
                    <a:pt x="13" y="80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6" y="82"/>
                  </a:lnTo>
                  <a:lnTo>
                    <a:pt x="19" y="83"/>
                  </a:lnTo>
                  <a:lnTo>
                    <a:pt x="21" y="82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7" y="80"/>
                  </a:lnTo>
                  <a:lnTo>
                    <a:pt x="27" y="79"/>
                  </a:lnTo>
                  <a:lnTo>
                    <a:pt x="27" y="75"/>
                  </a:lnTo>
                  <a:lnTo>
                    <a:pt x="24" y="74"/>
                  </a:lnTo>
                  <a:lnTo>
                    <a:pt x="21" y="71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3" y="68"/>
                  </a:lnTo>
                  <a:lnTo>
                    <a:pt x="12" y="65"/>
                  </a:lnTo>
                  <a:lnTo>
                    <a:pt x="10" y="63"/>
                  </a:lnTo>
                  <a:lnTo>
                    <a:pt x="8" y="61"/>
                  </a:lnTo>
                  <a:lnTo>
                    <a:pt x="8" y="60"/>
                  </a:lnTo>
                  <a:lnTo>
                    <a:pt x="6" y="59"/>
                  </a:lnTo>
                  <a:lnTo>
                    <a:pt x="8" y="60"/>
                  </a:lnTo>
                  <a:lnTo>
                    <a:pt x="9" y="61"/>
                  </a:lnTo>
                  <a:lnTo>
                    <a:pt x="10" y="63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7" y="69"/>
                  </a:lnTo>
                  <a:lnTo>
                    <a:pt x="19" y="71"/>
                  </a:lnTo>
                  <a:lnTo>
                    <a:pt x="20" y="71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8" y="69"/>
                  </a:lnTo>
                  <a:lnTo>
                    <a:pt x="31" y="69"/>
                  </a:lnTo>
                  <a:lnTo>
                    <a:pt x="29" y="68"/>
                  </a:lnTo>
                  <a:lnTo>
                    <a:pt x="28" y="67"/>
                  </a:lnTo>
                  <a:lnTo>
                    <a:pt x="27" y="65"/>
                  </a:lnTo>
                  <a:lnTo>
                    <a:pt x="25" y="65"/>
                  </a:lnTo>
                  <a:lnTo>
                    <a:pt x="24" y="64"/>
                  </a:lnTo>
                  <a:lnTo>
                    <a:pt x="25" y="65"/>
                  </a:lnTo>
                  <a:lnTo>
                    <a:pt x="28" y="64"/>
                  </a:lnTo>
                  <a:lnTo>
                    <a:pt x="29" y="67"/>
                  </a:lnTo>
                  <a:lnTo>
                    <a:pt x="32" y="67"/>
                  </a:lnTo>
                  <a:lnTo>
                    <a:pt x="31" y="65"/>
                  </a:lnTo>
                  <a:lnTo>
                    <a:pt x="31" y="64"/>
                  </a:lnTo>
                  <a:lnTo>
                    <a:pt x="32" y="63"/>
                  </a:lnTo>
                  <a:lnTo>
                    <a:pt x="32" y="61"/>
                  </a:lnTo>
                  <a:lnTo>
                    <a:pt x="32" y="60"/>
                  </a:lnTo>
                  <a:lnTo>
                    <a:pt x="31" y="59"/>
                  </a:lnTo>
                  <a:lnTo>
                    <a:pt x="31" y="57"/>
                  </a:lnTo>
                  <a:lnTo>
                    <a:pt x="32" y="59"/>
                  </a:lnTo>
                  <a:lnTo>
                    <a:pt x="33" y="60"/>
                  </a:lnTo>
                  <a:lnTo>
                    <a:pt x="36" y="63"/>
                  </a:lnTo>
                  <a:lnTo>
                    <a:pt x="38" y="63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3"/>
                  </a:lnTo>
                  <a:lnTo>
                    <a:pt x="39" y="63"/>
                  </a:lnTo>
                  <a:lnTo>
                    <a:pt x="39" y="61"/>
                  </a:lnTo>
                  <a:lnTo>
                    <a:pt x="39" y="60"/>
                  </a:lnTo>
                  <a:lnTo>
                    <a:pt x="39" y="57"/>
                  </a:lnTo>
                  <a:lnTo>
                    <a:pt x="40" y="59"/>
                  </a:lnTo>
                  <a:lnTo>
                    <a:pt x="43" y="59"/>
                  </a:lnTo>
                  <a:lnTo>
                    <a:pt x="44" y="61"/>
                  </a:lnTo>
                  <a:lnTo>
                    <a:pt x="46" y="61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8" y="60"/>
                  </a:lnTo>
                  <a:lnTo>
                    <a:pt x="48" y="61"/>
                  </a:lnTo>
                  <a:lnTo>
                    <a:pt x="48" y="63"/>
                  </a:lnTo>
                  <a:lnTo>
                    <a:pt x="50" y="64"/>
                  </a:lnTo>
                  <a:lnTo>
                    <a:pt x="51" y="65"/>
                  </a:lnTo>
                  <a:lnTo>
                    <a:pt x="58" y="67"/>
                  </a:lnTo>
                  <a:lnTo>
                    <a:pt x="59" y="68"/>
                  </a:lnTo>
                  <a:lnTo>
                    <a:pt x="61" y="69"/>
                  </a:lnTo>
                  <a:lnTo>
                    <a:pt x="62" y="74"/>
                  </a:lnTo>
                  <a:lnTo>
                    <a:pt x="65" y="78"/>
                  </a:lnTo>
                  <a:lnTo>
                    <a:pt x="66" y="79"/>
                  </a:lnTo>
                  <a:lnTo>
                    <a:pt x="67" y="79"/>
                  </a:lnTo>
                  <a:lnTo>
                    <a:pt x="69" y="82"/>
                  </a:lnTo>
                  <a:lnTo>
                    <a:pt x="70" y="83"/>
                  </a:lnTo>
                  <a:lnTo>
                    <a:pt x="76" y="88"/>
                  </a:lnTo>
                  <a:lnTo>
                    <a:pt x="76" y="90"/>
                  </a:lnTo>
                  <a:lnTo>
                    <a:pt x="77" y="91"/>
                  </a:lnTo>
                  <a:lnTo>
                    <a:pt x="81" y="93"/>
                  </a:lnTo>
                  <a:lnTo>
                    <a:pt x="82" y="91"/>
                  </a:lnTo>
                  <a:lnTo>
                    <a:pt x="84" y="91"/>
                  </a:lnTo>
                  <a:lnTo>
                    <a:pt x="85" y="93"/>
                  </a:lnTo>
                  <a:lnTo>
                    <a:pt x="88" y="93"/>
                  </a:lnTo>
                  <a:lnTo>
                    <a:pt x="91" y="93"/>
                  </a:lnTo>
                  <a:lnTo>
                    <a:pt x="93" y="93"/>
                  </a:lnTo>
                  <a:lnTo>
                    <a:pt x="96" y="94"/>
                  </a:lnTo>
                  <a:lnTo>
                    <a:pt x="99" y="94"/>
                  </a:lnTo>
                  <a:lnTo>
                    <a:pt x="101" y="94"/>
                  </a:lnTo>
                  <a:lnTo>
                    <a:pt x="101" y="95"/>
                  </a:lnTo>
                  <a:lnTo>
                    <a:pt x="104" y="95"/>
                  </a:lnTo>
                  <a:lnTo>
                    <a:pt x="106" y="97"/>
                  </a:lnTo>
                  <a:lnTo>
                    <a:pt x="104" y="97"/>
                  </a:lnTo>
                  <a:lnTo>
                    <a:pt x="106" y="98"/>
                  </a:lnTo>
                  <a:lnTo>
                    <a:pt x="108" y="99"/>
                  </a:lnTo>
                  <a:lnTo>
                    <a:pt x="111" y="98"/>
                  </a:lnTo>
                  <a:lnTo>
                    <a:pt x="112" y="97"/>
                  </a:lnTo>
                  <a:lnTo>
                    <a:pt x="110" y="95"/>
                  </a:lnTo>
                  <a:lnTo>
                    <a:pt x="108" y="95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2" y="94"/>
                  </a:lnTo>
                  <a:lnTo>
                    <a:pt x="114" y="93"/>
                  </a:lnTo>
                  <a:lnTo>
                    <a:pt x="110" y="93"/>
                  </a:lnTo>
                  <a:lnTo>
                    <a:pt x="104" y="91"/>
                  </a:lnTo>
                  <a:lnTo>
                    <a:pt x="101" y="90"/>
                  </a:lnTo>
                  <a:lnTo>
                    <a:pt x="100" y="88"/>
                  </a:lnTo>
                  <a:lnTo>
                    <a:pt x="103" y="87"/>
                  </a:lnTo>
                  <a:lnTo>
                    <a:pt x="106" y="87"/>
                  </a:lnTo>
                  <a:lnTo>
                    <a:pt x="106" y="87"/>
                  </a:lnTo>
                  <a:lnTo>
                    <a:pt x="104" y="86"/>
                  </a:lnTo>
                  <a:lnTo>
                    <a:pt x="100" y="86"/>
                  </a:lnTo>
                  <a:lnTo>
                    <a:pt x="96" y="86"/>
                  </a:lnTo>
                  <a:lnTo>
                    <a:pt x="95" y="84"/>
                  </a:lnTo>
                  <a:lnTo>
                    <a:pt x="95" y="82"/>
                  </a:lnTo>
                  <a:lnTo>
                    <a:pt x="96" y="80"/>
                  </a:lnTo>
                  <a:lnTo>
                    <a:pt x="97" y="79"/>
                  </a:lnTo>
                  <a:lnTo>
                    <a:pt x="96" y="78"/>
                  </a:lnTo>
                  <a:lnTo>
                    <a:pt x="95" y="78"/>
                  </a:lnTo>
                  <a:lnTo>
                    <a:pt x="93" y="79"/>
                  </a:lnTo>
                  <a:lnTo>
                    <a:pt x="92" y="78"/>
                  </a:lnTo>
                  <a:lnTo>
                    <a:pt x="91" y="78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7" y="72"/>
                  </a:lnTo>
                  <a:lnTo>
                    <a:pt x="84" y="67"/>
                  </a:lnTo>
                  <a:lnTo>
                    <a:pt x="82" y="67"/>
                  </a:lnTo>
                  <a:lnTo>
                    <a:pt x="82" y="64"/>
                  </a:lnTo>
                  <a:lnTo>
                    <a:pt x="80" y="64"/>
                  </a:lnTo>
                  <a:lnTo>
                    <a:pt x="78" y="64"/>
                  </a:lnTo>
                  <a:lnTo>
                    <a:pt x="77" y="61"/>
                  </a:lnTo>
                  <a:lnTo>
                    <a:pt x="74" y="59"/>
                  </a:lnTo>
                  <a:lnTo>
                    <a:pt x="73" y="56"/>
                  </a:lnTo>
                  <a:lnTo>
                    <a:pt x="72" y="54"/>
                  </a:lnTo>
                  <a:lnTo>
                    <a:pt x="70" y="52"/>
                  </a:lnTo>
                  <a:lnTo>
                    <a:pt x="70" y="50"/>
                  </a:lnTo>
                  <a:lnTo>
                    <a:pt x="76" y="52"/>
                  </a:lnTo>
                  <a:lnTo>
                    <a:pt x="80" y="49"/>
                  </a:lnTo>
                  <a:lnTo>
                    <a:pt x="81" y="46"/>
                  </a:lnTo>
                  <a:lnTo>
                    <a:pt x="81" y="45"/>
                  </a:lnTo>
                  <a:lnTo>
                    <a:pt x="77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2" y="40"/>
                  </a:lnTo>
                  <a:lnTo>
                    <a:pt x="67" y="38"/>
                  </a:lnTo>
                  <a:lnTo>
                    <a:pt x="65" y="35"/>
                  </a:lnTo>
                  <a:lnTo>
                    <a:pt x="62" y="37"/>
                  </a:lnTo>
                  <a:lnTo>
                    <a:pt x="57" y="34"/>
                  </a:lnTo>
                  <a:lnTo>
                    <a:pt x="57" y="33"/>
                  </a:lnTo>
                  <a:lnTo>
                    <a:pt x="58" y="30"/>
                  </a:lnTo>
                  <a:lnTo>
                    <a:pt x="58" y="27"/>
                  </a:lnTo>
                  <a:lnTo>
                    <a:pt x="57" y="26"/>
                  </a:lnTo>
                  <a:lnTo>
                    <a:pt x="53" y="22"/>
                  </a:lnTo>
                  <a:lnTo>
                    <a:pt x="51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47" y="19"/>
                  </a:lnTo>
                  <a:lnTo>
                    <a:pt x="46" y="18"/>
                  </a:lnTo>
                  <a:lnTo>
                    <a:pt x="44" y="16"/>
                  </a:lnTo>
                  <a:lnTo>
                    <a:pt x="43" y="15"/>
                  </a:lnTo>
                  <a:lnTo>
                    <a:pt x="42" y="15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5" y="12"/>
                  </a:lnTo>
                  <a:lnTo>
                    <a:pt x="32" y="11"/>
                  </a:lnTo>
                  <a:lnTo>
                    <a:pt x="28" y="8"/>
                  </a:lnTo>
                  <a:lnTo>
                    <a:pt x="21" y="8"/>
                  </a:lnTo>
                  <a:lnTo>
                    <a:pt x="19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3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6" name="Freeform 16"/>
            <p:cNvSpPr>
              <a:spLocks noEditPoints="1"/>
            </p:cNvSpPr>
            <p:nvPr/>
          </p:nvSpPr>
          <p:spPr bwMode="auto">
            <a:xfrm>
              <a:off x="3090" y="1936"/>
              <a:ext cx="540" cy="195"/>
            </a:xfrm>
            <a:custGeom>
              <a:avLst/>
              <a:gdLst>
                <a:gd name="T0" fmla="*/ 527 w 540"/>
                <a:gd name="T1" fmla="*/ 165 h 195"/>
                <a:gd name="T2" fmla="*/ 517 w 540"/>
                <a:gd name="T3" fmla="*/ 156 h 195"/>
                <a:gd name="T4" fmla="*/ 505 w 540"/>
                <a:gd name="T5" fmla="*/ 137 h 195"/>
                <a:gd name="T6" fmla="*/ 474 w 540"/>
                <a:gd name="T7" fmla="*/ 123 h 195"/>
                <a:gd name="T8" fmla="*/ 459 w 540"/>
                <a:gd name="T9" fmla="*/ 114 h 195"/>
                <a:gd name="T10" fmla="*/ 441 w 540"/>
                <a:gd name="T11" fmla="*/ 115 h 195"/>
                <a:gd name="T12" fmla="*/ 445 w 540"/>
                <a:gd name="T13" fmla="*/ 99 h 195"/>
                <a:gd name="T14" fmla="*/ 438 w 540"/>
                <a:gd name="T15" fmla="*/ 96 h 195"/>
                <a:gd name="T16" fmla="*/ 431 w 540"/>
                <a:gd name="T17" fmla="*/ 77 h 195"/>
                <a:gd name="T18" fmla="*/ 460 w 540"/>
                <a:gd name="T19" fmla="*/ 99 h 195"/>
                <a:gd name="T20" fmla="*/ 479 w 540"/>
                <a:gd name="T21" fmla="*/ 106 h 195"/>
                <a:gd name="T22" fmla="*/ 508 w 540"/>
                <a:gd name="T23" fmla="*/ 89 h 195"/>
                <a:gd name="T24" fmla="*/ 295 w 540"/>
                <a:gd name="T25" fmla="*/ 65 h 195"/>
                <a:gd name="T26" fmla="*/ 346 w 540"/>
                <a:gd name="T27" fmla="*/ 62 h 195"/>
                <a:gd name="T28" fmla="*/ 339 w 540"/>
                <a:gd name="T29" fmla="*/ 59 h 195"/>
                <a:gd name="T30" fmla="*/ 300 w 540"/>
                <a:gd name="T31" fmla="*/ 57 h 195"/>
                <a:gd name="T32" fmla="*/ 285 w 540"/>
                <a:gd name="T33" fmla="*/ 80 h 195"/>
                <a:gd name="T34" fmla="*/ 282 w 540"/>
                <a:gd name="T35" fmla="*/ 112 h 195"/>
                <a:gd name="T36" fmla="*/ 295 w 540"/>
                <a:gd name="T37" fmla="*/ 135 h 195"/>
                <a:gd name="T38" fmla="*/ 302 w 540"/>
                <a:gd name="T39" fmla="*/ 104 h 195"/>
                <a:gd name="T40" fmla="*/ 316 w 540"/>
                <a:gd name="T41" fmla="*/ 127 h 195"/>
                <a:gd name="T42" fmla="*/ 321 w 540"/>
                <a:gd name="T43" fmla="*/ 115 h 195"/>
                <a:gd name="T44" fmla="*/ 315 w 540"/>
                <a:gd name="T45" fmla="*/ 103 h 195"/>
                <a:gd name="T46" fmla="*/ 331 w 540"/>
                <a:gd name="T47" fmla="*/ 81 h 195"/>
                <a:gd name="T48" fmla="*/ 300 w 540"/>
                <a:gd name="T49" fmla="*/ 87 h 195"/>
                <a:gd name="T50" fmla="*/ 180 w 540"/>
                <a:gd name="T51" fmla="*/ 55 h 195"/>
                <a:gd name="T52" fmla="*/ 233 w 540"/>
                <a:gd name="T53" fmla="*/ 42 h 195"/>
                <a:gd name="T54" fmla="*/ 260 w 540"/>
                <a:gd name="T55" fmla="*/ 20 h 195"/>
                <a:gd name="T56" fmla="*/ 264 w 540"/>
                <a:gd name="T57" fmla="*/ 44 h 195"/>
                <a:gd name="T58" fmla="*/ 266 w 540"/>
                <a:gd name="T59" fmla="*/ 59 h 195"/>
                <a:gd name="T60" fmla="*/ 248 w 540"/>
                <a:gd name="T61" fmla="*/ 91 h 195"/>
                <a:gd name="T62" fmla="*/ 247 w 540"/>
                <a:gd name="T63" fmla="*/ 106 h 195"/>
                <a:gd name="T64" fmla="*/ 221 w 540"/>
                <a:gd name="T65" fmla="*/ 111 h 195"/>
                <a:gd name="T66" fmla="*/ 199 w 540"/>
                <a:gd name="T67" fmla="*/ 114 h 195"/>
                <a:gd name="T68" fmla="*/ 179 w 540"/>
                <a:gd name="T69" fmla="*/ 106 h 195"/>
                <a:gd name="T70" fmla="*/ 177 w 540"/>
                <a:gd name="T71" fmla="*/ 72 h 195"/>
                <a:gd name="T72" fmla="*/ 164 w 540"/>
                <a:gd name="T73" fmla="*/ 55 h 195"/>
                <a:gd name="T74" fmla="*/ 343 w 540"/>
                <a:gd name="T75" fmla="*/ 183 h 195"/>
                <a:gd name="T76" fmla="*/ 290 w 540"/>
                <a:gd name="T77" fmla="*/ 169 h 195"/>
                <a:gd name="T78" fmla="*/ 324 w 540"/>
                <a:gd name="T79" fmla="*/ 171 h 195"/>
                <a:gd name="T80" fmla="*/ 290 w 540"/>
                <a:gd name="T81" fmla="*/ 176 h 195"/>
                <a:gd name="T82" fmla="*/ 268 w 540"/>
                <a:gd name="T83" fmla="*/ 178 h 195"/>
                <a:gd name="T84" fmla="*/ 267 w 540"/>
                <a:gd name="T85" fmla="*/ 168 h 195"/>
                <a:gd name="T86" fmla="*/ 242 w 540"/>
                <a:gd name="T87" fmla="*/ 171 h 195"/>
                <a:gd name="T88" fmla="*/ 229 w 540"/>
                <a:gd name="T89" fmla="*/ 172 h 195"/>
                <a:gd name="T90" fmla="*/ 504 w 540"/>
                <a:gd name="T91" fmla="*/ 169 h 195"/>
                <a:gd name="T92" fmla="*/ 497 w 540"/>
                <a:gd name="T93" fmla="*/ 169 h 195"/>
                <a:gd name="T94" fmla="*/ 150 w 540"/>
                <a:gd name="T95" fmla="*/ 144 h 195"/>
                <a:gd name="T96" fmla="*/ 198 w 540"/>
                <a:gd name="T97" fmla="*/ 150 h 195"/>
                <a:gd name="T98" fmla="*/ 223 w 540"/>
                <a:gd name="T99" fmla="*/ 169 h 195"/>
                <a:gd name="T100" fmla="*/ 185 w 540"/>
                <a:gd name="T101" fmla="*/ 168 h 195"/>
                <a:gd name="T102" fmla="*/ 135 w 540"/>
                <a:gd name="T103" fmla="*/ 159 h 195"/>
                <a:gd name="T104" fmla="*/ 0 w 540"/>
                <a:gd name="T105" fmla="*/ 5 h 195"/>
                <a:gd name="T106" fmla="*/ 40 w 540"/>
                <a:gd name="T107" fmla="*/ 47 h 195"/>
                <a:gd name="T108" fmla="*/ 66 w 540"/>
                <a:gd name="T109" fmla="*/ 96 h 195"/>
                <a:gd name="T110" fmla="*/ 111 w 540"/>
                <a:gd name="T111" fmla="*/ 141 h 195"/>
                <a:gd name="T112" fmla="*/ 127 w 540"/>
                <a:gd name="T113" fmla="*/ 116 h 195"/>
                <a:gd name="T114" fmla="*/ 112 w 540"/>
                <a:gd name="T115" fmla="*/ 91 h 195"/>
                <a:gd name="T116" fmla="*/ 102 w 540"/>
                <a:gd name="T117" fmla="*/ 67 h 195"/>
                <a:gd name="T118" fmla="*/ 77 w 540"/>
                <a:gd name="T119" fmla="*/ 50 h 195"/>
                <a:gd name="T120" fmla="*/ 43 w 540"/>
                <a:gd name="T121" fmla="*/ 21 h 195"/>
                <a:gd name="T122" fmla="*/ 2 w 540"/>
                <a:gd name="T12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0" h="195">
                  <a:moveTo>
                    <a:pt x="540" y="100"/>
                  </a:moveTo>
                  <a:lnTo>
                    <a:pt x="539" y="145"/>
                  </a:lnTo>
                  <a:lnTo>
                    <a:pt x="538" y="148"/>
                  </a:lnTo>
                  <a:lnTo>
                    <a:pt x="538" y="150"/>
                  </a:lnTo>
                  <a:lnTo>
                    <a:pt x="538" y="150"/>
                  </a:lnTo>
                  <a:lnTo>
                    <a:pt x="538" y="179"/>
                  </a:lnTo>
                  <a:lnTo>
                    <a:pt x="536" y="179"/>
                  </a:lnTo>
                  <a:lnTo>
                    <a:pt x="533" y="178"/>
                  </a:lnTo>
                  <a:lnTo>
                    <a:pt x="531" y="175"/>
                  </a:lnTo>
                  <a:lnTo>
                    <a:pt x="529" y="174"/>
                  </a:lnTo>
                  <a:lnTo>
                    <a:pt x="529" y="172"/>
                  </a:lnTo>
                  <a:lnTo>
                    <a:pt x="527" y="169"/>
                  </a:lnTo>
                  <a:lnTo>
                    <a:pt x="527" y="169"/>
                  </a:lnTo>
                  <a:lnTo>
                    <a:pt x="525" y="168"/>
                  </a:lnTo>
                  <a:lnTo>
                    <a:pt x="527" y="165"/>
                  </a:lnTo>
                  <a:lnTo>
                    <a:pt x="527" y="163"/>
                  </a:lnTo>
                  <a:lnTo>
                    <a:pt x="527" y="165"/>
                  </a:lnTo>
                  <a:lnTo>
                    <a:pt x="524" y="167"/>
                  </a:lnTo>
                  <a:lnTo>
                    <a:pt x="521" y="167"/>
                  </a:lnTo>
                  <a:lnTo>
                    <a:pt x="518" y="168"/>
                  </a:lnTo>
                  <a:lnTo>
                    <a:pt x="517" y="168"/>
                  </a:lnTo>
                  <a:lnTo>
                    <a:pt x="516" y="167"/>
                  </a:lnTo>
                  <a:lnTo>
                    <a:pt x="513" y="168"/>
                  </a:lnTo>
                  <a:lnTo>
                    <a:pt x="512" y="167"/>
                  </a:lnTo>
                  <a:lnTo>
                    <a:pt x="513" y="165"/>
                  </a:lnTo>
                  <a:lnTo>
                    <a:pt x="514" y="164"/>
                  </a:lnTo>
                  <a:lnTo>
                    <a:pt x="514" y="163"/>
                  </a:lnTo>
                  <a:lnTo>
                    <a:pt x="514" y="161"/>
                  </a:lnTo>
                  <a:lnTo>
                    <a:pt x="514" y="159"/>
                  </a:lnTo>
                  <a:lnTo>
                    <a:pt x="513" y="159"/>
                  </a:lnTo>
                  <a:lnTo>
                    <a:pt x="512" y="156"/>
                  </a:lnTo>
                  <a:lnTo>
                    <a:pt x="513" y="156"/>
                  </a:lnTo>
                  <a:lnTo>
                    <a:pt x="514" y="156"/>
                  </a:lnTo>
                  <a:lnTo>
                    <a:pt x="517" y="156"/>
                  </a:lnTo>
                  <a:lnTo>
                    <a:pt x="518" y="156"/>
                  </a:lnTo>
                  <a:lnTo>
                    <a:pt x="517" y="154"/>
                  </a:lnTo>
                  <a:lnTo>
                    <a:pt x="514" y="156"/>
                  </a:lnTo>
                  <a:lnTo>
                    <a:pt x="512" y="154"/>
                  </a:lnTo>
                  <a:lnTo>
                    <a:pt x="510" y="153"/>
                  </a:lnTo>
                  <a:lnTo>
                    <a:pt x="510" y="152"/>
                  </a:lnTo>
                  <a:lnTo>
                    <a:pt x="512" y="152"/>
                  </a:lnTo>
                  <a:lnTo>
                    <a:pt x="513" y="152"/>
                  </a:lnTo>
                  <a:lnTo>
                    <a:pt x="513" y="150"/>
                  </a:lnTo>
                  <a:lnTo>
                    <a:pt x="509" y="148"/>
                  </a:lnTo>
                  <a:lnTo>
                    <a:pt x="508" y="146"/>
                  </a:lnTo>
                  <a:lnTo>
                    <a:pt x="506" y="145"/>
                  </a:lnTo>
                  <a:lnTo>
                    <a:pt x="508" y="142"/>
                  </a:lnTo>
                  <a:lnTo>
                    <a:pt x="505" y="140"/>
                  </a:lnTo>
                  <a:lnTo>
                    <a:pt x="505" y="140"/>
                  </a:lnTo>
                  <a:lnTo>
                    <a:pt x="508" y="137"/>
                  </a:lnTo>
                  <a:lnTo>
                    <a:pt x="505" y="137"/>
                  </a:lnTo>
                  <a:lnTo>
                    <a:pt x="504" y="137"/>
                  </a:lnTo>
                  <a:lnTo>
                    <a:pt x="504" y="135"/>
                  </a:lnTo>
                  <a:lnTo>
                    <a:pt x="504" y="134"/>
                  </a:lnTo>
                  <a:lnTo>
                    <a:pt x="505" y="133"/>
                  </a:lnTo>
                  <a:lnTo>
                    <a:pt x="502" y="134"/>
                  </a:lnTo>
                  <a:lnTo>
                    <a:pt x="501" y="133"/>
                  </a:lnTo>
                  <a:lnTo>
                    <a:pt x="501" y="133"/>
                  </a:lnTo>
                  <a:lnTo>
                    <a:pt x="499" y="133"/>
                  </a:lnTo>
                  <a:lnTo>
                    <a:pt x="501" y="130"/>
                  </a:lnTo>
                  <a:lnTo>
                    <a:pt x="499" y="131"/>
                  </a:lnTo>
                  <a:lnTo>
                    <a:pt x="497" y="131"/>
                  </a:lnTo>
                  <a:lnTo>
                    <a:pt x="494" y="130"/>
                  </a:lnTo>
                  <a:lnTo>
                    <a:pt x="494" y="127"/>
                  </a:lnTo>
                  <a:lnTo>
                    <a:pt x="490" y="127"/>
                  </a:lnTo>
                  <a:lnTo>
                    <a:pt x="489" y="127"/>
                  </a:lnTo>
                  <a:lnTo>
                    <a:pt x="482" y="125"/>
                  </a:lnTo>
                  <a:lnTo>
                    <a:pt x="474" y="123"/>
                  </a:lnTo>
                  <a:lnTo>
                    <a:pt x="471" y="122"/>
                  </a:lnTo>
                  <a:lnTo>
                    <a:pt x="468" y="120"/>
                  </a:lnTo>
                  <a:lnTo>
                    <a:pt x="467" y="120"/>
                  </a:lnTo>
                  <a:lnTo>
                    <a:pt x="467" y="119"/>
                  </a:lnTo>
                  <a:lnTo>
                    <a:pt x="464" y="119"/>
                  </a:lnTo>
                  <a:lnTo>
                    <a:pt x="464" y="116"/>
                  </a:lnTo>
                  <a:lnTo>
                    <a:pt x="467" y="116"/>
                  </a:lnTo>
                  <a:lnTo>
                    <a:pt x="467" y="116"/>
                  </a:lnTo>
                  <a:lnTo>
                    <a:pt x="467" y="116"/>
                  </a:lnTo>
                  <a:lnTo>
                    <a:pt x="465" y="116"/>
                  </a:lnTo>
                  <a:lnTo>
                    <a:pt x="463" y="116"/>
                  </a:lnTo>
                  <a:lnTo>
                    <a:pt x="461" y="116"/>
                  </a:lnTo>
                  <a:lnTo>
                    <a:pt x="461" y="115"/>
                  </a:lnTo>
                  <a:lnTo>
                    <a:pt x="460" y="115"/>
                  </a:lnTo>
                  <a:lnTo>
                    <a:pt x="459" y="116"/>
                  </a:lnTo>
                  <a:lnTo>
                    <a:pt x="459" y="114"/>
                  </a:lnTo>
                  <a:lnTo>
                    <a:pt x="459" y="114"/>
                  </a:lnTo>
                  <a:lnTo>
                    <a:pt x="457" y="114"/>
                  </a:lnTo>
                  <a:lnTo>
                    <a:pt x="456" y="115"/>
                  </a:lnTo>
                  <a:lnTo>
                    <a:pt x="455" y="114"/>
                  </a:lnTo>
                  <a:lnTo>
                    <a:pt x="455" y="111"/>
                  </a:lnTo>
                  <a:lnTo>
                    <a:pt x="453" y="108"/>
                  </a:lnTo>
                  <a:lnTo>
                    <a:pt x="455" y="106"/>
                  </a:lnTo>
                  <a:lnTo>
                    <a:pt x="455" y="103"/>
                  </a:lnTo>
                  <a:lnTo>
                    <a:pt x="453" y="106"/>
                  </a:lnTo>
                  <a:lnTo>
                    <a:pt x="453" y="108"/>
                  </a:lnTo>
                  <a:lnTo>
                    <a:pt x="452" y="110"/>
                  </a:lnTo>
                  <a:lnTo>
                    <a:pt x="452" y="111"/>
                  </a:lnTo>
                  <a:lnTo>
                    <a:pt x="449" y="114"/>
                  </a:lnTo>
                  <a:lnTo>
                    <a:pt x="450" y="115"/>
                  </a:lnTo>
                  <a:lnTo>
                    <a:pt x="448" y="119"/>
                  </a:lnTo>
                  <a:lnTo>
                    <a:pt x="445" y="119"/>
                  </a:lnTo>
                  <a:lnTo>
                    <a:pt x="444" y="118"/>
                  </a:lnTo>
                  <a:lnTo>
                    <a:pt x="441" y="115"/>
                  </a:lnTo>
                  <a:lnTo>
                    <a:pt x="441" y="112"/>
                  </a:lnTo>
                  <a:lnTo>
                    <a:pt x="442" y="112"/>
                  </a:lnTo>
                  <a:lnTo>
                    <a:pt x="442" y="111"/>
                  </a:lnTo>
                  <a:lnTo>
                    <a:pt x="442" y="110"/>
                  </a:lnTo>
                  <a:lnTo>
                    <a:pt x="441" y="110"/>
                  </a:lnTo>
                  <a:lnTo>
                    <a:pt x="440" y="110"/>
                  </a:lnTo>
                  <a:lnTo>
                    <a:pt x="438" y="106"/>
                  </a:lnTo>
                  <a:lnTo>
                    <a:pt x="437" y="106"/>
                  </a:lnTo>
                  <a:lnTo>
                    <a:pt x="434" y="104"/>
                  </a:lnTo>
                  <a:lnTo>
                    <a:pt x="433" y="103"/>
                  </a:lnTo>
                  <a:lnTo>
                    <a:pt x="434" y="101"/>
                  </a:lnTo>
                  <a:lnTo>
                    <a:pt x="437" y="101"/>
                  </a:lnTo>
                  <a:lnTo>
                    <a:pt x="438" y="103"/>
                  </a:lnTo>
                  <a:lnTo>
                    <a:pt x="441" y="103"/>
                  </a:lnTo>
                  <a:lnTo>
                    <a:pt x="442" y="103"/>
                  </a:lnTo>
                  <a:lnTo>
                    <a:pt x="445" y="103"/>
                  </a:lnTo>
                  <a:lnTo>
                    <a:pt x="445" y="99"/>
                  </a:lnTo>
                  <a:lnTo>
                    <a:pt x="448" y="99"/>
                  </a:lnTo>
                  <a:lnTo>
                    <a:pt x="450" y="100"/>
                  </a:lnTo>
                  <a:lnTo>
                    <a:pt x="452" y="103"/>
                  </a:lnTo>
                  <a:lnTo>
                    <a:pt x="453" y="100"/>
                  </a:lnTo>
                  <a:lnTo>
                    <a:pt x="455" y="99"/>
                  </a:lnTo>
                  <a:lnTo>
                    <a:pt x="456" y="99"/>
                  </a:lnTo>
                  <a:lnTo>
                    <a:pt x="456" y="96"/>
                  </a:lnTo>
                  <a:lnTo>
                    <a:pt x="456" y="95"/>
                  </a:lnTo>
                  <a:lnTo>
                    <a:pt x="449" y="95"/>
                  </a:lnTo>
                  <a:lnTo>
                    <a:pt x="450" y="96"/>
                  </a:lnTo>
                  <a:lnTo>
                    <a:pt x="449" y="96"/>
                  </a:lnTo>
                  <a:lnTo>
                    <a:pt x="448" y="96"/>
                  </a:lnTo>
                  <a:lnTo>
                    <a:pt x="444" y="96"/>
                  </a:lnTo>
                  <a:lnTo>
                    <a:pt x="442" y="96"/>
                  </a:lnTo>
                  <a:lnTo>
                    <a:pt x="441" y="96"/>
                  </a:lnTo>
                  <a:lnTo>
                    <a:pt x="440" y="96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3" y="93"/>
                  </a:lnTo>
                  <a:lnTo>
                    <a:pt x="433" y="91"/>
                  </a:lnTo>
                  <a:lnTo>
                    <a:pt x="433" y="91"/>
                  </a:lnTo>
                  <a:lnTo>
                    <a:pt x="431" y="88"/>
                  </a:lnTo>
                  <a:lnTo>
                    <a:pt x="429" y="87"/>
                  </a:lnTo>
                  <a:lnTo>
                    <a:pt x="427" y="85"/>
                  </a:lnTo>
                  <a:lnTo>
                    <a:pt x="426" y="87"/>
                  </a:lnTo>
                  <a:lnTo>
                    <a:pt x="425" y="87"/>
                  </a:lnTo>
                  <a:lnTo>
                    <a:pt x="422" y="87"/>
                  </a:lnTo>
                  <a:lnTo>
                    <a:pt x="422" y="85"/>
                  </a:lnTo>
                  <a:lnTo>
                    <a:pt x="425" y="84"/>
                  </a:lnTo>
                  <a:lnTo>
                    <a:pt x="426" y="81"/>
                  </a:lnTo>
                  <a:lnTo>
                    <a:pt x="425" y="80"/>
                  </a:lnTo>
                  <a:lnTo>
                    <a:pt x="426" y="78"/>
                  </a:lnTo>
                  <a:lnTo>
                    <a:pt x="430" y="78"/>
                  </a:lnTo>
                  <a:lnTo>
                    <a:pt x="431" y="77"/>
                  </a:lnTo>
                  <a:lnTo>
                    <a:pt x="433" y="77"/>
                  </a:lnTo>
                  <a:lnTo>
                    <a:pt x="436" y="74"/>
                  </a:lnTo>
                  <a:lnTo>
                    <a:pt x="437" y="73"/>
                  </a:lnTo>
                  <a:lnTo>
                    <a:pt x="441" y="73"/>
                  </a:lnTo>
                  <a:lnTo>
                    <a:pt x="446" y="74"/>
                  </a:lnTo>
                  <a:lnTo>
                    <a:pt x="450" y="77"/>
                  </a:lnTo>
                  <a:lnTo>
                    <a:pt x="455" y="77"/>
                  </a:lnTo>
                  <a:lnTo>
                    <a:pt x="459" y="77"/>
                  </a:lnTo>
                  <a:lnTo>
                    <a:pt x="459" y="78"/>
                  </a:lnTo>
                  <a:lnTo>
                    <a:pt x="459" y="80"/>
                  </a:lnTo>
                  <a:lnTo>
                    <a:pt x="459" y="82"/>
                  </a:lnTo>
                  <a:lnTo>
                    <a:pt x="460" y="84"/>
                  </a:lnTo>
                  <a:lnTo>
                    <a:pt x="461" y="87"/>
                  </a:lnTo>
                  <a:lnTo>
                    <a:pt x="460" y="88"/>
                  </a:lnTo>
                  <a:lnTo>
                    <a:pt x="459" y="91"/>
                  </a:lnTo>
                  <a:lnTo>
                    <a:pt x="459" y="93"/>
                  </a:lnTo>
                  <a:lnTo>
                    <a:pt x="460" y="99"/>
                  </a:lnTo>
                  <a:lnTo>
                    <a:pt x="461" y="101"/>
                  </a:lnTo>
                  <a:lnTo>
                    <a:pt x="463" y="103"/>
                  </a:lnTo>
                  <a:lnTo>
                    <a:pt x="463" y="104"/>
                  </a:lnTo>
                  <a:lnTo>
                    <a:pt x="463" y="100"/>
                  </a:lnTo>
                  <a:lnTo>
                    <a:pt x="464" y="100"/>
                  </a:lnTo>
                  <a:lnTo>
                    <a:pt x="465" y="100"/>
                  </a:lnTo>
                  <a:lnTo>
                    <a:pt x="465" y="103"/>
                  </a:lnTo>
                  <a:lnTo>
                    <a:pt x="465" y="106"/>
                  </a:lnTo>
                  <a:lnTo>
                    <a:pt x="467" y="104"/>
                  </a:lnTo>
                  <a:lnTo>
                    <a:pt x="468" y="107"/>
                  </a:lnTo>
                  <a:lnTo>
                    <a:pt x="471" y="108"/>
                  </a:lnTo>
                  <a:lnTo>
                    <a:pt x="471" y="110"/>
                  </a:lnTo>
                  <a:lnTo>
                    <a:pt x="474" y="110"/>
                  </a:lnTo>
                  <a:lnTo>
                    <a:pt x="476" y="110"/>
                  </a:lnTo>
                  <a:lnTo>
                    <a:pt x="476" y="107"/>
                  </a:lnTo>
                  <a:lnTo>
                    <a:pt x="478" y="106"/>
                  </a:lnTo>
                  <a:lnTo>
                    <a:pt x="479" y="106"/>
                  </a:lnTo>
                  <a:lnTo>
                    <a:pt x="479" y="103"/>
                  </a:lnTo>
                  <a:lnTo>
                    <a:pt x="480" y="100"/>
                  </a:lnTo>
                  <a:lnTo>
                    <a:pt x="483" y="100"/>
                  </a:lnTo>
                  <a:lnTo>
                    <a:pt x="484" y="99"/>
                  </a:lnTo>
                  <a:lnTo>
                    <a:pt x="486" y="96"/>
                  </a:lnTo>
                  <a:lnTo>
                    <a:pt x="486" y="95"/>
                  </a:lnTo>
                  <a:lnTo>
                    <a:pt x="487" y="96"/>
                  </a:lnTo>
                  <a:lnTo>
                    <a:pt x="489" y="96"/>
                  </a:lnTo>
                  <a:lnTo>
                    <a:pt x="491" y="95"/>
                  </a:lnTo>
                  <a:lnTo>
                    <a:pt x="494" y="95"/>
                  </a:lnTo>
                  <a:lnTo>
                    <a:pt x="494" y="93"/>
                  </a:lnTo>
                  <a:lnTo>
                    <a:pt x="494" y="91"/>
                  </a:lnTo>
                  <a:lnTo>
                    <a:pt x="494" y="89"/>
                  </a:lnTo>
                  <a:lnTo>
                    <a:pt x="499" y="87"/>
                  </a:lnTo>
                  <a:lnTo>
                    <a:pt x="502" y="87"/>
                  </a:lnTo>
                  <a:lnTo>
                    <a:pt x="505" y="88"/>
                  </a:lnTo>
                  <a:lnTo>
                    <a:pt x="508" y="89"/>
                  </a:lnTo>
                  <a:lnTo>
                    <a:pt x="512" y="91"/>
                  </a:lnTo>
                  <a:lnTo>
                    <a:pt x="514" y="92"/>
                  </a:lnTo>
                  <a:lnTo>
                    <a:pt x="517" y="93"/>
                  </a:lnTo>
                  <a:lnTo>
                    <a:pt x="520" y="93"/>
                  </a:lnTo>
                  <a:lnTo>
                    <a:pt x="527" y="96"/>
                  </a:lnTo>
                  <a:lnTo>
                    <a:pt x="528" y="96"/>
                  </a:lnTo>
                  <a:lnTo>
                    <a:pt x="529" y="96"/>
                  </a:lnTo>
                  <a:lnTo>
                    <a:pt x="532" y="97"/>
                  </a:lnTo>
                  <a:lnTo>
                    <a:pt x="535" y="97"/>
                  </a:lnTo>
                  <a:lnTo>
                    <a:pt x="536" y="99"/>
                  </a:lnTo>
                  <a:lnTo>
                    <a:pt x="536" y="99"/>
                  </a:lnTo>
                  <a:lnTo>
                    <a:pt x="536" y="100"/>
                  </a:lnTo>
                  <a:lnTo>
                    <a:pt x="538" y="101"/>
                  </a:lnTo>
                  <a:lnTo>
                    <a:pt x="540" y="100"/>
                  </a:lnTo>
                  <a:lnTo>
                    <a:pt x="540" y="100"/>
                  </a:lnTo>
                  <a:lnTo>
                    <a:pt x="540" y="100"/>
                  </a:lnTo>
                  <a:close/>
                  <a:moveTo>
                    <a:pt x="295" y="65"/>
                  </a:moveTo>
                  <a:lnTo>
                    <a:pt x="298" y="63"/>
                  </a:lnTo>
                  <a:lnTo>
                    <a:pt x="302" y="65"/>
                  </a:lnTo>
                  <a:lnTo>
                    <a:pt x="306" y="65"/>
                  </a:lnTo>
                  <a:lnTo>
                    <a:pt x="310" y="63"/>
                  </a:lnTo>
                  <a:lnTo>
                    <a:pt x="313" y="63"/>
                  </a:lnTo>
                  <a:lnTo>
                    <a:pt x="313" y="65"/>
                  </a:lnTo>
                  <a:lnTo>
                    <a:pt x="316" y="65"/>
                  </a:lnTo>
                  <a:lnTo>
                    <a:pt x="317" y="63"/>
                  </a:lnTo>
                  <a:lnTo>
                    <a:pt x="323" y="65"/>
                  </a:lnTo>
                  <a:lnTo>
                    <a:pt x="325" y="65"/>
                  </a:lnTo>
                  <a:lnTo>
                    <a:pt x="325" y="63"/>
                  </a:lnTo>
                  <a:lnTo>
                    <a:pt x="328" y="63"/>
                  </a:lnTo>
                  <a:lnTo>
                    <a:pt x="331" y="65"/>
                  </a:lnTo>
                  <a:lnTo>
                    <a:pt x="331" y="66"/>
                  </a:lnTo>
                  <a:lnTo>
                    <a:pt x="334" y="66"/>
                  </a:lnTo>
                  <a:lnTo>
                    <a:pt x="342" y="65"/>
                  </a:lnTo>
                  <a:lnTo>
                    <a:pt x="346" y="62"/>
                  </a:lnTo>
                  <a:lnTo>
                    <a:pt x="347" y="61"/>
                  </a:lnTo>
                  <a:lnTo>
                    <a:pt x="348" y="59"/>
                  </a:lnTo>
                  <a:lnTo>
                    <a:pt x="350" y="58"/>
                  </a:lnTo>
                  <a:lnTo>
                    <a:pt x="351" y="57"/>
                  </a:lnTo>
                  <a:lnTo>
                    <a:pt x="353" y="55"/>
                  </a:lnTo>
                  <a:lnTo>
                    <a:pt x="353" y="54"/>
                  </a:lnTo>
                  <a:lnTo>
                    <a:pt x="354" y="53"/>
                  </a:lnTo>
                  <a:lnTo>
                    <a:pt x="353" y="51"/>
                  </a:lnTo>
                  <a:lnTo>
                    <a:pt x="353" y="50"/>
                  </a:lnTo>
                  <a:lnTo>
                    <a:pt x="350" y="50"/>
                  </a:lnTo>
                  <a:lnTo>
                    <a:pt x="347" y="50"/>
                  </a:lnTo>
                  <a:lnTo>
                    <a:pt x="347" y="53"/>
                  </a:lnTo>
                  <a:lnTo>
                    <a:pt x="344" y="54"/>
                  </a:lnTo>
                  <a:lnTo>
                    <a:pt x="344" y="55"/>
                  </a:lnTo>
                  <a:lnTo>
                    <a:pt x="343" y="57"/>
                  </a:lnTo>
                  <a:lnTo>
                    <a:pt x="340" y="57"/>
                  </a:lnTo>
                  <a:lnTo>
                    <a:pt x="339" y="59"/>
                  </a:lnTo>
                  <a:lnTo>
                    <a:pt x="336" y="59"/>
                  </a:lnTo>
                  <a:lnTo>
                    <a:pt x="331" y="58"/>
                  </a:lnTo>
                  <a:lnTo>
                    <a:pt x="327" y="58"/>
                  </a:lnTo>
                  <a:lnTo>
                    <a:pt x="325" y="59"/>
                  </a:lnTo>
                  <a:lnTo>
                    <a:pt x="324" y="59"/>
                  </a:lnTo>
                  <a:lnTo>
                    <a:pt x="323" y="58"/>
                  </a:lnTo>
                  <a:lnTo>
                    <a:pt x="320" y="57"/>
                  </a:lnTo>
                  <a:lnTo>
                    <a:pt x="319" y="57"/>
                  </a:lnTo>
                  <a:lnTo>
                    <a:pt x="316" y="57"/>
                  </a:lnTo>
                  <a:lnTo>
                    <a:pt x="313" y="57"/>
                  </a:lnTo>
                  <a:lnTo>
                    <a:pt x="312" y="57"/>
                  </a:lnTo>
                  <a:lnTo>
                    <a:pt x="309" y="57"/>
                  </a:lnTo>
                  <a:lnTo>
                    <a:pt x="308" y="54"/>
                  </a:lnTo>
                  <a:lnTo>
                    <a:pt x="304" y="54"/>
                  </a:lnTo>
                  <a:lnTo>
                    <a:pt x="302" y="54"/>
                  </a:lnTo>
                  <a:lnTo>
                    <a:pt x="302" y="57"/>
                  </a:lnTo>
                  <a:lnTo>
                    <a:pt x="300" y="57"/>
                  </a:lnTo>
                  <a:lnTo>
                    <a:pt x="300" y="59"/>
                  </a:lnTo>
                  <a:lnTo>
                    <a:pt x="298" y="61"/>
                  </a:lnTo>
                  <a:lnTo>
                    <a:pt x="294" y="59"/>
                  </a:lnTo>
                  <a:lnTo>
                    <a:pt x="291" y="61"/>
                  </a:lnTo>
                  <a:lnTo>
                    <a:pt x="290" y="62"/>
                  </a:lnTo>
                  <a:lnTo>
                    <a:pt x="291" y="62"/>
                  </a:lnTo>
                  <a:lnTo>
                    <a:pt x="287" y="65"/>
                  </a:lnTo>
                  <a:lnTo>
                    <a:pt x="287" y="69"/>
                  </a:lnTo>
                  <a:lnTo>
                    <a:pt x="289" y="70"/>
                  </a:lnTo>
                  <a:lnTo>
                    <a:pt x="289" y="74"/>
                  </a:lnTo>
                  <a:lnTo>
                    <a:pt x="287" y="76"/>
                  </a:lnTo>
                  <a:lnTo>
                    <a:pt x="289" y="78"/>
                  </a:lnTo>
                  <a:lnTo>
                    <a:pt x="289" y="81"/>
                  </a:lnTo>
                  <a:lnTo>
                    <a:pt x="289" y="80"/>
                  </a:lnTo>
                  <a:lnTo>
                    <a:pt x="287" y="78"/>
                  </a:lnTo>
                  <a:lnTo>
                    <a:pt x="286" y="78"/>
                  </a:lnTo>
                  <a:lnTo>
                    <a:pt x="285" y="80"/>
                  </a:lnTo>
                  <a:lnTo>
                    <a:pt x="283" y="81"/>
                  </a:lnTo>
                  <a:lnTo>
                    <a:pt x="282" y="84"/>
                  </a:lnTo>
                  <a:lnTo>
                    <a:pt x="283" y="87"/>
                  </a:lnTo>
                  <a:lnTo>
                    <a:pt x="282" y="88"/>
                  </a:lnTo>
                  <a:lnTo>
                    <a:pt x="282" y="93"/>
                  </a:lnTo>
                  <a:lnTo>
                    <a:pt x="282" y="93"/>
                  </a:lnTo>
                  <a:lnTo>
                    <a:pt x="282" y="96"/>
                  </a:lnTo>
                  <a:lnTo>
                    <a:pt x="281" y="96"/>
                  </a:lnTo>
                  <a:lnTo>
                    <a:pt x="281" y="100"/>
                  </a:lnTo>
                  <a:lnTo>
                    <a:pt x="278" y="101"/>
                  </a:lnTo>
                  <a:lnTo>
                    <a:pt x="276" y="104"/>
                  </a:lnTo>
                  <a:lnTo>
                    <a:pt x="276" y="106"/>
                  </a:lnTo>
                  <a:lnTo>
                    <a:pt x="276" y="107"/>
                  </a:lnTo>
                  <a:lnTo>
                    <a:pt x="278" y="111"/>
                  </a:lnTo>
                  <a:lnTo>
                    <a:pt x="279" y="112"/>
                  </a:lnTo>
                  <a:lnTo>
                    <a:pt x="279" y="112"/>
                  </a:lnTo>
                  <a:lnTo>
                    <a:pt x="282" y="112"/>
                  </a:lnTo>
                  <a:lnTo>
                    <a:pt x="282" y="111"/>
                  </a:lnTo>
                  <a:lnTo>
                    <a:pt x="283" y="112"/>
                  </a:lnTo>
                  <a:lnTo>
                    <a:pt x="285" y="115"/>
                  </a:lnTo>
                  <a:lnTo>
                    <a:pt x="286" y="120"/>
                  </a:lnTo>
                  <a:lnTo>
                    <a:pt x="286" y="122"/>
                  </a:lnTo>
                  <a:lnTo>
                    <a:pt x="285" y="125"/>
                  </a:lnTo>
                  <a:lnTo>
                    <a:pt x="283" y="127"/>
                  </a:lnTo>
                  <a:lnTo>
                    <a:pt x="283" y="133"/>
                  </a:lnTo>
                  <a:lnTo>
                    <a:pt x="283" y="137"/>
                  </a:lnTo>
                  <a:lnTo>
                    <a:pt x="285" y="137"/>
                  </a:lnTo>
                  <a:lnTo>
                    <a:pt x="286" y="137"/>
                  </a:lnTo>
                  <a:lnTo>
                    <a:pt x="289" y="137"/>
                  </a:lnTo>
                  <a:lnTo>
                    <a:pt x="290" y="135"/>
                  </a:lnTo>
                  <a:lnTo>
                    <a:pt x="291" y="137"/>
                  </a:lnTo>
                  <a:lnTo>
                    <a:pt x="294" y="135"/>
                  </a:lnTo>
                  <a:lnTo>
                    <a:pt x="295" y="137"/>
                  </a:lnTo>
                  <a:lnTo>
                    <a:pt x="295" y="135"/>
                  </a:lnTo>
                  <a:lnTo>
                    <a:pt x="295" y="133"/>
                  </a:lnTo>
                  <a:lnTo>
                    <a:pt x="294" y="131"/>
                  </a:lnTo>
                  <a:lnTo>
                    <a:pt x="294" y="129"/>
                  </a:lnTo>
                  <a:lnTo>
                    <a:pt x="294" y="126"/>
                  </a:lnTo>
                  <a:lnTo>
                    <a:pt x="295" y="123"/>
                  </a:lnTo>
                  <a:lnTo>
                    <a:pt x="295" y="119"/>
                  </a:lnTo>
                  <a:lnTo>
                    <a:pt x="294" y="118"/>
                  </a:lnTo>
                  <a:lnTo>
                    <a:pt x="297" y="115"/>
                  </a:lnTo>
                  <a:lnTo>
                    <a:pt x="297" y="112"/>
                  </a:lnTo>
                  <a:lnTo>
                    <a:pt x="297" y="108"/>
                  </a:lnTo>
                  <a:lnTo>
                    <a:pt x="294" y="107"/>
                  </a:lnTo>
                  <a:lnTo>
                    <a:pt x="294" y="106"/>
                  </a:lnTo>
                  <a:lnTo>
                    <a:pt x="297" y="104"/>
                  </a:lnTo>
                  <a:lnTo>
                    <a:pt x="298" y="103"/>
                  </a:lnTo>
                  <a:lnTo>
                    <a:pt x="301" y="101"/>
                  </a:lnTo>
                  <a:lnTo>
                    <a:pt x="304" y="103"/>
                  </a:lnTo>
                  <a:lnTo>
                    <a:pt x="302" y="104"/>
                  </a:lnTo>
                  <a:lnTo>
                    <a:pt x="304" y="106"/>
                  </a:lnTo>
                  <a:lnTo>
                    <a:pt x="304" y="108"/>
                  </a:lnTo>
                  <a:lnTo>
                    <a:pt x="302" y="111"/>
                  </a:lnTo>
                  <a:lnTo>
                    <a:pt x="301" y="112"/>
                  </a:lnTo>
                  <a:lnTo>
                    <a:pt x="302" y="115"/>
                  </a:lnTo>
                  <a:lnTo>
                    <a:pt x="305" y="115"/>
                  </a:lnTo>
                  <a:lnTo>
                    <a:pt x="306" y="116"/>
                  </a:lnTo>
                  <a:lnTo>
                    <a:pt x="309" y="118"/>
                  </a:lnTo>
                  <a:lnTo>
                    <a:pt x="309" y="120"/>
                  </a:lnTo>
                  <a:lnTo>
                    <a:pt x="308" y="120"/>
                  </a:lnTo>
                  <a:lnTo>
                    <a:pt x="308" y="125"/>
                  </a:lnTo>
                  <a:lnTo>
                    <a:pt x="308" y="127"/>
                  </a:lnTo>
                  <a:lnTo>
                    <a:pt x="310" y="127"/>
                  </a:lnTo>
                  <a:lnTo>
                    <a:pt x="312" y="127"/>
                  </a:lnTo>
                  <a:lnTo>
                    <a:pt x="315" y="129"/>
                  </a:lnTo>
                  <a:lnTo>
                    <a:pt x="316" y="129"/>
                  </a:lnTo>
                  <a:lnTo>
                    <a:pt x="316" y="127"/>
                  </a:lnTo>
                  <a:lnTo>
                    <a:pt x="315" y="126"/>
                  </a:lnTo>
                  <a:lnTo>
                    <a:pt x="317" y="123"/>
                  </a:lnTo>
                  <a:lnTo>
                    <a:pt x="319" y="123"/>
                  </a:lnTo>
                  <a:lnTo>
                    <a:pt x="321" y="122"/>
                  </a:lnTo>
                  <a:lnTo>
                    <a:pt x="325" y="122"/>
                  </a:lnTo>
                  <a:lnTo>
                    <a:pt x="327" y="120"/>
                  </a:lnTo>
                  <a:lnTo>
                    <a:pt x="328" y="120"/>
                  </a:lnTo>
                  <a:lnTo>
                    <a:pt x="329" y="120"/>
                  </a:lnTo>
                  <a:lnTo>
                    <a:pt x="329" y="119"/>
                  </a:lnTo>
                  <a:lnTo>
                    <a:pt x="329" y="118"/>
                  </a:lnTo>
                  <a:lnTo>
                    <a:pt x="327" y="118"/>
                  </a:lnTo>
                  <a:lnTo>
                    <a:pt x="325" y="118"/>
                  </a:lnTo>
                  <a:lnTo>
                    <a:pt x="325" y="118"/>
                  </a:lnTo>
                  <a:lnTo>
                    <a:pt x="323" y="118"/>
                  </a:lnTo>
                  <a:lnTo>
                    <a:pt x="323" y="116"/>
                  </a:lnTo>
                  <a:lnTo>
                    <a:pt x="321" y="116"/>
                  </a:lnTo>
                  <a:lnTo>
                    <a:pt x="321" y="115"/>
                  </a:lnTo>
                  <a:lnTo>
                    <a:pt x="320" y="115"/>
                  </a:lnTo>
                  <a:lnTo>
                    <a:pt x="320" y="115"/>
                  </a:lnTo>
                  <a:lnTo>
                    <a:pt x="320" y="115"/>
                  </a:lnTo>
                  <a:lnTo>
                    <a:pt x="317" y="114"/>
                  </a:lnTo>
                  <a:lnTo>
                    <a:pt x="317" y="112"/>
                  </a:lnTo>
                  <a:lnTo>
                    <a:pt x="319" y="111"/>
                  </a:lnTo>
                  <a:lnTo>
                    <a:pt x="319" y="110"/>
                  </a:lnTo>
                  <a:lnTo>
                    <a:pt x="320" y="111"/>
                  </a:lnTo>
                  <a:lnTo>
                    <a:pt x="319" y="108"/>
                  </a:lnTo>
                  <a:lnTo>
                    <a:pt x="320" y="108"/>
                  </a:lnTo>
                  <a:lnTo>
                    <a:pt x="320" y="107"/>
                  </a:lnTo>
                  <a:lnTo>
                    <a:pt x="319" y="107"/>
                  </a:lnTo>
                  <a:lnTo>
                    <a:pt x="317" y="106"/>
                  </a:lnTo>
                  <a:lnTo>
                    <a:pt x="319" y="104"/>
                  </a:lnTo>
                  <a:lnTo>
                    <a:pt x="317" y="104"/>
                  </a:lnTo>
                  <a:lnTo>
                    <a:pt x="316" y="103"/>
                  </a:lnTo>
                  <a:lnTo>
                    <a:pt x="315" y="103"/>
                  </a:lnTo>
                  <a:lnTo>
                    <a:pt x="315" y="100"/>
                  </a:lnTo>
                  <a:lnTo>
                    <a:pt x="310" y="96"/>
                  </a:lnTo>
                  <a:lnTo>
                    <a:pt x="309" y="95"/>
                  </a:lnTo>
                  <a:lnTo>
                    <a:pt x="308" y="93"/>
                  </a:lnTo>
                  <a:lnTo>
                    <a:pt x="308" y="92"/>
                  </a:lnTo>
                  <a:lnTo>
                    <a:pt x="309" y="92"/>
                  </a:lnTo>
                  <a:lnTo>
                    <a:pt x="309" y="93"/>
                  </a:lnTo>
                  <a:lnTo>
                    <a:pt x="312" y="93"/>
                  </a:lnTo>
                  <a:lnTo>
                    <a:pt x="313" y="92"/>
                  </a:lnTo>
                  <a:lnTo>
                    <a:pt x="313" y="91"/>
                  </a:lnTo>
                  <a:lnTo>
                    <a:pt x="319" y="89"/>
                  </a:lnTo>
                  <a:lnTo>
                    <a:pt x="321" y="87"/>
                  </a:lnTo>
                  <a:lnTo>
                    <a:pt x="324" y="84"/>
                  </a:lnTo>
                  <a:lnTo>
                    <a:pt x="325" y="82"/>
                  </a:lnTo>
                  <a:lnTo>
                    <a:pt x="325" y="81"/>
                  </a:lnTo>
                  <a:lnTo>
                    <a:pt x="328" y="80"/>
                  </a:lnTo>
                  <a:lnTo>
                    <a:pt x="331" y="81"/>
                  </a:lnTo>
                  <a:lnTo>
                    <a:pt x="332" y="81"/>
                  </a:lnTo>
                  <a:lnTo>
                    <a:pt x="334" y="78"/>
                  </a:lnTo>
                  <a:lnTo>
                    <a:pt x="334" y="77"/>
                  </a:lnTo>
                  <a:lnTo>
                    <a:pt x="331" y="76"/>
                  </a:lnTo>
                  <a:lnTo>
                    <a:pt x="327" y="77"/>
                  </a:lnTo>
                  <a:lnTo>
                    <a:pt x="324" y="78"/>
                  </a:lnTo>
                  <a:lnTo>
                    <a:pt x="320" y="78"/>
                  </a:lnTo>
                  <a:lnTo>
                    <a:pt x="319" y="78"/>
                  </a:lnTo>
                  <a:lnTo>
                    <a:pt x="317" y="81"/>
                  </a:lnTo>
                  <a:lnTo>
                    <a:pt x="315" y="80"/>
                  </a:lnTo>
                  <a:lnTo>
                    <a:pt x="313" y="81"/>
                  </a:lnTo>
                  <a:lnTo>
                    <a:pt x="310" y="80"/>
                  </a:lnTo>
                  <a:lnTo>
                    <a:pt x="309" y="78"/>
                  </a:lnTo>
                  <a:lnTo>
                    <a:pt x="306" y="82"/>
                  </a:lnTo>
                  <a:lnTo>
                    <a:pt x="305" y="85"/>
                  </a:lnTo>
                  <a:lnTo>
                    <a:pt x="302" y="87"/>
                  </a:lnTo>
                  <a:lnTo>
                    <a:pt x="300" y="87"/>
                  </a:lnTo>
                  <a:lnTo>
                    <a:pt x="300" y="85"/>
                  </a:lnTo>
                  <a:lnTo>
                    <a:pt x="297" y="82"/>
                  </a:lnTo>
                  <a:lnTo>
                    <a:pt x="293" y="80"/>
                  </a:lnTo>
                  <a:lnTo>
                    <a:pt x="291" y="76"/>
                  </a:lnTo>
                  <a:lnTo>
                    <a:pt x="293" y="70"/>
                  </a:lnTo>
                  <a:lnTo>
                    <a:pt x="294" y="66"/>
                  </a:lnTo>
                  <a:lnTo>
                    <a:pt x="295" y="65"/>
                  </a:lnTo>
                  <a:lnTo>
                    <a:pt x="295" y="65"/>
                  </a:lnTo>
                  <a:close/>
                  <a:moveTo>
                    <a:pt x="164" y="55"/>
                  </a:moveTo>
                  <a:lnTo>
                    <a:pt x="165" y="51"/>
                  </a:lnTo>
                  <a:lnTo>
                    <a:pt x="168" y="48"/>
                  </a:lnTo>
                  <a:lnTo>
                    <a:pt x="169" y="46"/>
                  </a:lnTo>
                  <a:lnTo>
                    <a:pt x="172" y="46"/>
                  </a:lnTo>
                  <a:lnTo>
                    <a:pt x="173" y="50"/>
                  </a:lnTo>
                  <a:lnTo>
                    <a:pt x="177" y="53"/>
                  </a:lnTo>
                  <a:lnTo>
                    <a:pt x="177" y="54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3" y="58"/>
                  </a:lnTo>
                  <a:lnTo>
                    <a:pt x="187" y="57"/>
                  </a:lnTo>
                  <a:lnTo>
                    <a:pt x="187" y="55"/>
                  </a:lnTo>
                  <a:lnTo>
                    <a:pt x="189" y="57"/>
                  </a:lnTo>
                  <a:lnTo>
                    <a:pt x="191" y="55"/>
                  </a:lnTo>
                  <a:lnTo>
                    <a:pt x="198" y="55"/>
                  </a:lnTo>
                  <a:lnTo>
                    <a:pt x="204" y="53"/>
                  </a:lnTo>
                  <a:lnTo>
                    <a:pt x="206" y="51"/>
                  </a:lnTo>
                  <a:lnTo>
                    <a:pt x="211" y="51"/>
                  </a:lnTo>
                  <a:lnTo>
                    <a:pt x="215" y="53"/>
                  </a:lnTo>
                  <a:lnTo>
                    <a:pt x="215" y="54"/>
                  </a:lnTo>
                  <a:lnTo>
                    <a:pt x="218" y="54"/>
                  </a:lnTo>
                  <a:lnTo>
                    <a:pt x="223" y="51"/>
                  </a:lnTo>
                  <a:lnTo>
                    <a:pt x="229" y="50"/>
                  </a:lnTo>
                  <a:lnTo>
                    <a:pt x="229" y="48"/>
                  </a:lnTo>
                  <a:lnTo>
                    <a:pt x="233" y="42"/>
                  </a:lnTo>
                  <a:lnTo>
                    <a:pt x="236" y="36"/>
                  </a:lnTo>
                  <a:lnTo>
                    <a:pt x="238" y="31"/>
                  </a:lnTo>
                  <a:lnTo>
                    <a:pt x="241" y="23"/>
                  </a:lnTo>
                  <a:lnTo>
                    <a:pt x="241" y="21"/>
                  </a:lnTo>
                  <a:lnTo>
                    <a:pt x="242" y="19"/>
                  </a:lnTo>
                  <a:lnTo>
                    <a:pt x="242" y="17"/>
                  </a:lnTo>
                  <a:lnTo>
                    <a:pt x="245" y="14"/>
                  </a:lnTo>
                  <a:lnTo>
                    <a:pt x="247" y="14"/>
                  </a:lnTo>
                  <a:lnTo>
                    <a:pt x="251" y="14"/>
                  </a:lnTo>
                  <a:lnTo>
                    <a:pt x="255" y="14"/>
                  </a:lnTo>
                  <a:lnTo>
                    <a:pt x="256" y="16"/>
                  </a:lnTo>
                  <a:lnTo>
                    <a:pt x="260" y="16"/>
                  </a:lnTo>
                  <a:lnTo>
                    <a:pt x="263" y="16"/>
                  </a:lnTo>
                  <a:lnTo>
                    <a:pt x="263" y="17"/>
                  </a:lnTo>
                  <a:lnTo>
                    <a:pt x="261" y="17"/>
                  </a:lnTo>
                  <a:lnTo>
                    <a:pt x="261" y="19"/>
                  </a:lnTo>
                  <a:lnTo>
                    <a:pt x="260" y="20"/>
                  </a:lnTo>
                  <a:lnTo>
                    <a:pt x="263" y="20"/>
                  </a:lnTo>
                  <a:lnTo>
                    <a:pt x="266" y="23"/>
                  </a:lnTo>
                  <a:lnTo>
                    <a:pt x="263" y="24"/>
                  </a:lnTo>
                  <a:lnTo>
                    <a:pt x="260" y="24"/>
                  </a:lnTo>
                  <a:lnTo>
                    <a:pt x="259" y="24"/>
                  </a:lnTo>
                  <a:lnTo>
                    <a:pt x="260" y="27"/>
                  </a:lnTo>
                  <a:lnTo>
                    <a:pt x="261" y="27"/>
                  </a:lnTo>
                  <a:lnTo>
                    <a:pt x="261" y="28"/>
                  </a:lnTo>
                  <a:lnTo>
                    <a:pt x="261" y="28"/>
                  </a:lnTo>
                  <a:lnTo>
                    <a:pt x="260" y="31"/>
                  </a:lnTo>
                  <a:lnTo>
                    <a:pt x="261" y="32"/>
                  </a:lnTo>
                  <a:lnTo>
                    <a:pt x="263" y="35"/>
                  </a:lnTo>
                  <a:lnTo>
                    <a:pt x="267" y="39"/>
                  </a:lnTo>
                  <a:lnTo>
                    <a:pt x="268" y="40"/>
                  </a:lnTo>
                  <a:lnTo>
                    <a:pt x="267" y="42"/>
                  </a:lnTo>
                  <a:lnTo>
                    <a:pt x="264" y="43"/>
                  </a:lnTo>
                  <a:lnTo>
                    <a:pt x="264" y="44"/>
                  </a:lnTo>
                  <a:lnTo>
                    <a:pt x="266" y="44"/>
                  </a:lnTo>
                  <a:lnTo>
                    <a:pt x="266" y="47"/>
                  </a:lnTo>
                  <a:lnTo>
                    <a:pt x="267" y="48"/>
                  </a:lnTo>
                  <a:lnTo>
                    <a:pt x="272" y="53"/>
                  </a:lnTo>
                  <a:lnTo>
                    <a:pt x="274" y="53"/>
                  </a:lnTo>
                  <a:lnTo>
                    <a:pt x="276" y="55"/>
                  </a:lnTo>
                  <a:lnTo>
                    <a:pt x="276" y="57"/>
                  </a:lnTo>
                  <a:lnTo>
                    <a:pt x="278" y="57"/>
                  </a:lnTo>
                  <a:lnTo>
                    <a:pt x="278" y="59"/>
                  </a:lnTo>
                  <a:lnTo>
                    <a:pt x="276" y="59"/>
                  </a:lnTo>
                  <a:lnTo>
                    <a:pt x="275" y="59"/>
                  </a:lnTo>
                  <a:lnTo>
                    <a:pt x="272" y="61"/>
                  </a:lnTo>
                  <a:lnTo>
                    <a:pt x="271" y="59"/>
                  </a:lnTo>
                  <a:lnTo>
                    <a:pt x="267" y="57"/>
                  </a:lnTo>
                  <a:lnTo>
                    <a:pt x="267" y="59"/>
                  </a:lnTo>
                  <a:lnTo>
                    <a:pt x="267" y="61"/>
                  </a:lnTo>
                  <a:lnTo>
                    <a:pt x="266" y="59"/>
                  </a:lnTo>
                  <a:lnTo>
                    <a:pt x="263" y="62"/>
                  </a:lnTo>
                  <a:lnTo>
                    <a:pt x="263" y="63"/>
                  </a:lnTo>
                  <a:lnTo>
                    <a:pt x="261" y="65"/>
                  </a:lnTo>
                  <a:lnTo>
                    <a:pt x="261" y="69"/>
                  </a:lnTo>
                  <a:lnTo>
                    <a:pt x="260" y="70"/>
                  </a:lnTo>
                  <a:lnTo>
                    <a:pt x="260" y="74"/>
                  </a:lnTo>
                  <a:lnTo>
                    <a:pt x="256" y="77"/>
                  </a:lnTo>
                  <a:lnTo>
                    <a:pt x="257" y="80"/>
                  </a:lnTo>
                  <a:lnTo>
                    <a:pt x="256" y="82"/>
                  </a:lnTo>
                  <a:lnTo>
                    <a:pt x="255" y="84"/>
                  </a:lnTo>
                  <a:lnTo>
                    <a:pt x="253" y="82"/>
                  </a:lnTo>
                  <a:lnTo>
                    <a:pt x="252" y="81"/>
                  </a:lnTo>
                  <a:lnTo>
                    <a:pt x="253" y="82"/>
                  </a:lnTo>
                  <a:lnTo>
                    <a:pt x="252" y="85"/>
                  </a:lnTo>
                  <a:lnTo>
                    <a:pt x="251" y="88"/>
                  </a:lnTo>
                  <a:lnTo>
                    <a:pt x="251" y="89"/>
                  </a:lnTo>
                  <a:lnTo>
                    <a:pt x="248" y="91"/>
                  </a:lnTo>
                  <a:lnTo>
                    <a:pt x="247" y="91"/>
                  </a:lnTo>
                  <a:lnTo>
                    <a:pt x="247" y="92"/>
                  </a:lnTo>
                  <a:lnTo>
                    <a:pt x="247" y="93"/>
                  </a:lnTo>
                  <a:lnTo>
                    <a:pt x="249" y="92"/>
                  </a:lnTo>
                  <a:lnTo>
                    <a:pt x="249" y="93"/>
                  </a:lnTo>
                  <a:lnTo>
                    <a:pt x="249" y="95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49" y="96"/>
                  </a:lnTo>
                  <a:lnTo>
                    <a:pt x="251" y="99"/>
                  </a:lnTo>
                  <a:lnTo>
                    <a:pt x="249" y="100"/>
                  </a:lnTo>
                  <a:lnTo>
                    <a:pt x="248" y="99"/>
                  </a:lnTo>
                  <a:lnTo>
                    <a:pt x="247" y="99"/>
                  </a:lnTo>
                  <a:lnTo>
                    <a:pt x="247" y="100"/>
                  </a:lnTo>
                  <a:lnTo>
                    <a:pt x="248" y="101"/>
                  </a:lnTo>
                  <a:lnTo>
                    <a:pt x="249" y="101"/>
                  </a:lnTo>
                  <a:lnTo>
                    <a:pt x="247" y="106"/>
                  </a:lnTo>
                  <a:lnTo>
                    <a:pt x="245" y="106"/>
                  </a:lnTo>
                  <a:lnTo>
                    <a:pt x="245" y="104"/>
                  </a:lnTo>
                  <a:lnTo>
                    <a:pt x="245" y="107"/>
                  </a:lnTo>
                  <a:lnTo>
                    <a:pt x="245" y="108"/>
                  </a:lnTo>
                  <a:lnTo>
                    <a:pt x="242" y="114"/>
                  </a:lnTo>
                  <a:lnTo>
                    <a:pt x="238" y="116"/>
                  </a:lnTo>
                  <a:lnTo>
                    <a:pt x="234" y="116"/>
                  </a:lnTo>
                  <a:lnTo>
                    <a:pt x="230" y="119"/>
                  </a:lnTo>
                  <a:lnTo>
                    <a:pt x="227" y="119"/>
                  </a:lnTo>
                  <a:lnTo>
                    <a:pt x="227" y="116"/>
                  </a:lnTo>
                  <a:lnTo>
                    <a:pt x="227" y="114"/>
                  </a:lnTo>
                  <a:lnTo>
                    <a:pt x="226" y="112"/>
                  </a:lnTo>
                  <a:lnTo>
                    <a:pt x="226" y="112"/>
                  </a:lnTo>
                  <a:lnTo>
                    <a:pt x="225" y="112"/>
                  </a:lnTo>
                  <a:lnTo>
                    <a:pt x="223" y="111"/>
                  </a:lnTo>
                  <a:lnTo>
                    <a:pt x="222" y="111"/>
                  </a:lnTo>
                  <a:lnTo>
                    <a:pt x="221" y="111"/>
                  </a:lnTo>
                  <a:lnTo>
                    <a:pt x="219" y="108"/>
                  </a:lnTo>
                  <a:lnTo>
                    <a:pt x="219" y="111"/>
                  </a:lnTo>
                  <a:lnTo>
                    <a:pt x="219" y="112"/>
                  </a:lnTo>
                  <a:lnTo>
                    <a:pt x="218" y="111"/>
                  </a:lnTo>
                  <a:lnTo>
                    <a:pt x="217" y="111"/>
                  </a:lnTo>
                  <a:lnTo>
                    <a:pt x="217" y="108"/>
                  </a:lnTo>
                  <a:lnTo>
                    <a:pt x="215" y="107"/>
                  </a:lnTo>
                  <a:lnTo>
                    <a:pt x="214" y="108"/>
                  </a:lnTo>
                  <a:lnTo>
                    <a:pt x="211" y="107"/>
                  </a:lnTo>
                  <a:lnTo>
                    <a:pt x="210" y="107"/>
                  </a:lnTo>
                  <a:lnTo>
                    <a:pt x="208" y="110"/>
                  </a:lnTo>
                  <a:lnTo>
                    <a:pt x="206" y="110"/>
                  </a:lnTo>
                  <a:lnTo>
                    <a:pt x="206" y="111"/>
                  </a:lnTo>
                  <a:lnTo>
                    <a:pt x="203" y="111"/>
                  </a:lnTo>
                  <a:lnTo>
                    <a:pt x="202" y="110"/>
                  </a:lnTo>
                  <a:lnTo>
                    <a:pt x="202" y="110"/>
                  </a:lnTo>
                  <a:lnTo>
                    <a:pt x="199" y="114"/>
                  </a:lnTo>
                  <a:lnTo>
                    <a:pt x="196" y="114"/>
                  </a:lnTo>
                  <a:lnTo>
                    <a:pt x="196" y="111"/>
                  </a:lnTo>
                  <a:lnTo>
                    <a:pt x="196" y="108"/>
                  </a:lnTo>
                  <a:lnTo>
                    <a:pt x="195" y="104"/>
                  </a:lnTo>
                  <a:lnTo>
                    <a:pt x="196" y="103"/>
                  </a:lnTo>
                  <a:lnTo>
                    <a:pt x="195" y="101"/>
                  </a:lnTo>
                  <a:lnTo>
                    <a:pt x="195" y="103"/>
                  </a:lnTo>
                  <a:lnTo>
                    <a:pt x="195" y="104"/>
                  </a:lnTo>
                  <a:lnTo>
                    <a:pt x="193" y="106"/>
                  </a:lnTo>
                  <a:lnTo>
                    <a:pt x="192" y="104"/>
                  </a:lnTo>
                  <a:lnTo>
                    <a:pt x="189" y="106"/>
                  </a:lnTo>
                  <a:lnTo>
                    <a:pt x="187" y="107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81" y="104"/>
                  </a:lnTo>
                  <a:lnTo>
                    <a:pt x="180" y="106"/>
                  </a:lnTo>
                  <a:lnTo>
                    <a:pt x="179" y="106"/>
                  </a:lnTo>
                  <a:lnTo>
                    <a:pt x="177" y="103"/>
                  </a:lnTo>
                  <a:lnTo>
                    <a:pt x="177" y="100"/>
                  </a:lnTo>
                  <a:lnTo>
                    <a:pt x="176" y="95"/>
                  </a:lnTo>
                  <a:lnTo>
                    <a:pt x="174" y="93"/>
                  </a:lnTo>
                  <a:lnTo>
                    <a:pt x="174" y="92"/>
                  </a:lnTo>
                  <a:lnTo>
                    <a:pt x="174" y="91"/>
                  </a:lnTo>
                  <a:lnTo>
                    <a:pt x="177" y="88"/>
                  </a:lnTo>
                  <a:lnTo>
                    <a:pt x="176" y="85"/>
                  </a:lnTo>
                  <a:lnTo>
                    <a:pt x="176" y="84"/>
                  </a:lnTo>
                  <a:lnTo>
                    <a:pt x="172" y="80"/>
                  </a:lnTo>
                  <a:lnTo>
                    <a:pt x="169" y="78"/>
                  </a:lnTo>
                  <a:lnTo>
                    <a:pt x="166" y="78"/>
                  </a:lnTo>
                  <a:lnTo>
                    <a:pt x="166" y="77"/>
                  </a:lnTo>
                  <a:lnTo>
                    <a:pt x="168" y="77"/>
                  </a:lnTo>
                  <a:lnTo>
                    <a:pt x="170" y="76"/>
                  </a:lnTo>
                  <a:lnTo>
                    <a:pt x="174" y="74"/>
                  </a:lnTo>
                  <a:lnTo>
                    <a:pt x="177" y="72"/>
                  </a:lnTo>
                  <a:lnTo>
                    <a:pt x="180" y="72"/>
                  </a:lnTo>
                  <a:lnTo>
                    <a:pt x="177" y="72"/>
                  </a:lnTo>
                  <a:lnTo>
                    <a:pt x="174" y="73"/>
                  </a:lnTo>
                  <a:lnTo>
                    <a:pt x="170" y="74"/>
                  </a:lnTo>
                  <a:lnTo>
                    <a:pt x="169" y="74"/>
                  </a:lnTo>
                  <a:lnTo>
                    <a:pt x="166" y="74"/>
                  </a:lnTo>
                  <a:lnTo>
                    <a:pt x="165" y="72"/>
                  </a:lnTo>
                  <a:lnTo>
                    <a:pt x="166" y="70"/>
                  </a:lnTo>
                  <a:lnTo>
                    <a:pt x="168" y="70"/>
                  </a:lnTo>
                  <a:lnTo>
                    <a:pt x="166" y="69"/>
                  </a:lnTo>
                  <a:lnTo>
                    <a:pt x="162" y="65"/>
                  </a:lnTo>
                  <a:lnTo>
                    <a:pt x="162" y="61"/>
                  </a:lnTo>
                  <a:lnTo>
                    <a:pt x="164" y="59"/>
                  </a:lnTo>
                  <a:lnTo>
                    <a:pt x="164" y="58"/>
                  </a:lnTo>
                  <a:lnTo>
                    <a:pt x="164" y="57"/>
                  </a:lnTo>
                  <a:lnTo>
                    <a:pt x="164" y="55"/>
                  </a:lnTo>
                  <a:lnTo>
                    <a:pt x="164" y="55"/>
                  </a:lnTo>
                  <a:close/>
                  <a:moveTo>
                    <a:pt x="329" y="193"/>
                  </a:moveTo>
                  <a:lnTo>
                    <a:pt x="328" y="195"/>
                  </a:lnTo>
                  <a:lnTo>
                    <a:pt x="329" y="195"/>
                  </a:lnTo>
                  <a:lnTo>
                    <a:pt x="334" y="195"/>
                  </a:lnTo>
                  <a:lnTo>
                    <a:pt x="336" y="194"/>
                  </a:lnTo>
                  <a:lnTo>
                    <a:pt x="339" y="193"/>
                  </a:lnTo>
                  <a:lnTo>
                    <a:pt x="340" y="193"/>
                  </a:lnTo>
                  <a:lnTo>
                    <a:pt x="343" y="191"/>
                  </a:lnTo>
                  <a:lnTo>
                    <a:pt x="344" y="190"/>
                  </a:lnTo>
                  <a:lnTo>
                    <a:pt x="348" y="186"/>
                  </a:lnTo>
                  <a:lnTo>
                    <a:pt x="350" y="184"/>
                  </a:lnTo>
                  <a:lnTo>
                    <a:pt x="351" y="184"/>
                  </a:lnTo>
                  <a:lnTo>
                    <a:pt x="348" y="182"/>
                  </a:lnTo>
                  <a:lnTo>
                    <a:pt x="346" y="179"/>
                  </a:lnTo>
                  <a:lnTo>
                    <a:pt x="344" y="179"/>
                  </a:lnTo>
                  <a:lnTo>
                    <a:pt x="343" y="180"/>
                  </a:lnTo>
                  <a:lnTo>
                    <a:pt x="343" y="183"/>
                  </a:lnTo>
                  <a:lnTo>
                    <a:pt x="340" y="183"/>
                  </a:lnTo>
                  <a:lnTo>
                    <a:pt x="338" y="184"/>
                  </a:lnTo>
                  <a:lnTo>
                    <a:pt x="336" y="182"/>
                  </a:lnTo>
                  <a:lnTo>
                    <a:pt x="335" y="183"/>
                  </a:lnTo>
                  <a:lnTo>
                    <a:pt x="334" y="184"/>
                  </a:lnTo>
                  <a:lnTo>
                    <a:pt x="332" y="187"/>
                  </a:lnTo>
                  <a:lnTo>
                    <a:pt x="331" y="190"/>
                  </a:lnTo>
                  <a:lnTo>
                    <a:pt x="329" y="191"/>
                  </a:lnTo>
                  <a:lnTo>
                    <a:pt x="331" y="193"/>
                  </a:lnTo>
                  <a:lnTo>
                    <a:pt x="331" y="193"/>
                  </a:lnTo>
                  <a:lnTo>
                    <a:pt x="329" y="193"/>
                  </a:lnTo>
                  <a:lnTo>
                    <a:pt x="329" y="193"/>
                  </a:lnTo>
                  <a:lnTo>
                    <a:pt x="329" y="193"/>
                  </a:lnTo>
                  <a:close/>
                  <a:moveTo>
                    <a:pt x="286" y="174"/>
                  </a:moveTo>
                  <a:lnTo>
                    <a:pt x="286" y="174"/>
                  </a:lnTo>
                  <a:lnTo>
                    <a:pt x="286" y="172"/>
                  </a:lnTo>
                  <a:lnTo>
                    <a:pt x="290" y="169"/>
                  </a:lnTo>
                  <a:lnTo>
                    <a:pt x="295" y="168"/>
                  </a:lnTo>
                  <a:lnTo>
                    <a:pt x="298" y="169"/>
                  </a:lnTo>
                  <a:lnTo>
                    <a:pt x="301" y="169"/>
                  </a:lnTo>
                  <a:lnTo>
                    <a:pt x="304" y="171"/>
                  </a:lnTo>
                  <a:lnTo>
                    <a:pt x="306" y="172"/>
                  </a:lnTo>
                  <a:lnTo>
                    <a:pt x="309" y="171"/>
                  </a:lnTo>
                  <a:lnTo>
                    <a:pt x="312" y="172"/>
                  </a:lnTo>
                  <a:lnTo>
                    <a:pt x="315" y="172"/>
                  </a:lnTo>
                  <a:lnTo>
                    <a:pt x="317" y="172"/>
                  </a:lnTo>
                  <a:lnTo>
                    <a:pt x="317" y="171"/>
                  </a:lnTo>
                  <a:lnTo>
                    <a:pt x="320" y="171"/>
                  </a:lnTo>
                  <a:lnTo>
                    <a:pt x="321" y="168"/>
                  </a:lnTo>
                  <a:lnTo>
                    <a:pt x="320" y="168"/>
                  </a:lnTo>
                  <a:lnTo>
                    <a:pt x="323" y="167"/>
                  </a:lnTo>
                  <a:lnTo>
                    <a:pt x="325" y="167"/>
                  </a:lnTo>
                  <a:lnTo>
                    <a:pt x="325" y="169"/>
                  </a:lnTo>
                  <a:lnTo>
                    <a:pt x="324" y="171"/>
                  </a:lnTo>
                  <a:lnTo>
                    <a:pt x="323" y="172"/>
                  </a:lnTo>
                  <a:lnTo>
                    <a:pt x="321" y="175"/>
                  </a:lnTo>
                  <a:lnTo>
                    <a:pt x="319" y="175"/>
                  </a:lnTo>
                  <a:lnTo>
                    <a:pt x="317" y="176"/>
                  </a:lnTo>
                  <a:lnTo>
                    <a:pt x="316" y="175"/>
                  </a:lnTo>
                  <a:lnTo>
                    <a:pt x="312" y="175"/>
                  </a:lnTo>
                  <a:lnTo>
                    <a:pt x="309" y="176"/>
                  </a:lnTo>
                  <a:lnTo>
                    <a:pt x="305" y="176"/>
                  </a:lnTo>
                  <a:lnTo>
                    <a:pt x="302" y="178"/>
                  </a:lnTo>
                  <a:lnTo>
                    <a:pt x="302" y="178"/>
                  </a:lnTo>
                  <a:lnTo>
                    <a:pt x="301" y="178"/>
                  </a:lnTo>
                  <a:lnTo>
                    <a:pt x="300" y="176"/>
                  </a:lnTo>
                  <a:lnTo>
                    <a:pt x="297" y="178"/>
                  </a:lnTo>
                  <a:lnTo>
                    <a:pt x="295" y="176"/>
                  </a:lnTo>
                  <a:lnTo>
                    <a:pt x="294" y="176"/>
                  </a:lnTo>
                  <a:lnTo>
                    <a:pt x="291" y="176"/>
                  </a:lnTo>
                  <a:lnTo>
                    <a:pt x="290" y="176"/>
                  </a:lnTo>
                  <a:lnTo>
                    <a:pt x="289" y="176"/>
                  </a:lnTo>
                  <a:lnTo>
                    <a:pt x="287" y="176"/>
                  </a:lnTo>
                  <a:lnTo>
                    <a:pt x="286" y="174"/>
                  </a:lnTo>
                  <a:lnTo>
                    <a:pt x="286" y="174"/>
                  </a:lnTo>
                  <a:close/>
                  <a:moveTo>
                    <a:pt x="249" y="174"/>
                  </a:moveTo>
                  <a:lnTo>
                    <a:pt x="249" y="175"/>
                  </a:lnTo>
                  <a:lnTo>
                    <a:pt x="251" y="176"/>
                  </a:lnTo>
                  <a:lnTo>
                    <a:pt x="249" y="178"/>
                  </a:lnTo>
                  <a:lnTo>
                    <a:pt x="251" y="179"/>
                  </a:lnTo>
                  <a:lnTo>
                    <a:pt x="253" y="179"/>
                  </a:lnTo>
                  <a:lnTo>
                    <a:pt x="256" y="179"/>
                  </a:lnTo>
                  <a:lnTo>
                    <a:pt x="257" y="179"/>
                  </a:lnTo>
                  <a:lnTo>
                    <a:pt x="260" y="179"/>
                  </a:lnTo>
                  <a:lnTo>
                    <a:pt x="261" y="178"/>
                  </a:lnTo>
                  <a:lnTo>
                    <a:pt x="263" y="178"/>
                  </a:lnTo>
                  <a:lnTo>
                    <a:pt x="266" y="178"/>
                  </a:lnTo>
                  <a:lnTo>
                    <a:pt x="268" y="178"/>
                  </a:lnTo>
                  <a:lnTo>
                    <a:pt x="271" y="175"/>
                  </a:lnTo>
                  <a:lnTo>
                    <a:pt x="271" y="176"/>
                  </a:lnTo>
                  <a:lnTo>
                    <a:pt x="274" y="176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8" y="176"/>
                  </a:lnTo>
                  <a:lnTo>
                    <a:pt x="279" y="174"/>
                  </a:lnTo>
                  <a:lnTo>
                    <a:pt x="278" y="174"/>
                  </a:lnTo>
                  <a:lnTo>
                    <a:pt x="278" y="172"/>
                  </a:lnTo>
                  <a:lnTo>
                    <a:pt x="278" y="171"/>
                  </a:lnTo>
                  <a:lnTo>
                    <a:pt x="275" y="169"/>
                  </a:lnTo>
                  <a:lnTo>
                    <a:pt x="275" y="171"/>
                  </a:lnTo>
                  <a:lnTo>
                    <a:pt x="274" y="172"/>
                  </a:lnTo>
                  <a:lnTo>
                    <a:pt x="274" y="169"/>
                  </a:lnTo>
                  <a:lnTo>
                    <a:pt x="271" y="168"/>
                  </a:lnTo>
                  <a:lnTo>
                    <a:pt x="270" y="169"/>
                  </a:lnTo>
                  <a:lnTo>
                    <a:pt x="267" y="168"/>
                  </a:lnTo>
                  <a:lnTo>
                    <a:pt x="266" y="167"/>
                  </a:lnTo>
                  <a:lnTo>
                    <a:pt x="261" y="169"/>
                  </a:lnTo>
                  <a:lnTo>
                    <a:pt x="263" y="171"/>
                  </a:lnTo>
                  <a:lnTo>
                    <a:pt x="267" y="172"/>
                  </a:lnTo>
                  <a:lnTo>
                    <a:pt x="268" y="174"/>
                  </a:lnTo>
                  <a:lnTo>
                    <a:pt x="266" y="174"/>
                  </a:lnTo>
                  <a:lnTo>
                    <a:pt x="264" y="175"/>
                  </a:lnTo>
                  <a:lnTo>
                    <a:pt x="261" y="174"/>
                  </a:lnTo>
                  <a:lnTo>
                    <a:pt x="260" y="171"/>
                  </a:lnTo>
                  <a:lnTo>
                    <a:pt x="259" y="171"/>
                  </a:lnTo>
                  <a:lnTo>
                    <a:pt x="257" y="171"/>
                  </a:lnTo>
                  <a:lnTo>
                    <a:pt x="255" y="171"/>
                  </a:lnTo>
                  <a:lnTo>
                    <a:pt x="252" y="172"/>
                  </a:lnTo>
                  <a:lnTo>
                    <a:pt x="252" y="172"/>
                  </a:lnTo>
                  <a:lnTo>
                    <a:pt x="249" y="174"/>
                  </a:lnTo>
                  <a:lnTo>
                    <a:pt x="249" y="174"/>
                  </a:lnTo>
                  <a:close/>
                  <a:moveTo>
                    <a:pt x="242" y="171"/>
                  </a:moveTo>
                  <a:lnTo>
                    <a:pt x="245" y="169"/>
                  </a:lnTo>
                  <a:lnTo>
                    <a:pt x="249" y="171"/>
                  </a:lnTo>
                  <a:lnTo>
                    <a:pt x="249" y="174"/>
                  </a:lnTo>
                  <a:lnTo>
                    <a:pt x="248" y="175"/>
                  </a:lnTo>
                  <a:lnTo>
                    <a:pt x="248" y="176"/>
                  </a:lnTo>
                  <a:lnTo>
                    <a:pt x="247" y="176"/>
                  </a:lnTo>
                  <a:lnTo>
                    <a:pt x="244" y="178"/>
                  </a:lnTo>
                  <a:lnTo>
                    <a:pt x="240" y="176"/>
                  </a:lnTo>
                  <a:lnTo>
                    <a:pt x="240" y="175"/>
                  </a:lnTo>
                  <a:lnTo>
                    <a:pt x="241" y="175"/>
                  </a:lnTo>
                  <a:lnTo>
                    <a:pt x="242" y="175"/>
                  </a:lnTo>
                  <a:lnTo>
                    <a:pt x="242" y="171"/>
                  </a:lnTo>
                  <a:lnTo>
                    <a:pt x="242" y="171"/>
                  </a:lnTo>
                  <a:close/>
                  <a:moveTo>
                    <a:pt x="225" y="168"/>
                  </a:moveTo>
                  <a:lnTo>
                    <a:pt x="225" y="169"/>
                  </a:lnTo>
                  <a:lnTo>
                    <a:pt x="225" y="171"/>
                  </a:lnTo>
                  <a:lnTo>
                    <a:pt x="229" y="172"/>
                  </a:lnTo>
                  <a:lnTo>
                    <a:pt x="232" y="174"/>
                  </a:lnTo>
                  <a:lnTo>
                    <a:pt x="232" y="175"/>
                  </a:lnTo>
                  <a:lnTo>
                    <a:pt x="233" y="174"/>
                  </a:lnTo>
                  <a:lnTo>
                    <a:pt x="236" y="172"/>
                  </a:lnTo>
                  <a:lnTo>
                    <a:pt x="236" y="172"/>
                  </a:lnTo>
                  <a:lnTo>
                    <a:pt x="238" y="172"/>
                  </a:lnTo>
                  <a:lnTo>
                    <a:pt x="238" y="171"/>
                  </a:lnTo>
                  <a:lnTo>
                    <a:pt x="236" y="167"/>
                  </a:lnTo>
                  <a:lnTo>
                    <a:pt x="233" y="167"/>
                  </a:lnTo>
                  <a:lnTo>
                    <a:pt x="230" y="168"/>
                  </a:lnTo>
                  <a:lnTo>
                    <a:pt x="227" y="167"/>
                  </a:lnTo>
                  <a:lnTo>
                    <a:pt x="225" y="168"/>
                  </a:lnTo>
                  <a:lnTo>
                    <a:pt x="225" y="168"/>
                  </a:lnTo>
                  <a:close/>
                  <a:moveTo>
                    <a:pt x="497" y="169"/>
                  </a:moveTo>
                  <a:lnTo>
                    <a:pt x="497" y="169"/>
                  </a:lnTo>
                  <a:lnTo>
                    <a:pt x="501" y="169"/>
                  </a:lnTo>
                  <a:lnTo>
                    <a:pt x="504" y="169"/>
                  </a:lnTo>
                  <a:lnTo>
                    <a:pt x="506" y="169"/>
                  </a:lnTo>
                  <a:lnTo>
                    <a:pt x="508" y="168"/>
                  </a:lnTo>
                  <a:lnTo>
                    <a:pt x="509" y="167"/>
                  </a:lnTo>
                  <a:lnTo>
                    <a:pt x="512" y="167"/>
                  </a:lnTo>
                  <a:lnTo>
                    <a:pt x="512" y="165"/>
                  </a:lnTo>
                  <a:lnTo>
                    <a:pt x="512" y="164"/>
                  </a:lnTo>
                  <a:lnTo>
                    <a:pt x="513" y="163"/>
                  </a:lnTo>
                  <a:lnTo>
                    <a:pt x="513" y="161"/>
                  </a:lnTo>
                  <a:lnTo>
                    <a:pt x="513" y="160"/>
                  </a:lnTo>
                  <a:lnTo>
                    <a:pt x="512" y="159"/>
                  </a:lnTo>
                  <a:lnTo>
                    <a:pt x="512" y="159"/>
                  </a:lnTo>
                  <a:lnTo>
                    <a:pt x="508" y="159"/>
                  </a:lnTo>
                  <a:lnTo>
                    <a:pt x="505" y="160"/>
                  </a:lnTo>
                  <a:lnTo>
                    <a:pt x="504" y="163"/>
                  </a:lnTo>
                  <a:lnTo>
                    <a:pt x="502" y="165"/>
                  </a:lnTo>
                  <a:lnTo>
                    <a:pt x="497" y="169"/>
                  </a:lnTo>
                  <a:lnTo>
                    <a:pt x="497" y="169"/>
                  </a:lnTo>
                  <a:close/>
                  <a:moveTo>
                    <a:pt x="120" y="150"/>
                  </a:move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5" y="148"/>
                  </a:lnTo>
                  <a:lnTo>
                    <a:pt x="127" y="145"/>
                  </a:lnTo>
                  <a:lnTo>
                    <a:pt x="127" y="142"/>
                  </a:lnTo>
                  <a:lnTo>
                    <a:pt x="128" y="140"/>
                  </a:lnTo>
                  <a:lnTo>
                    <a:pt x="130" y="141"/>
                  </a:lnTo>
                  <a:lnTo>
                    <a:pt x="132" y="141"/>
                  </a:lnTo>
                  <a:lnTo>
                    <a:pt x="136" y="141"/>
                  </a:lnTo>
                  <a:lnTo>
                    <a:pt x="138" y="142"/>
                  </a:lnTo>
                  <a:lnTo>
                    <a:pt x="139" y="142"/>
                  </a:lnTo>
                  <a:lnTo>
                    <a:pt x="140" y="141"/>
                  </a:lnTo>
                  <a:lnTo>
                    <a:pt x="143" y="141"/>
                  </a:lnTo>
                  <a:lnTo>
                    <a:pt x="146" y="142"/>
                  </a:lnTo>
                  <a:lnTo>
                    <a:pt x="150" y="144"/>
                  </a:lnTo>
                  <a:lnTo>
                    <a:pt x="155" y="145"/>
                  </a:lnTo>
                  <a:lnTo>
                    <a:pt x="157" y="146"/>
                  </a:lnTo>
                  <a:lnTo>
                    <a:pt x="157" y="149"/>
                  </a:lnTo>
                  <a:lnTo>
                    <a:pt x="157" y="150"/>
                  </a:lnTo>
                  <a:lnTo>
                    <a:pt x="161" y="152"/>
                  </a:lnTo>
                  <a:lnTo>
                    <a:pt x="168" y="152"/>
                  </a:lnTo>
                  <a:lnTo>
                    <a:pt x="174" y="153"/>
                  </a:lnTo>
                  <a:lnTo>
                    <a:pt x="180" y="152"/>
                  </a:lnTo>
                  <a:lnTo>
                    <a:pt x="181" y="150"/>
                  </a:lnTo>
                  <a:lnTo>
                    <a:pt x="181" y="145"/>
                  </a:lnTo>
                  <a:lnTo>
                    <a:pt x="184" y="145"/>
                  </a:lnTo>
                  <a:lnTo>
                    <a:pt x="187" y="148"/>
                  </a:lnTo>
                  <a:lnTo>
                    <a:pt x="189" y="148"/>
                  </a:lnTo>
                  <a:lnTo>
                    <a:pt x="191" y="148"/>
                  </a:lnTo>
                  <a:lnTo>
                    <a:pt x="192" y="149"/>
                  </a:lnTo>
                  <a:lnTo>
                    <a:pt x="195" y="150"/>
                  </a:lnTo>
                  <a:lnTo>
                    <a:pt x="198" y="150"/>
                  </a:lnTo>
                  <a:lnTo>
                    <a:pt x="199" y="153"/>
                  </a:lnTo>
                  <a:lnTo>
                    <a:pt x="200" y="152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6" y="159"/>
                  </a:lnTo>
                  <a:lnTo>
                    <a:pt x="206" y="160"/>
                  </a:lnTo>
                  <a:lnTo>
                    <a:pt x="207" y="161"/>
                  </a:lnTo>
                  <a:lnTo>
                    <a:pt x="210" y="163"/>
                  </a:lnTo>
                  <a:lnTo>
                    <a:pt x="213" y="163"/>
                  </a:lnTo>
                  <a:lnTo>
                    <a:pt x="214" y="163"/>
                  </a:lnTo>
                  <a:lnTo>
                    <a:pt x="217" y="163"/>
                  </a:lnTo>
                  <a:lnTo>
                    <a:pt x="218" y="163"/>
                  </a:lnTo>
                  <a:lnTo>
                    <a:pt x="219" y="163"/>
                  </a:lnTo>
                  <a:lnTo>
                    <a:pt x="221" y="163"/>
                  </a:lnTo>
                  <a:lnTo>
                    <a:pt x="222" y="163"/>
                  </a:lnTo>
                  <a:lnTo>
                    <a:pt x="223" y="164"/>
                  </a:lnTo>
                  <a:lnTo>
                    <a:pt x="223" y="169"/>
                  </a:lnTo>
                  <a:lnTo>
                    <a:pt x="222" y="171"/>
                  </a:lnTo>
                  <a:lnTo>
                    <a:pt x="223" y="172"/>
                  </a:lnTo>
                  <a:lnTo>
                    <a:pt x="223" y="175"/>
                  </a:lnTo>
                  <a:lnTo>
                    <a:pt x="222" y="176"/>
                  </a:lnTo>
                  <a:lnTo>
                    <a:pt x="221" y="174"/>
                  </a:lnTo>
                  <a:lnTo>
                    <a:pt x="218" y="175"/>
                  </a:lnTo>
                  <a:lnTo>
                    <a:pt x="215" y="172"/>
                  </a:lnTo>
                  <a:lnTo>
                    <a:pt x="213" y="171"/>
                  </a:lnTo>
                  <a:lnTo>
                    <a:pt x="210" y="169"/>
                  </a:lnTo>
                  <a:lnTo>
                    <a:pt x="208" y="169"/>
                  </a:lnTo>
                  <a:lnTo>
                    <a:pt x="206" y="171"/>
                  </a:lnTo>
                  <a:lnTo>
                    <a:pt x="202" y="171"/>
                  </a:lnTo>
                  <a:lnTo>
                    <a:pt x="199" y="169"/>
                  </a:lnTo>
                  <a:lnTo>
                    <a:pt x="195" y="168"/>
                  </a:lnTo>
                  <a:lnTo>
                    <a:pt x="192" y="171"/>
                  </a:lnTo>
                  <a:lnTo>
                    <a:pt x="189" y="168"/>
                  </a:lnTo>
                  <a:lnTo>
                    <a:pt x="185" y="168"/>
                  </a:lnTo>
                  <a:lnTo>
                    <a:pt x="183" y="169"/>
                  </a:lnTo>
                  <a:lnTo>
                    <a:pt x="177" y="167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65" y="161"/>
                  </a:lnTo>
                  <a:lnTo>
                    <a:pt x="164" y="163"/>
                  </a:lnTo>
                  <a:lnTo>
                    <a:pt x="162" y="164"/>
                  </a:lnTo>
                  <a:lnTo>
                    <a:pt x="159" y="163"/>
                  </a:lnTo>
                  <a:lnTo>
                    <a:pt x="158" y="161"/>
                  </a:lnTo>
                  <a:lnTo>
                    <a:pt x="157" y="161"/>
                  </a:lnTo>
                  <a:lnTo>
                    <a:pt x="154" y="164"/>
                  </a:lnTo>
                  <a:lnTo>
                    <a:pt x="149" y="163"/>
                  </a:lnTo>
                  <a:lnTo>
                    <a:pt x="146" y="160"/>
                  </a:lnTo>
                  <a:lnTo>
                    <a:pt x="142" y="160"/>
                  </a:lnTo>
                  <a:lnTo>
                    <a:pt x="140" y="159"/>
                  </a:lnTo>
                  <a:lnTo>
                    <a:pt x="138" y="160"/>
                  </a:lnTo>
                  <a:lnTo>
                    <a:pt x="135" y="159"/>
                  </a:lnTo>
                  <a:lnTo>
                    <a:pt x="132" y="159"/>
                  </a:lnTo>
                  <a:lnTo>
                    <a:pt x="131" y="157"/>
                  </a:lnTo>
                  <a:lnTo>
                    <a:pt x="132" y="154"/>
                  </a:lnTo>
                  <a:lnTo>
                    <a:pt x="134" y="153"/>
                  </a:lnTo>
                  <a:lnTo>
                    <a:pt x="132" y="153"/>
                  </a:lnTo>
                  <a:lnTo>
                    <a:pt x="131" y="154"/>
                  </a:lnTo>
                  <a:lnTo>
                    <a:pt x="130" y="153"/>
                  </a:lnTo>
                  <a:lnTo>
                    <a:pt x="128" y="152"/>
                  </a:lnTo>
                  <a:lnTo>
                    <a:pt x="125" y="152"/>
                  </a:lnTo>
                  <a:lnTo>
                    <a:pt x="121" y="152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20" y="150"/>
                  </a:lnTo>
                  <a:lnTo>
                    <a:pt x="120" y="150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5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10" y="17"/>
                  </a:lnTo>
                  <a:lnTo>
                    <a:pt x="13" y="17"/>
                  </a:lnTo>
                  <a:lnTo>
                    <a:pt x="15" y="21"/>
                  </a:lnTo>
                  <a:lnTo>
                    <a:pt x="17" y="23"/>
                  </a:lnTo>
                  <a:lnTo>
                    <a:pt x="18" y="21"/>
                  </a:lnTo>
                  <a:lnTo>
                    <a:pt x="22" y="25"/>
                  </a:lnTo>
                  <a:lnTo>
                    <a:pt x="26" y="32"/>
                  </a:lnTo>
                  <a:lnTo>
                    <a:pt x="30" y="35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3" y="39"/>
                  </a:lnTo>
                  <a:lnTo>
                    <a:pt x="33" y="43"/>
                  </a:lnTo>
                  <a:lnTo>
                    <a:pt x="34" y="44"/>
                  </a:lnTo>
                  <a:lnTo>
                    <a:pt x="37" y="44"/>
                  </a:lnTo>
                  <a:lnTo>
                    <a:pt x="40" y="47"/>
                  </a:lnTo>
                  <a:lnTo>
                    <a:pt x="43" y="48"/>
                  </a:lnTo>
                  <a:lnTo>
                    <a:pt x="44" y="48"/>
                  </a:lnTo>
                  <a:lnTo>
                    <a:pt x="44" y="50"/>
                  </a:lnTo>
                  <a:lnTo>
                    <a:pt x="43" y="51"/>
                  </a:lnTo>
                  <a:lnTo>
                    <a:pt x="44" y="53"/>
                  </a:lnTo>
                  <a:lnTo>
                    <a:pt x="45" y="55"/>
                  </a:lnTo>
                  <a:lnTo>
                    <a:pt x="45" y="57"/>
                  </a:lnTo>
                  <a:lnTo>
                    <a:pt x="48" y="63"/>
                  </a:lnTo>
                  <a:lnTo>
                    <a:pt x="49" y="66"/>
                  </a:lnTo>
                  <a:lnTo>
                    <a:pt x="52" y="67"/>
                  </a:lnTo>
                  <a:lnTo>
                    <a:pt x="55" y="70"/>
                  </a:lnTo>
                  <a:lnTo>
                    <a:pt x="55" y="72"/>
                  </a:lnTo>
                  <a:lnTo>
                    <a:pt x="58" y="77"/>
                  </a:lnTo>
                  <a:lnTo>
                    <a:pt x="60" y="78"/>
                  </a:lnTo>
                  <a:lnTo>
                    <a:pt x="62" y="84"/>
                  </a:lnTo>
                  <a:lnTo>
                    <a:pt x="66" y="92"/>
                  </a:lnTo>
                  <a:lnTo>
                    <a:pt x="66" y="96"/>
                  </a:lnTo>
                  <a:lnTo>
                    <a:pt x="67" y="99"/>
                  </a:lnTo>
                  <a:lnTo>
                    <a:pt x="71" y="101"/>
                  </a:lnTo>
                  <a:lnTo>
                    <a:pt x="75" y="107"/>
                  </a:lnTo>
                  <a:lnTo>
                    <a:pt x="77" y="110"/>
                  </a:lnTo>
                  <a:lnTo>
                    <a:pt x="79" y="111"/>
                  </a:lnTo>
                  <a:lnTo>
                    <a:pt x="81" y="112"/>
                  </a:lnTo>
                  <a:lnTo>
                    <a:pt x="83" y="114"/>
                  </a:lnTo>
                  <a:lnTo>
                    <a:pt x="83" y="118"/>
                  </a:lnTo>
                  <a:lnTo>
                    <a:pt x="86" y="119"/>
                  </a:lnTo>
                  <a:lnTo>
                    <a:pt x="90" y="122"/>
                  </a:lnTo>
                  <a:lnTo>
                    <a:pt x="94" y="126"/>
                  </a:lnTo>
                  <a:lnTo>
                    <a:pt x="96" y="129"/>
                  </a:lnTo>
                  <a:lnTo>
                    <a:pt x="100" y="129"/>
                  </a:lnTo>
                  <a:lnTo>
                    <a:pt x="106" y="135"/>
                  </a:lnTo>
                  <a:lnTo>
                    <a:pt x="106" y="138"/>
                  </a:lnTo>
                  <a:lnTo>
                    <a:pt x="108" y="138"/>
                  </a:lnTo>
                  <a:lnTo>
                    <a:pt x="111" y="141"/>
                  </a:lnTo>
                  <a:lnTo>
                    <a:pt x="111" y="140"/>
                  </a:lnTo>
                  <a:lnTo>
                    <a:pt x="111" y="138"/>
                  </a:lnTo>
                  <a:lnTo>
                    <a:pt x="111" y="137"/>
                  </a:lnTo>
                  <a:lnTo>
                    <a:pt x="111" y="135"/>
                  </a:lnTo>
                  <a:lnTo>
                    <a:pt x="112" y="135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7" y="135"/>
                  </a:lnTo>
                  <a:lnTo>
                    <a:pt x="119" y="134"/>
                  </a:lnTo>
                  <a:lnTo>
                    <a:pt x="120" y="135"/>
                  </a:lnTo>
                  <a:lnTo>
                    <a:pt x="123" y="138"/>
                  </a:lnTo>
                  <a:lnTo>
                    <a:pt x="124" y="138"/>
                  </a:lnTo>
                  <a:lnTo>
                    <a:pt x="125" y="137"/>
                  </a:lnTo>
                  <a:lnTo>
                    <a:pt x="125" y="131"/>
                  </a:lnTo>
                  <a:lnTo>
                    <a:pt x="127" y="126"/>
                  </a:lnTo>
                  <a:lnTo>
                    <a:pt x="125" y="122"/>
                  </a:lnTo>
                  <a:lnTo>
                    <a:pt x="127" y="116"/>
                  </a:lnTo>
                  <a:lnTo>
                    <a:pt x="127" y="115"/>
                  </a:lnTo>
                  <a:lnTo>
                    <a:pt x="127" y="111"/>
                  </a:lnTo>
                  <a:lnTo>
                    <a:pt x="128" y="110"/>
                  </a:lnTo>
                  <a:lnTo>
                    <a:pt x="130" y="108"/>
                  </a:lnTo>
                  <a:lnTo>
                    <a:pt x="130" y="107"/>
                  </a:lnTo>
                  <a:lnTo>
                    <a:pt x="127" y="106"/>
                  </a:lnTo>
                  <a:lnTo>
                    <a:pt x="125" y="104"/>
                  </a:lnTo>
                  <a:lnTo>
                    <a:pt x="124" y="101"/>
                  </a:lnTo>
                  <a:lnTo>
                    <a:pt x="123" y="100"/>
                  </a:lnTo>
                  <a:lnTo>
                    <a:pt x="123" y="99"/>
                  </a:lnTo>
                  <a:lnTo>
                    <a:pt x="120" y="97"/>
                  </a:lnTo>
                  <a:lnTo>
                    <a:pt x="116" y="97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2" y="92"/>
                  </a:lnTo>
                  <a:lnTo>
                    <a:pt x="111" y="93"/>
                  </a:lnTo>
                  <a:lnTo>
                    <a:pt x="112" y="91"/>
                  </a:lnTo>
                  <a:lnTo>
                    <a:pt x="111" y="88"/>
                  </a:lnTo>
                  <a:lnTo>
                    <a:pt x="111" y="82"/>
                  </a:lnTo>
                  <a:lnTo>
                    <a:pt x="108" y="84"/>
                  </a:lnTo>
                  <a:lnTo>
                    <a:pt x="106" y="82"/>
                  </a:lnTo>
                  <a:lnTo>
                    <a:pt x="102" y="82"/>
                  </a:lnTo>
                  <a:lnTo>
                    <a:pt x="98" y="80"/>
                  </a:lnTo>
                  <a:lnTo>
                    <a:pt x="98" y="77"/>
                  </a:lnTo>
                  <a:lnTo>
                    <a:pt x="101" y="77"/>
                  </a:lnTo>
                  <a:lnTo>
                    <a:pt x="104" y="74"/>
                  </a:lnTo>
                  <a:lnTo>
                    <a:pt x="101" y="74"/>
                  </a:lnTo>
                  <a:lnTo>
                    <a:pt x="98" y="74"/>
                  </a:lnTo>
                  <a:lnTo>
                    <a:pt x="97" y="74"/>
                  </a:lnTo>
                  <a:lnTo>
                    <a:pt x="96" y="74"/>
                  </a:lnTo>
                  <a:lnTo>
                    <a:pt x="97" y="73"/>
                  </a:lnTo>
                  <a:lnTo>
                    <a:pt x="100" y="72"/>
                  </a:lnTo>
                  <a:lnTo>
                    <a:pt x="104" y="70"/>
                  </a:lnTo>
                  <a:lnTo>
                    <a:pt x="102" y="67"/>
                  </a:lnTo>
                  <a:lnTo>
                    <a:pt x="98" y="65"/>
                  </a:lnTo>
                  <a:lnTo>
                    <a:pt x="97" y="63"/>
                  </a:lnTo>
                  <a:lnTo>
                    <a:pt x="94" y="66"/>
                  </a:lnTo>
                  <a:lnTo>
                    <a:pt x="91" y="67"/>
                  </a:lnTo>
                  <a:lnTo>
                    <a:pt x="89" y="67"/>
                  </a:lnTo>
                  <a:lnTo>
                    <a:pt x="90" y="67"/>
                  </a:lnTo>
                  <a:lnTo>
                    <a:pt x="91" y="66"/>
                  </a:lnTo>
                  <a:lnTo>
                    <a:pt x="93" y="66"/>
                  </a:lnTo>
                  <a:lnTo>
                    <a:pt x="94" y="63"/>
                  </a:lnTo>
                  <a:lnTo>
                    <a:pt x="93" y="62"/>
                  </a:lnTo>
                  <a:lnTo>
                    <a:pt x="90" y="61"/>
                  </a:lnTo>
                  <a:lnTo>
                    <a:pt x="86" y="62"/>
                  </a:lnTo>
                  <a:lnTo>
                    <a:pt x="83" y="59"/>
                  </a:lnTo>
                  <a:lnTo>
                    <a:pt x="83" y="58"/>
                  </a:lnTo>
                  <a:lnTo>
                    <a:pt x="83" y="54"/>
                  </a:lnTo>
                  <a:lnTo>
                    <a:pt x="78" y="50"/>
                  </a:lnTo>
                  <a:lnTo>
                    <a:pt x="77" y="50"/>
                  </a:lnTo>
                  <a:lnTo>
                    <a:pt x="75" y="50"/>
                  </a:lnTo>
                  <a:lnTo>
                    <a:pt x="74" y="48"/>
                  </a:lnTo>
                  <a:lnTo>
                    <a:pt x="72" y="44"/>
                  </a:lnTo>
                  <a:lnTo>
                    <a:pt x="70" y="40"/>
                  </a:lnTo>
                  <a:lnTo>
                    <a:pt x="64" y="38"/>
                  </a:lnTo>
                  <a:lnTo>
                    <a:pt x="62" y="38"/>
                  </a:lnTo>
                  <a:lnTo>
                    <a:pt x="62" y="39"/>
                  </a:lnTo>
                  <a:lnTo>
                    <a:pt x="60" y="38"/>
                  </a:lnTo>
                  <a:lnTo>
                    <a:pt x="59" y="35"/>
                  </a:lnTo>
                  <a:lnTo>
                    <a:pt x="58" y="36"/>
                  </a:lnTo>
                  <a:lnTo>
                    <a:pt x="56" y="35"/>
                  </a:lnTo>
                  <a:lnTo>
                    <a:pt x="56" y="31"/>
                  </a:lnTo>
                  <a:lnTo>
                    <a:pt x="55" y="28"/>
                  </a:lnTo>
                  <a:lnTo>
                    <a:pt x="52" y="28"/>
                  </a:lnTo>
                  <a:lnTo>
                    <a:pt x="51" y="27"/>
                  </a:lnTo>
                  <a:lnTo>
                    <a:pt x="44" y="23"/>
                  </a:lnTo>
                  <a:lnTo>
                    <a:pt x="43" y="21"/>
                  </a:lnTo>
                  <a:lnTo>
                    <a:pt x="38" y="19"/>
                  </a:lnTo>
                  <a:lnTo>
                    <a:pt x="36" y="19"/>
                  </a:lnTo>
                  <a:lnTo>
                    <a:pt x="36" y="17"/>
                  </a:lnTo>
                  <a:lnTo>
                    <a:pt x="34" y="13"/>
                  </a:lnTo>
                  <a:lnTo>
                    <a:pt x="33" y="12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29" y="5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1" y="4"/>
                  </a:lnTo>
                  <a:lnTo>
                    <a:pt x="18" y="4"/>
                  </a:lnTo>
                  <a:lnTo>
                    <a:pt x="14" y="5"/>
                  </a:lnTo>
                  <a:lnTo>
                    <a:pt x="13" y="4"/>
                  </a:lnTo>
                  <a:lnTo>
                    <a:pt x="7" y="0"/>
                  </a:lnTo>
                  <a:lnTo>
                    <a:pt x="2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7" name="Freeform 17"/>
            <p:cNvSpPr>
              <a:spLocks noEditPoints="1"/>
            </p:cNvSpPr>
            <p:nvPr/>
          </p:nvSpPr>
          <p:spPr bwMode="auto">
            <a:xfrm>
              <a:off x="3426" y="2108"/>
              <a:ext cx="37" cy="12"/>
            </a:xfrm>
            <a:custGeom>
              <a:avLst/>
              <a:gdLst>
                <a:gd name="T0" fmla="*/ 0 w 37"/>
                <a:gd name="T1" fmla="*/ 10 h 12"/>
                <a:gd name="T2" fmla="*/ 2 w 37"/>
                <a:gd name="T3" fmla="*/ 12 h 12"/>
                <a:gd name="T4" fmla="*/ 4 w 37"/>
                <a:gd name="T5" fmla="*/ 11 h 12"/>
                <a:gd name="T6" fmla="*/ 7 w 37"/>
                <a:gd name="T7" fmla="*/ 11 h 12"/>
                <a:gd name="T8" fmla="*/ 7 w 37"/>
                <a:gd name="T9" fmla="*/ 8 h 12"/>
                <a:gd name="T10" fmla="*/ 6 w 37"/>
                <a:gd name="T11" fmla="*/ 8 h 12"/>
                <a:gd name="T12" fmla="*/ 2 w 37"/>
                <a:gd name="T13" fmla="*/ 8 h 12"/>
                <a:gd name="T14" fmla="*/ 0 w 37"/>
                <a:gd name="T15" fmla="*/ 10 h 12"/>
                <a:gd name="T16" fmla="*/ 0 w 37"/>
                <a:gd name="T17" fmla="*/ 10 h 12"/>
                <a:gd name="T18" fmla="*/ 10 w 37"/>
                <a:gd name="T19" fmla="*/ 7 h 12"/>
                <a:gd name="T20" fmla="*/ 12 w 37"/>
                <a:gd name="T21" fmla="*/ 10 h 12"/>
                <a:gd name="T22" fmla="*/ 15 w 37"/>
                <a:gd name="T23" fmla="*/ 12 h 12"/>
                <a:gd name="T24" fmla="*/ 15 w 37"/>
                <a:gd name="T25" fmla="*/ 12 h 12"/>
                <a:gd name="T26" fmla="*/ 18 w 37"/>
                <a:gd name="T27" fmla="*/ 10 h 12"/>
                <a:gd name="T28" fmla="*/ 19 w 37"/>
                <a:gd name="T29" fmla="*/ 10 h 12"/>
                <a:gd name="T30" fmla="*/ 22 w 37"/>
                <a:gd name="T31" fmla="*/ 10 h 12"/>
                <a:gd name="T32" fmla="*/ 26 w 37"/>
                <a:gd name="T33" fmla="*/ 8 h 12"/>
                <a:gd name="T34" fmla="*/ 30 w 37"/>
                <a:gd name="T35" fmla="*/ 7 h 12"/>
                <a:gd name="T36" fmla="*/ 33 w 37"/>
                <a:gd name="T37" fmla="*/ 6 h 12"/>
                <a:gd name="T38" fmla="*/ 34 w 37"/>
                <a:gd name="T39" fmla="*/ 4 h 12"/>
                <a:gd name="T40" fmla="*/ 36 w 37"/>
                <a:gd name="T41" fmla="*/ 4 h 12"/>
                <a:gd name="T42" fmla="*/ 37 w 37"/>
                <a:gd name="T43" fmla="*/ 3 h 12"/>
                <a:gd name="T44" fmla="*/ 37 w 37"/>
                <a:gd name="T45" fmla="*/ 2 h 12"/>
                <a:gd name="T46" fmla="*/ 37 w 37"/>
                <a:gd name="T47" fmla="*/ 0 h 12"/>
                <a:gd name="T48" fmla="*/ 32 w 37"/>
                <a:gd name="T49" fmla="*/ 2 h 12"/>
                <a:gd name="T50" fmla="*/ 29 w 37"/>
                <a:gd name="T51" fmla="*/ 2 h 12"/>
                <a:gd name="T52" fmla="*/ 26 w 37"/>
                <a:gd name="T53" fmla="*/ 2 h 12"/>
                <a:gd name="T54" fmla="*/ 25 w 37"/>
                <a:gd name="T55" fmla="*/ 2 h 12"/>
                <a:gd name="T56" fmla="*/ 21 w 37"/>
                <a:gd name="T57" fmla="*/ 2 h 12"/>
                <a:gd name="T58" fmla="*/ 17 w 37"/>
                <a:gd name="T59" fmla="*/ 2 h 12"/>
                <a:gd name="T60" fmla="*/ 12 w 37"/>
                <a:gd name="T61" fmla="*/ 6 h 12"/>
                <a:gd name="T62" fmla="*/ 10 w 37"/>
                <a:gd name="T6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" h="12">
                  <a:moveTo>
                    <a:pt x="0" y="10"/>
                  </a:moveTo>
                  <a:lnTo>
                    <a:pt x="2" y="12"/>
                  </a:lnTo>
                  <a:lnTo>
                    <a:pt x="4" y="11"/>
                  </a:lnTo>
                  <a:lnTo>
                    <a:pt x="7" y="11"/>
                  </a:lnTo>
                  <a:lnTo>
                    <a:pt x="7" y="8"/>
                  </a:lnTo>
                  <a:lnTo>
                    <a:pt x="6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10" y="7"/>
                  </a:moveTo>
                  <a:lnTo>
                    <a:pt x="12" y="10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6" y="8"/>
                  </a:lnTo>
                  <a:lnTo>
                    <a:pt x="30" y="7"/>
                  </a:lnTo>
                  <a:lnTo>
                    <a:pt x="33" y="6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2" y="2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17" y="2"/>
                  </a:lnTo>
                  <a:lnTo>
                    <a:pt x="12" y="6"/>
                  </a:lnTo>
                  <a:lnTo>
                    <a:pt x="1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8" name="Freeform 18"/>
            <p:cNvSpPr>
              <a:spLocks noEditPoints="1"/>
            </p:cNvSpPr>
            <p:nvPr/>
          </p:nvSpPr>
          <p:spPr bwMode="auto">
            <a:xfrm>
              <a:off x="3148" y="1919"/>
              <a:ext cx="224" cy="75"/>
            </a:xfrm>
            <a:custGeom>
              <a:avLst/>
              <a:gdLst>
                <a:gd name="T0" fmla="*/ 119 w 224"/>
                <a:gd name="T1" fmla="*/ 71 h 75"/>
                <a:gd name="T2" fmla="*/ 129 w 224"/>
                <a:gd name="T3" fmla="*/ 74 h 75"/>
                <a:gd name="T4" fmla="*/ 140 w 224"/>
                <a:gd name="T5" fmla="*/ 72 h 75"/>
                <a:gd name="T6" fmla="*/ 157 w 224"/>
                <a:gd name="T7" fmla="*/ 70 h 75"/>
                <a:gd name="T8" fmla="*/ 171 w 224"/>
                <a:gd name="T9" fmla="*/ 67 h 75"/>
                <a:gd name="T10" fmla="*/ 180 w 224"/>
                <a:gd name="T11" fmla="*/ 48 h 75"/>
                <a:gd name="T12" fmla="*/ 184 w 224"/>
                <a:gd name="T13" fmla="*/ 34 h 75"/>
                <a:gd name="T14" fmla="*/ 197 w 224"/>
                <a:gd name="T15" fmla="*/ 31 h 75"/>
                <a:gd name="T16" fmla="*/ 205 w 224"/>
                <a:gd name="T17" fmla="*/ 33 h 75"/>
                <a:gd name="T18" fmla="*/ 214 w 224"/>
                <a:gd name="T19" fmla="*/ 33 h 75"/>
                <a:gd name="T20" fmla="*/ 213 w 224"/>
                <a:gd name="T21" fmla="*/ 25 h 75"/>
                <a:gd name="T22" fmla="*/ 224 w 224"/>
                <a:gd name="T23" fmla="*/ 21 h 75"/>
                <a:gd name="T24" fmla="*/ 216 w 224"/>
                <a:gd name="T25" fmla="*/ 18 h 75"/>
                <a:gd name="T26" fmla="*/ 208 w 224"/>
                <a:gd name="T27" fmla="*/ 17 h 75"/>
                <a:gd name="T28" fmla="*/ 206 w 224"/>
                <a:gd name="T29" fmla="*/ 15 h 75"/>
                <a:gd name="T30" fmla="*/ 206 w 224"/>
                <a:gd name="T31" fmla="*/ 10 h 75"/>
                <a:gd name="T32" fmla="*/ 201 w 224"/>
                <a:gd name="T33" fmla="*/ 4 h 75"/>
                <a:gd name="T34" fmla="*/ 198 w 224"/>
                <a:gd name="T35" fmla="*/ 3 h 75"/>
                <a:gd name="T36" fmla="*/ 194 w 224"/>
                <a:gd name="T37" fmla="*/ 0 h 75"/>
                <a:gd name="T38" fmla="*/ 187 w 224"/>
                <a:gd name="T39" fmla="*/ 12 h 75"/>
                <a:gd name="T40" fmla="*/ 178 w 224"/>
                <a:gd name="T41" fmla="*/ 21 h 75"/>
                <a:gd name="T42" fmla="*/ 178 w 224"/>
                <a:gd name="T43" fmla="*/ 23 h 75"/>
                <a:gd name="T44" fmla="*/ 176 w 224"/>
                <a:gd name="T45" fmla="*/ 26 h 75"/>
                <a:gd name="T46" fmla="*/ 176 w 224"/>
                <a:gd name="T47" fmla="*/ 33 h 75"/>
                <a:gd name="T48" fmla="*/ 175 w 224"/>
                <a:gd name="T49" fmla="*/ 27 h 75"/>
                <a:gd name="T50" fmla="*/ 172 w 224"/>
                <a:gd name="T51" fmla="*/ 34 h 75"/>
                <a:gd name="T52" fmla="*/ 165 w 224"/>
                <a:gd name="T53" fmla="*/ 29 h 75"/>
                <a:gd name="T54" fmla="*/ 159 w 224"/>
                <a:gd name="T55" fmla="*/ 38 h 75"/>
                <a:gd name="T56" fmla="*/ 149 w 224"/>
                <a:gd name="T57" fmla="*/ 49 h 75"/>
                <a:gd name="T58" fmla="*/ 140 w 224"/>
                <a:gd name="T59" fmla="*/ 57 h 75"/>
                <a:gd name="T60" fmla="*/ 133 w 224"/>
                <a:gd name="T61" fmla="*/ 59 h 75"/>
                <a:gd name="T62" fmla="*/ 130 w 224"/>
                <a:gd name="T63" fmla="*/ 68 h 75"/>
                <a:gd name="T64" fmla="*/ 116 w 224"/>
                <a:gd name="T65" fmla="*/ 64 h 75"/>
                <a:gd name="T66" fmla="*/ 0 w 224"/>
                <a:gd name="T67" fmla="*/ 7 h 75"/>
                <a:gd name="T68" fmla="*/ 8 w 224"/>
                <a:gd name="T69" fmla="*/ 6 h 75"/>
                <a:gd name="T70" fmla="*/ 12 w 224"/>
                <a:gd name="T71" fmla="*/ 11 h 75"/>
                <a:gd name="T72" fmla="*/ 16 w 224"/>
                <a:gd name="T73" fmla="*/ 14 h 75"/>
                <a:gd name="T74" fmla="*/ 21 w 224"/>
                <a:gd name="T75" fmla="*/ 11 h 75"/>
                <a:gd name="T76" fmla="*/ 24 w 224"/>
                <a:gd name="T77" fmla="*/ 10 h 75"/>
                <a:gd name="T78" fmla="*/ 38 w 224"/>
                <a:gd name="T79" fmla="*/ 25 h 75"/>
                <a:gd name="T80" fmla="*/ 38 w 224"/>
                <a:gd name="T81" fmla="*/ 38 h 75"/>
                <a:gd name="T82" fmla="*/ 40 w 224"/>
                <a:gd name="T83" fmla="*/ 50 h 75"/>
                <a:gd name="T84" fmla="*/ 46 w 224"/>
                <a:gd name="T85" fmla="*/ 55 h 75"/>
                <a:gd name="T86" fmla="*/ 47 w 224"/>
                <a:gd name="T87" fmla="*/ 60 h 75"/>
                <a:gd name="T88" fmla="*/ 48 w 224"/>
                <a:gd name="T89" fmla="*/ 68 h 75"/>
                <a:gd name="T90" fmla="*/ 47 w 224"/>
                <a:gd name="T91" fmla="*/ 65 h 75"/>
                <a:gd name="T92" fmla="*/ 47 w 224"/>
                <a:gd name="T93" fmla="*/ 68 h 75"/>
                <a:gd name="T94" fmla="*/ 42 w 224"/>
                <a:gd name="T95" fmla="*/ 68 h 75"/>
                <a:gd name="T96" fmla="*/ 31 w 224"/>
                <a:gd name="T97" fmla="*/ 61 h 75"/>
                <a:gd name="T98" fmla="*/ 24 w 224"/>
                <a:gd name="T99" fmla="*/ 59 h 75"/>
                <a:gd name="T100" fmla="*/ 14 w 224"/>
                <a:gd name="T101" fmla="*/ 50 h 75"/>
                <a:gd name="T102" fmla="*/ 13 w 224"/>
                <a:gd name="T103" fmla="*/ 44 h 75"/>
                <a:gd name="T104" fmla="*/ 6 w 224"/>
                <a:gd name="T105" fmla="*/ 36 h 75"/>
                <a:gd name="T106" fmla="*/ 6 w 224"/>
                <a:gd name="T107" fmla="*/ 26 h 75"/>
                <a:gd name="T108" fmla="*/ 0 w 224"/>
                <a:gd name="T109" fmla="*/ 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4" h="75">
                  <a:moveTo>
                    <a:pt x="114" y="63"/>
                  </a:moveTo>
                  <a:lnTo>
                    <a:pt x="115" y="67"/>
                  </a:lnTo>
                  <a:lnTo>
                    <a:pt x="119" y="70"/>
                  </a:lnTo>
                  <a:lnTo>
                    <a:pt x="119" y="71"/>
                  </a:lnTo>
                  <a:lnTo>
                    <a:pt x="122" y="72"/>
                  </a:lnTo>
                  <a:lnTo>
                    <a:pt x="123" y="75"/>
                  </a:lnTo>
                  <a:lnTo>
                    <a:pt x="125" y="75"/>
                  </a:lnTo>
                  <a:lnTo>
                    <a:pt x="129" y="74"/>
                  </a:lnTo>
                  <a:lnTo>
                    <a:pt x="129" y="72"/>
                  </a:lnTo>
                  <a:lnTo>
                    <a:pt x="131" y="74"/>
                  </a:lnTo>
                  <a:lnTo>
                    <a:pt x="133" y="72"/>
                  </a:lnTo>
                  <a:lnTo>
                    <a:pt x="140" y="72"/>
                  </a:lnTo>
                  <a:lnTo>
                    <a:pt x="146" y="70"/>
                  </a:lnTo>
                  <a:lnTo>
                    <a:pt x="148" y="68"/>
                  </a:lnTo>
                  <a:lnTo>
                    <a:pt x="153" y="68"/>
                  </a:lnTo>
                  <a:lnTo>
                    <a:pt x="157" y="70"/>
                  </a:lnTo>
                  <a:lnTo>
                    <a:pt x="157" y="71"/>
                  </a:lnTo>
                  <a:lnTo>
                    <a:pt x="160" y="71"/>
                  </a:lnTo>
                  <a:lnTo>
                    <a:pt x="165" y="68"/>
                  </a:lnTo>
                  <a:lnTo>
                    <a:pt x="171" y="67"/>
                  </a:lnTo>
                  <a:lnTo>
                    <a:pt x="171" y="65"/>
                  </a:lnTo>
                  <a:lnTo>
                    <a:pt x="175" y="59"/>
                  </a:lnTo>
                  <a:lnTo>
                    <a:pt x="178" y="53"/>
                  </a:lnTo>
                  <a:lnTo>
                    <a:pt x="180" y="48"/>
                  </a:lnTo>
                  <a:lnTo>
                    <a:pt x="183" y="40"/>
                  </a:lnTo>
                  <a:lnTo>
                    <a:pt x="183" y="38"/>
                  </a:lnTo>
                  <a:lnTo>
                    <a:pt x="184" y="36"/>
                  </a:lnTo>
                  <a:lnTo>
                    <a:pt x="184" y="34"/>
                  </a:lnTo>
                  <a:lnTo>
                    <a:pt x="187" y="31"/>
                  </a:lnTo>
                  <a:lnTo>
                    <a:pt x="189" y="31"/>
                  </a:lnTo>
                  <a:lnTo>
                    <a:pt x="193" y="31"/>
                  </a:lnTo>
                  <a:lnTo>
                    <a:pt x="197" y="31"/>
                  </a:lnTo>
                  <a:lnTo>
                    <a:pt x="198" y="33"/>
                  </a:lnTo>
                  <a:lnTo>
                    <a:pt x="202" y="33"/>
                  </a:lnTo>
                  <a:lnTo>
                    <a:pt x="205" y="33"/>
                  </a:lnTo>
                  <a:lnTo>
                    <a:pt x="205" y="33"/>
                  </a:lnTo>
                  <a:lnTo>
                    <a:pt x="208" y="34"/>
                  </a:lnTo>
                  <a:lnTo>
                    <a:pt x="209" y="34"/>
                  </a:lnTo>
                  <a:lnTo>
                    <a:pt x="212" y="33"/>
                  </a:lnTo>
                  <a:lnTo>
                    <a:pt x="214" y="33"/>
                  </a:lnTo>
                  <a:lnTo>
                    <a:pt x="214" y="31"/>
                  </a:lnTo>
                  <a:lnTo>
                    <a:pt x="212" y="29"/>
                  </a:lnTo>
                  <a:lnTo>
                    <a:pt x="212" y="26"/>
                  </a:lnTo>
                  <a:lnTo>
                    <a:pt x="213" y="25"/>
                  </a:lnTo>
                  <a:lnTo>
                    <a:pt x="218" y="25"/>
                  </a:lnTo>
                  <a:lnTo>
                    <a:pt x="221" y="25"/>
                  </a:lnTo>
                  <a:lnTo>
                    <a:pt x="224" y="22"/>
                  </a:lnTo>
                  <a:lnTo>
                    <a:pt x="224" y="21"/>
                  </a:lnTo>
                  <a:lnTo>
                    <a:pt x="223" y="21"/>
                  </a:lnTo>
                  <a:lnTo>
                    <a:pt x="220" y="21"/>
                  </a:lnTo>
                  <a:lnTo>
                    <a:pt x="217" y="18"/>
                  </a:lnTo>
                  <a:lnTo>
                    <a:pt x="216" y="18"/>
                  </a:lnTo>
                  <a:lnTo>
                    <a:pt x="212" y="15"/>
                  </a:lnTo>
                  <a:lnTo>
                    <a:pt x="210" y="15"/>
                  </a:lnTo>
                  <a:lnTo>
                    <a:pt x="209" y="18"/>
                  </a:lnTo>
                  <a:lnTo>
                    <a:pt x="208" y="17"/>
                  </a:lnTo>
                  <a:lnTo>
                    <a:pt x="210" y="14"/>
                  </a:lnTo>
                  <a:lnTo>
                    <a:pt x="209" y="12"/>
                  </a:lnTo>
                  <a:lnTo>
                    <a:pt x="208" y="12"/>
                  </a:lnTo>
                  <a:lnTo>
                    <a:pt x="206" y="15"/>
                  </a:lnTo>
                  <a:lnTo>
                    <a:pt x="205" y="14"/>
                  </a:lnTo>
                  <a:lnTo>
                    <a:pt x="205" y="14"/>
                  </a:lnTo>
                  <a:lnTo>
                    <a:pt x="205" y="10"/>
                  </a:lnTo>
                  <a:lnTo>
                    <a:pt x="206" y="10"/>
                  </a:lnTo>
                  <a:lnTo>
                    <a:pt x="206" y="8"/>
                  </a:lnTo>
                  <a:lnTo>
                    <a:pt x="203" y="6"/>
                  </a:lnTo>
                  <a:lnTo>
                    <a:pt x="202" y="7"/>
                  </a:lnTo>
                  <a:lnTo>
                    <a:pt x="201" y="4"/>
                  </a:lnTo>
                  <a:lnTo>
                    <a:pt x="201" y="2"/>
                  </a:lnTo>
                  <a:lnTo>
                    <a:pt x="198" y="0"/>
                  </a:lnTo>
                  <a:lnTo>
                    <a:pt x="197" y="0"/>
                  </a:lnTo>
                  <a:lnTo>
                    <a:pt x="198" y="3"/>
                  </a:lnTo>
                  <a:lnTo>
                    <a:pt x="195" y="6"/>
                  </a:lnTo>
                  <a:lnTo>
                    <a:pt x="194" y="4"/>
                  </a:lnTo>
                  <a:lnTo>
                    <a:pt x="195" y="3"/>
                  </a:lnTo>
                  <a:lnTo>
                    <a:pt x="194" y="0"/>
                  </a:lnTo>
                  <a:lnTo>
                    <a:pt x="193" y="0"/>
                  </a:lnTo>
                  <a:lnTo>
                    <a:pt x="191" y="6"/>
                  </a:lnTo>
                  <a:lnTo>
                    <a:pt x="190" y="7"/>
                  </a:lnTo>
                  <a:lnTo>
                    <a:pt x="187" y="12"/>
                  </a:lnTo>
                  <a:lnTo>
                    <a:pt x="187" y="15"/>
                  </a:lnTo>
                  <a:lnTo>
                    <a:pt x="183" y="19"/>
                  </a:lnTo>
                  <a:lnTo>
                    <a:pt x="180" y="19"/>
                  </a:lnTo>
                  <a:lnTo>
                    <a:pt x="178" y="21"/>
                  </a:lnTo>
                  <a:lnTo>
                    <a:pt x="176" y="22"/>
                  </a:lnTo>
                  <a:lnTo>
                    <a:pt x="178" y="22"/>
                  </a:lnTo>
                  <a:lnTo>
                    <a:pt x="176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79" y="25"/>
                  </a:lnTo>
                  <a:lnTo>
                    <a:pt x="178" y="26"/>
                  </a:lnTo>
                  <a:lnTo>
                    <a:pt x="176" y="26"/>
                  </a:lnTo>
                  <a:lnTo>
                    <a:pt x="178" y="27"/>
                  </a:lnTo>
                  <a:lnTo>
                    <a:pt x="179" y="31"/>
                  </a:lnTo>
                  <a:lnTo>
                    <a:pt x="178" y="33"/>
                  </a:lnTo>
                  <a:lnTo>
                    <a:pt x="176" y="33"/>
                  </a:lnTo>
                  <a:lnTo>
                    <a:pt x="176" y="29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4" y="27"/>
                  </a:lnTo>
                  <a:lnTo>
                    <a:pt x="172" y="29"/>
                  </a:lnTo>
                  <a:lnTo>
                    <a:pt x="174" y="34"/>
                  </a:lnTo>
                  <a:lnTo>
                    <a:pt x="172" y="34"/>
                  </a:lnTo>
                  <a:lnTo>
                    <a:pt x="169" y="33"/>
                  </a:lnTo>
                  <a:lnTo>
                    <a:pt x="168" y="30"/>
                  </a:lnTo>
                  <a:lnTo>
                    <a:pt x="167" y="29"/>
                  </a:lnTo>
                  <a:lnTo>
                    <a:pt x="165" y="29"/>
                  </a:lnTo>
                  <a:lnTo>
                    <a:pt x="163" y="30"/>
                  </a:lnTo>
                  <a:lnTo>
                    <a:pt x="163" y="33"/>
                  </a:lnTo>
                  <a:lnTo>
                    <a:pt x="160" y="36"/>
                  </a:lnTo>
                  <a:lnTo>
                    <a:pt x="159" y="38"/>
                  </a:lnTo>
                  <a:lnTo>
                    <a:pt x="156" y="41"/>
                  </a:lnTo>
                  <a:lnTo>
                    <a:pt x="155" y="44"/>
                  </a:lnTo>
                  <a:lnTo>
                    <a:pt x="152" y="48"/>
                  </a:lnTo>
                  <a:lnTo>
                    <a:pt x="149" y="49"/>
                  </a:lnTo>
                  <a:lnTo>
                    <a:pt x="140" y="52"/>
                  </a:lnTo>
                  <a:lnTo>
                    <a:pt x="138" y="53"/>
                  </a:lnTo>
                  <a:lnTo>
                    <a:pt x="140" y="56"/>
                  </a:lnTo>
                  <a:lnTo>
                    <a:pt x="140" y="57"/>
                  </a:lnTo>
                  <a:lnTo>
                    <a:pt x="138" y="56"/>
                  </a:lnTo>
                  <a:lnTo>
                    <a:pt x="137" y="57"/>
                  </a:lnTo>
                  <a:lnTo>
                    <a:pt x="134" y="57"/>
                  </a:lnTo>
                  <a:lnTo>
                    <a:pt x="133" y="59"/>
                  </a:lnTo>
                  <a:lnTo>
                    <a:pt x="133" y="61"/>
                  </a:lnTo>
                  <a:lnTo>
                    <a:pt x="133" y="65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6" y="68"/>
                  </a:lnTo>
                  <a:lnTo>
                    <a:pt x="121" y="67"/>
                  </a:lnTo>
                  <a:lnTo>
                    <a:pt x="118" y="67"/>
                  </a:lnTo>
                  <a:lnTo>
                    <a:pt x="116" y="64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3"/>
                  </a:lnTo>
                  <a:close/>
                  <a:moveTo>
                    <a:pt x="0" y="7"/>
                  </a:moveTo>
                  <a:lnTo>
                    <a:pt x="1" y="4"/>
                  </a:lnTo>
                  <a:lnTo>
                    <a:pt x="2" y="3"/>
                  </a:lnTo>
                  <a:lnTo>
                    <a:pt x="4" y="4"/>
                  </a:lnTo>
                  <a:lnTo>
                    <a:pt x="8" y="6"/>
                  </a:lnTo>
                  <a:lnTo>
                    <a:pt x="8" y="7"/>
                  </a:lnTo>
                  <a:lnTo>
                    <a:pt x="10" y="7"/>
                  </a:lnTo>
                  <a:lnTo>
                    <a:pt x="12" y="8"/>
                  </a:lnTo>
                  <a:lnTo>
                    <a:pt x="12" y="11"/>
                  </a:lnTo>
                  <a:lnTo>
                    <a:pt x="10" y="12"/>
                  </a:lnTo>
                  <a:lnTo>
                    <a:pt x="10" y="15"/>
                  </a:lnTo>
                  <a:lnTo>
                    <a:pt x="13" y="15"/>
                  </a:lnTo>
                  <a:lnTo>
                    <a:pt x="16" y="14"/>
                  </a:lnTo>
                  <a:lnTo>
                    <a:pt x="17" y="12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7" y="12"/>
                  </a:lnTo>
                  <a:lnTo>
                    <a:pt x="36" y="21"/>
                  </a:lnTo>
                  <a:lnTo>
                    <a:pt x="38" y="25"/>
                  </a:lnTo>
                  <a:lnTo>
                    <a:pt x="39" y="30"/>
                  </a:lnTo>
                  <a:lnTo>
                    <a:pt x="39" y="31"/>
                  </a:lnTo>
                  <a:lnTo>
                    <a:pt x="39" y="37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39" y="41"/>
                  </a:lnTo>
                  <a:lnTo>
                    <a:pt x="39" y="48"/>
                  </a:lnTo>
                  <a:lnTo>
                    <a:pt x="40" y="50"/>
                  </a:lnTo>
                  <a:lnTo>
                    <a:pt x="43" y="53"/>
                  </a:lnTo>
                  <a:lnTo>
                    <a:pt x="44" y="53"/>
                  </a:lnTo>
                  <a:lnTo>
                    <a:pt x="46" y="53"/>
                  </a:lnTo>
                  <a:lnTo>
                    <a:pt x="46" y="55"/>
                  </a:lnTo>
                  <a:lnTo>
                    <a:pt x="46" y="59"/>
                  </a:lnTo>
                  <a:lnTo>
                    <a:pt x="47" y="59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50" y="65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6" y="70"/>
                  </a:lnTo>
                  <a:lnTo>
                    <a:pt x="44" y="68"/>
                  </a:lnTo>
                  <a:lnTo>
                    <a:pt x="43" y="70"/>
                  </a:lnTo>
                  <a:lnTo>
                    <a:pt x="42" y="68"/>
                  </a:lnTo>
                  <a:lnTo>
                    <a:pt x="40" y="67"/>
                  </a:lnTo>
                  <a:lnTo>
                    <a:pt x="36" y="65"/>
                  </a:lnTo>
                  <a:lnTo>
                    <a:pt x="32" y="64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28" y="61"/>
                  </a:lnTo>
                  <a:lnTo>
                    <a:pt x="27" y="61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0" y="53"/>
                  </a:lnTo>
                  <a:lnTo>
                    <a:pt x="16" y="52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6" y="46"/>
                  </a:lnTo>
                  <a:lnTo>
                    <a:pt x="14" y="45"/>
                  </a:lnTo>
                  <a:lnTo>
                    <a:pt x="13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5" y="34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6" y="26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2" y="11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19" name="Freeform 19"/>
            <p:cNvSpPr>
              <a:spLocks noEditPoints="1"/>
            </p:cNvSpPr>
            <p:nvPr/>
          </p:nvSpPr>
          <p:spPr bwMode="auto">
            <a:xfrm>
              <a:off x="3313" y="1942"/>
              <a:ext cx="14" cy="11"/>
            </a:xfrm>
            <a:custGeom>
              <a:avLst/>
              <a:gdLst>
                <a:gd name="T0" fmla="*/ 0 w 14"/>
                <a:gd name="T1" fmla="*/ 6 h 11"/>
                <a:gd name="T2" fmla="*/ 2 w 14"/>
                <a:gd name="T3" fmla="*/ 6 h 11"/>
                <a:gd name="T4" fmla="*/ 3 w 14"/>
                <a:gd name="T5" fmla="*/ 7 h 11"/>
                <a:gd name="T6" fmla="*/ 4 w 14"/>
                <a:gd name="T7" fmla="*/ 10 h 11"/>
                <a:gd name="T8" fmla="*/ 7 w 14"/>
                <a:gd name="T9" fmla="*/ 11 h 11"/>
                <a:gd name="T10" fmla="*/ 9 w 14"/>
                <a:gd name="T11" fmla="*/ 11 h 11"/>
                <a:gd name="T12" fmla="*/ 7 w 14"/>
                <a:gd name="T13" fmla="*/ 6 h 11"/>
                <a:gd name="T14" fmla="*/ 9 w 14"/>
                <a:gd name="T15" fmla="*/ 4 h 11"/>
                <a:gd name="T16" fmla="*/ 10 w 14"/>
                <a:gd name="T17" fmla="*/ 4 h 11"/>
                <a:gd name="T18" fmla="*/ 10 w 14"/>
                <a:gd name="T19" fmla="*/ 3 h 11"/>
                <a:gd name="T20" fmla="*/ 10 w 14"/>
                <a:gd name="T21" fmla="*/ 0 h 11"/>
                <a:gd name="T22" fmla="*/ 7 w 14"/>
                <a:gd name="T23" fmla="*/ 2 h 11"/>
                <a:gd name="T24" fmla="*/ 4 w 14"/>
                <a:gd name="T25" fmla="*/ 3 h 11"/>
                <a:gd name="T26" fmla="*/ 0 w 14"/>
                <a:gd name="T27" fmla="*/ 4 h 11"/>
                <a:gd name="T28" fmla="*/ 0 w 14"/>
                <a:gd name="T29" fmla="*/ 6 h 11"/>
                <a:gd name="T30" fmla="*/ 0 w 14"/>
                <a:gd name="T31" fmla="*/ 6 h 11"/>
                <a:gd name="T32" fmla="*/ 10 w 14"/>
                <a:gd name="T33" fmla="*/ 4 h 11"/>
                <a:gd name="T34" fmla="*/ 11 w 14"/>
                <a:gd name="T35" fmla="*/ 6 h 11"/>
                <a:gd name="T36" fmla="*/ 11 w 14"/>
                <a:gd name="T37" fmla="*/ 10 h 11"/>
                <a:gd name="T38" fmla="*/ 13 w 14"/>
                <a:gd name="T39" fmla="*/ 10 h 11"/>
                <a:gd name="T40" fmla="*/ 14 w 14"/>
                <a:gd name="T41" fmla="*/ 8 h 11"/>
                <a:gd name="T42" fmla="*/ 13 w 14"/>
                <a:gd name="T43" fmla="*/ 4 h 11"/>
                <a:gd name="T44" fmla="*/ 11 w 14"/>
                <a:gd name="T45" fmla="*/ 3 h 11"/>
                <a:gd name="T46" fmla="*/ 11 w 14"/>
                <a:gd name="T47" fmla="*/ 4 h 11"/>
                <a:gd name="T48" fmla="*/ 10 w 14"/>
                <a:gd name="T4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" h="11">
                  <a:moveTo>
                    <a:pt x="0" y="6"/>
                  </a:moveTo>
                  <a:lnTo>
                    <a:pt x="2" y="6"/>
                  </a:lnTo>
                  <a:lnTo>
                    <a:pt x="3" y="7"/>
                  </a:lnTo>
                  <a:lnTo>
                    <a:pt x="4" y="10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7" y="6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7" y="2"/>
                  </a:lnTo>
                  <a:lnTo>
                    <a:pt x="4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10" y="4"/>
                  </a:moveTo>
                  <a:lnTo>
                    <a:pt x="11" y="6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4" y="8"/>
                  </a:lnTo>
                  <a:lnTo>
                    <a:pt x="13" y="4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0" name="Freeform 20"/>
            <p:cNvSpPr>
              <a:spLocks/>
            </p:cNvSpPr>
            <p:nvPr/>
          </p:nvSpPr>
          <p:spPr bwMode="auto">
            <a:xfrm>
              <a:off x="3157" y="1711"/>
              <a:ext cx="97" cy="188"/>
            </a:xfrm>
            <a:custGeom>
              <a:avLst/>
              <a:gdLst>
                <a:gd name="T0" fmla="*/ 4 w 97"/>
                <a:gd name="T1" fmla="*/ 10 h 188"/>
                <a:gd name="T2" fmla="*/ 10 w 97"/>
                <a:gd name="T3" fmla="*/ 12 h 188"/>
                <a:gd name="T4" fmla="*/ 18 w 97"/>
                <a:gd name="T5" fmla="*/ 10 h 188"/>
                <a:gd name="T6" fmla="*/ 26 w 97"/>
                <a:gd name="T7" fmla="*/ 8 h 188"/>
                <a:gd name="T8" fmla="*/ 37 w 97"/>
                <a:gd name="T9" fmla="*/ 0 h 188"/>
                <a:gd name="T10" fmla="*/ 48 w 97"/>
                <a:gd name="T11" fmla="*/ 6 h 188"/>
                <a:gd name="T12" fmla="*/ 52 w 97"/>
                <a:gd name="T13" fmla="*/ 10 h 188"/>
                <a:gd name="T14" fmla="*/ 58 w 97"/>
                <a:gd name="T15" fmla="*/ 21 h 188"/>
                <a:gd name="T16" fmla="*/ 68 w 97"/>
                <a:gd name="T17" fmla="*/ 22 h 188"/>
                <a:gd name="T18" fmla="*/ 68 w 97"/>
                <a:gd name="T19" fmla="*/ 26 h 188"/>
                <a:gd name="T20" fmla="*/ 60 w 97"/>
                <a:gd name="T21" fmla="*/ 29 h 188"/>
                <a:gd name="T22" fmla="*/ 57 w 97"/>
                <a:gd name="T23" fmla="*/ 31 h 188"/>
                <a:gd name="T24" fmla="*/ 53 w 97"/>
                <a:gd name="T25" fmla="*/ 34 h 188"/>
                <a:gd name="T26" fmla="*/ 52 w 97"/>
                <a:gd name="T27" fmla="*/ 40 h 188"/>
                <a:gd name="T28" fmla="*/ 48 w 97"/>
                <a:gd name="T29" fmla="*/ 45 h 188"/>
                <a:gd name="T30" fmla="*/ 45 w 97"/>
                <a:gd name="T31" fmla="*/ 49 h 188"/>
                <a:gd name="T32" fmla="*/ 44 w 97"/>
                <a:gd name="T33" fmla="*/ 59 h 188"/>
                <a:gd name="T34" fmla="*/ 49 w 97"/>
                <a:gd name="T35" fmla="*/ 64 h 188"/>
                <a:gd name="T36" fmla="*/ 54 w 97"/>
                <a:gd name="T37" fmla="*/ 72 h 188"/>
                <a:gd name="T38" fmla="*/ 64 w 97"/>
                <a:gd name="T39" fmla="*/ 83 h 188"/>
                <a:gd name="T40" fmla="*/ 84 w 97"/>
                <a:gd name="T41" fmla="*/ 99 h 188"/>
                <a:gd name="T42" fmla="*/ 87 w 97"/>
                <a:gd name="T43" fmla="*/ 106 h 188"/>
                <a:gd name="T44" fmla="*/ 91 w 97"/>
                <a:gd name="T45" fmla="*/ 116 h 188"/>
                <a:gd name="T46" fmla="*/ 94 w 97"/>
                <a:gd name="T47" fmla="*/ 125 h 188"/>
                <a:gd name="T48" fmla="*/ 95 w 97"/>
                <a:gd name="T49" fmla="*/ 133 h 188"/>
                <a:gd name="T50" fmla="*/ 95 w 97"/>
                <a:gd name="T51" fmla="*/ 136 h 188"/>
                <a:gd name="T52" fmla="*/ 94 w 97"/>
                <a:gd name="T53" fmla="*/ 142 h 188"/>
                <a:gd name="T54" fmla="*/ 94 w 97"/>
                <a:gd name="T55" fmla="*/ 150 h 188"/>
                <a:gd name="T56" fmla="*/ 86 w 97"/>
                <a:gd name="T57" fmla="*/ 158 h 188"/>
                <a:gd name="T58" fmla="*/ 79 w 97"/>
                <a:gd name="T59" fmla="*/ 163 h 188"/>
                <a:gd name="T60" fmla="*/ 67 w 97"/>
                <a:gd name="T61" fmla="*/ 166 h 188"/>
                <a:gd name="T62" fmla="*/ 64 w 97"/>
                <a:gd name="T63" fmla="*/ 165 h 188"/>
                <a:gd name="T64" fmla="*/ 65 w 97"/>
                <a:gd name="T65" fmla="*/ 169 h 188"/>
                <a:gd name="T66" fmla="*/ 64 w 97"/>
                <a:gd name="T67" fmla="*/ 173 h 188"/>
                <a:gd name="T68" fmla="*/ 60 w 97"/>
                <a:gd name="T69" fmla="*/ 173 h 188"/>
                <a:gd name="T70" fmla="*/ 58 w 97"/>
                <a:gd name="T71" fmla="*/ 178 h 188"/>
                <a:gd name="T72" fmla="*/ 52 w 97"/>
                <a:gd name="T73" fmla="*/ 182 h 188"/>
                <a:gd name="T74" fmla="*/ 45 w 97"/>
                <a:gd name="T75" fmla="*/ 188 h 188"/>
                <a:gd name="T76" fmla="*/ 46 w 97"/>
                <a:gd name="T77" fmla="*/ 185 h 188"/>
                <a:gd name="T78" fmla="*/ 45 w 97"/>
                <a:gd name="T79" fmla="*/ 178 h 188"/>
                <a:gd name="T80" fmla="*/ 49 w 97"/>
                <a:gd name="T81" fmla="*/ 169 h 188"/>
                <a:gd name="T82" fmla="*/ 39 w 97"/>
                <a:gd name="T83" fmla="*/ 169 h 188"/>
                <a:gd name="T84" fmla="*/ 45 w 97"/>
                <a:gd name="T85" fmla="*/ 162 h 188"/>
                <a:gd name="T86" fmla="*/ 57 w 97"/>
                <a:gd name="T87" fmla="*/ 159 h 188"/>
                <a:gd name="T88" fmla="*/ 58 w 97"/>
                <a:gd name="T89" fmla="*/ 155 h 188"/>
                <a:gd name="T90" fmla="*/ 64 w 97"/>
                <a:gd name="T91" fmla="*/ 146 h 188"/>
                <a:gd name="T92" fmla="*/ 73 w 97"/>
                <a:gd name="T93" fmla="*/ 138 h 188"/>
                <a:gd name="T94" fmla="*/ 72 w 97"/>
                <a:gd name="T95" fmla="*/ 121 h 188"/>
                <a:gd name="T96" fmla="*/ 71 w 97"/>
                <a:gd name="T97" fmla="*/ 112 h 188"/>
                <a:gd name="T98" fmla="*/ 71 w 97"/>
                <a:gd name="T99" fmla="*/ 101 h 188"/>
                <a:gd name="T100" fmla="*/ 69 w 97"/>
                <a:gd name="T101" fmla="*/ 94 h 188"/>
                <a:gd name="T102" fmla="*/ 64 w 97"/>
                <a:gd name="T103" fmla="*/ 89 h 188"/>
                <a:gd name="T104" fmla="*/ 57 w 97"/>
                <a:gd name="T105" fmla="*/ 82 h 188"/>
                <a:gd name="T106" fmla="*/ 49 w 97"/>
                <a:gd name="T107" fmla="*/ 72 h 188"/>
                <a:gd name="T108" fmla="*/ 34 w 97"/>
                <a:gd name="T109" fmla="*/ 61 h 188"/>
                <a:gd name="T110" fmla="*/ 29 w 97"/>
                <a:gd name="T111" fmla="*/ 55 h 188"/>
                <a:gd name="T112" fmla="*/ 33 w 97"/>
                <a:gd name="T113" fmla="*/ 49 h 188"/>
                <a:gd name="T114" fmla="*/ 34 w 97"/>
                <a:gd name="T115" fmla="*/ 40 h 188"/>
                <a:gd name="T116" fmla="*/ 26 w 97"/>
                <a:gd name="T117" fmla="*/ 33 h 188"/>
                <a:gd name="T118" fmla="*/ 8 w 97"/>
                <a:gd name="T119" fmla="*/ 26 h 188"/>
                <a:gd name="T120" fmla="*/ 1 w 97"/>
                <a:gd name="T121" fmla="*/ 1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7" h="188">
                  <a:moveTo>
                    <a:pt x="0" y="14"/>
                  </a:moveTo>
                  <a:lnTo>
                    <a:pt x="1" y="12"/>
                  </a:lnTo>
                  <a:lnTo>
                    <a:pt x="1" y="12"/>
                  </a:lnTo>
                  <a:lnTo>
                    <a:pt x="3" y="11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7" y="11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1" y="10"/>
                  </a:lnTo>
                  <a:lnTo>
                    <a:pt x="12" y="8"/>
                  </a:lnTo>
                  <a:lnTo>
                    <a:pt x="15" y="11"/>
                  </a:lnTo>
                  <a:lnTo>
                    <a:pt x="16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3" y="7"/>
                  </a:lnTo>
                  <a:lnTo>
                    <a:pt x="26" y="8"/>
                  </a:lnTo>
                  <a:lnTo>
                    <a:pt x="30" y="7"/>
                  </a:lnTo>
                  <a:lnTo>
                    <a:pt x="30" y="3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7" y="0"/>
                  </a:lnTo>
                  <a:lnTo>
                    <a:pt x="39" y="3"/>
                  </a:lnTo>
                  <a:lnTo>
                    <a:pt x="39" y="4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8" y="6"/>
                  </a:lnTo>
                  <a:lnTo>
                    <a:pt x="49" y="7"/>
                  </a:lnTo>
                  <a:lnTo>
                    <a:pt x="52" y="6"/>
                  </a:lnTo>
                  <a:lnTo>
                    <a:pt x="54" y="7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2" y="14"/>
                  </a:lnTo>
                  <a:lnTo>
                    <a:pt x="53" y="15"/>
                  </a:lnTo>
                  <a:lnTo>
                    <a:pt x="53" y="18"/>
                  </a:lnTo>
                  <a:lnTo>
                    <a:pt x="57" y="19"/>
                  </a:lnTo>
                  <a:lnTo>
                    <a:pt x="58" y="21"/>
                  </a:lnTo>
                  <a:lnTo>
                    <a:pt x="61" y="22"/>
                  </a:lnTo>
                  <a:lnTo>
                    <a:pt x="63" y="23"/>
                  </a:lnTo>
                  <a:lnTo>
                    <a:pt x="65" y="22"/>
                  </a:lnTo>
                  <a:lnTo>
                    <a:pt x="67" y="23"/>
                  </a:lnTo>
                  <a:lnTo>
                    <a:pt x="68" y="22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71" y="25"/>
                  </a:lnTo>
                  <a:lnTo>
                    <a:pt x="69" y="26"/>
                  </a:lnTo>
                  <a:lnTo>
                    <a:pt x="68" y="26"/>
                  </a:lnTo>
                  <a:lnTo>
                    <a:pt x="67" y="26"/>
                  </a:lnTo>
                  <a:lnTo>
                    <a:pt x="65" y="27"/>
                  </a:lnTo>
                  <a:lnTo>
                    <a:pt x="63" y="27"/>
                  </a:lnTo>
                  <a:lnTo>
                    <a:pt x="61" y="27"/>
                  </a:lnTo>
                  <a:lnTo>
                    <a:pt x="60" y="29"/>
                  </a:lnTo>
                  <a:lnTo>
                    <a:pt x="61" y="30"/>
                  </a:lnTo>
                  <a:lnTo>
                    <a:pt x="60" y="31"/>
                  </a:lnTo>
                  <a:lnTo>
                    <a:pt x="60" y="33"/>
                  </a:lnTo>
                  <a:lnTo>
                    <a:pt x="58" y="31"/>
                  </a:lnTo>
                  <a:lnTo>
                    <a:pt x="57" y="31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3" y="31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3" y="36"/>
                  </a:lnTo>
                  <a:lnTo>
                    <a:pt x="52" y="37"/>
                  </a:lnTo>
                  <a:lnTo>
                    <a:pt x="53" y="40"/>
                  </a:lnTo>
                  <a:lnTo>
                    <a:pt x="52" y="40"/>
                  </a:lnTo>
                  <a:lnTo>
                    <a:pt x="53" y="41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49" y="45"/>
                  </a:lnTo>
                  <a:lnTo>
                    <a:pt x="48" y="45"/>
                  </a:lnTo>
                  <a:lnTo>
                    <a:pt x="48" y="44"/>
                  </a:lnTo>
                  <a:lnTo>
                    <a:pt x="48" y="45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5" y="49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6" y="52"/>
                  </a:lnTo>
                  <a:lnTo>
                    <a:pt x="45" y="56"/>
                  </a:lnTo>
                  <a:lnTo>
                    <a:pt x="44" y="59"/>
                  </a:lnTo>
                  <a:lnTo>
                    <a:pt x="46" y="60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46" y="63"/>
                  </a:lnTo>
                  <a:lnTo>
                    <a:pt x="49" y="64"/>
                  </a:lnTo>
                  <a:lnTo>
                    <a:pt x="53" y="68"/>
                  </a:lnTo>
                  <a:lnTo>
                    <a:pt x="54" y="68"/>
                  </a:lnTo>
                  <a:lnTo>
                    <a:pt x="56" y="71"/>
                  </a:lnTo>
                  <a:lnTo>
                    <a:pt x="56" y="71"/>
                  </a:lnTo>
                  <a:lnTo>
                    <a:pt x="54" y="72"/>
                  </a:lnTo>
                  <a:lnTo>
                    <a:pt x="56" y="75"/>
                  </a:lnTo>
                  <a:lnTo>
                    <a:pt x="56" y="76"/>
                  </a:lnTo>
                  <a:lnTo>
                    <a:pt x="61" y="80"/>
                  </a:lnTo>
                  <a:lnTo>
                    <a:pt x="64" y="82"/>
                  </a:lnTo>
                  <a:lnTo>
                    <a:pt x="64" y="83"/>
                  </a:lnTo>
                  <a:lnTo>
                    <a:pt x="71" y="86"/>
                  </a:lnTo>
                  <a:lnTo>
                    <a:pt x="76" y="90"/>
                  </a:lnTo>
                  <a:lnTo>
                    <a:pt x="78" y="93"/>
                  </a:lnTo>
                  <a:lnTo>
                    <a:pt x="82" y="97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2"/>
                  </a:lnTo>
                  <a:lnTo>
                    <a:pt x="87" y="105"/>
                  </a:lnTo>
                  <a:lnTo>
                    <a:pt x="87" y="106"/>
                  </a:lnTo>
                  <a:lnTo>
                    <a:pt x="88" y="108"/>
                  </a:lnTo>
                  <a:lnTo>
                    <a:pt x="87" y="109"/>
                  </a:lnTo>
                  <a:lnTo>
                    <a:pt x="90" y="112"/>
                  </a:lnTo>
                  <a:lnTo>
                    <a:pt x="90" y="116"/>
                  </a:lnTo>
                  <a:lnTo>
                    <a:pt x="91" y="116"/>
                  </a:lnTo>
                  <a:lnTo>
                    <a:pt x="92" y="120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4"/>
                  </a:lnTo>
                  <a:lnTo>
                    <a:pt x="94" y="125"/>
                  </a:lnTo>
                  <a:lnTo>
                    <a:pt x="92" y="127"/>
                  </a:lnTo>
                  <a:lnTo>
                    <a:pt x="94" y="129"/>
                  </a:lnTo>
                  <a:lnTo>
                    <a:pt x="94" y="131"/>
                  </a:lnTo>
                  <a:lnTo>
                    <a:pt x="95" y="131"/>
                  </a:lnTo>
                  <a:lnTo>
                    <a:pt x="95" y="133"/>
                  </a:lnTo>
                  <a:lnTo>
                    <a:pt x="97" y="136"/>
                  </a:lnTo>
                  <a:lnTo>
                    <a:pt x="97" y="138"/>
                  </a:lnTo>
                  <a:lnTo>
                    <a:pt x="95" y="138"/>
                  </a:lnTo>
                  <a:lnTo>
                    <a:pt x="95" y="136"/>
                  </a:lnTo>
                  <a:lnTo>
                    <a:pt x="95" y="136"/>
                  </a:lnTo>
                  <a:lnTo>
                    <a:pt x="94" y="136"/>
                  </a:lnTo>
                  <a:lnTo>
                    <a:pt x="94" y="138"/>
                  </a:lnTo>
                  <a:lnTo>
                    <a:pt x="95" y="139"/>
                  </a:lnTo>
                  <a:lnTo>
                    <a:pt x="95" y="140"/>
                  </a:lnTo>
                  <a:lnTo>
                    <a:pt x="94" y="142"/>
                  </a:lnTo>
                  <a:lnTo>
                    <a:pt x="94" y="143"/>
                  </a:lnTo>
                  <a:lnTo>
                    <a:pt x="92" y="144"/>
                  </a:lnTo>
                  <a:lnTo>
                    <a:pt x="94" y="146"/>
                  </a:lnTo>
                  <a:lnTo>
                    <a:pt x="92" y="148"/>
                  </a:lnTo>
                  <a:lnTo>
                    <a:pt x="94" y="150"/>
                  </a:lnTo>
                  <a:lnTo>
                    <a:pt x="92" y="151"/>
                  </a:lnTo>
                  <a:lnTo>
                    <a:pt x="91" y="151"/>
                  </a:lnTo>
                  <a:lnTo>
                    <a:pt x="90" y="154"/>
                  </a:lnTo>
                  <a:lnTo>
                    <a:pt x="88" y="155"/>
                  </a:lnTo>
                  <a:lnTo>
                    <a:pt x="86" y="158"/>
                  </a:lnTo>
                  <a:lnTo>
                    <a:pt x="84" y="158"/>
                  </a:lnTo>
                  <a:lnTo>
                    <a:pt x="82" y="159"/>
                  </a:lnTo>
                  <a:lnTo>
                    <a:pt x="82" y="162"/>
                  </a:lnTo>
                  <a:lnTo>
                    <a:pt x="80" y="162"/>
                  </a:lnTo>
                  <a:lnTo>
                    <a:pt x="79" y="163"/>
                  </a:lnTo>
                  <a:lnTo>
                    <a:pt x="73" y="166"/>
                  </a:lnTo>
                  <a:lnTo>
                    <a:pt x="71" y="166"/>
                  </a:lnTo>
                  <a:lnTo>
                    <a:pt x="69" y="166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67" y="165"/>
                  </a:lnTo>
                  <a:lnTo>
                    <a:pt x="67" y="163"/>
                  </a:lnTo>
                  <a:lnTo>
                    <a:pt x="67" y="165"/>
                  </a:lnTo>
                  <a:lnTo>
                    <a:pt x="65" y="165"/>
                  </a:lnTo>
                  <a:lnTo>
                    <a:pt x="64" y="165"/>
                  </a:lnTo>
                  <a:lnTo>
                    <a:pt x="65" y="166"/>
                  </a:lnTo>
                  <a:lnTo>
                    <a:pt x="65" y="166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5" y="169"/>
                  </a:lnTo>
                  <a:lnTo>
                    <a:pt x="65" y="169"/>
                  </a:lnTo>
                  <a:lnTo>
                    <a:pt x="65" y="171"/>
                  </a:lnTo>
                  <a:lnTo>
                    <a:pt x="64" y="171"/>
                  </a:lnTo>
                  <a:lnTo>
                    <a:pt x="61" y="170"/>
                  </a:lnTo>
                  <a:lnTo>
                    <a:pt x="64" y="173"/>
                  </a:lnTo>
                  <a:lnTo>
                    <a:pt x="64" y="174"/>
                  </a:lnTo>
                  <a:lnTo>
                    <a:pt x="63" y="176"/>
                  </a:lnTo>
                  <a:lnTo>
                    <a:pt x="61" y="174"/>
                  </a:lnTo>
                  <a:lnTo>
                    <a:pt x="61" y="173"/>
                  </a:lnTo>
                  <a:lnTo>
                    <a:pt x="60" y="173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7"/>
                  </a:lnTo>
                  <a:lnTo>
                    <a:pt x="60" y="177"/>
                  </a:lnTo>
                  <a:lnTo>
                    <a:pt x="58" y="178"/>
                  </a:lnTo>
                  <a:lnTo>
                    <a:pt x="57" y="178"/>
                  </a:lnTo>
                  <a:lnTo>
                    <a:pt x="56" y="180"/>
                  </a:lnTo>
                  <a:lnTo>
                    <a:pt x="54" y="181"/>
                  </a:lnTo>
                  <a:lnTo>
                    <a:pt x="53" y="181"/>
                  </a:lnTo>
                  <a:lnTo>
                    <a:pt x="52" y="182"/>
                  </a:lnTo>
                  <a:lnTo>
                    <a:pt x="52" y="184"/>
                  </a:lnTo>
                  <a:lnTo>
                    <a:pt x="50" y="185"/>
                  </a:lnTo>
                  <a:lnTo>
                    <a:pt x="50" y="185"/>
                  </a:lnTo>
                  <a:lnTo>
                    <a:pt x="50" y="186"/>
                  </a:lnTo>
                  <a:lnTo>
                    <a:pt x="45" y="188"/>
                  </a:lnTo>
                  <a:lnTo>
                    <a:pt x="42" y="188"/>
                  </a:lnTo>
                  <a:lnTo>
                    <a:pt x="44" y="186"/>
                  </a:lnTo>
                  <a:lnTo>
                    <a:pt x="46" y="186"/>
                  </a:lnTo>
                  <a:lnTo>
                    <a:pt x="48" y="185"/>
                  </a:lnTo>
                  <a:lnTo>
                    <a:pt x="46" y="185"/>
                  </a:lnTo>
                  <a:lnTo>
                    <a:pt x="45" y="184"/>
                  </a:lnTo>
                  <a:lnTo>
                    <a:pt x="45" y="181"/>
                  </a:lnTo>
                  <a:lnTo>
                    <a:pt x="45" y="180"/>
                  </a:lnTo>
                  <a:lnTo>
                    <a:pt x="44" y="180"/>
                  </a:lnTo>
                  <a:lnTo>
                    <a:pt x="45" y="178"/>
                  </a:lnTo>
                  <a:lnTo>
                    <a:pt x="45" y="174"/>
                  </a:lnTo>
                  <a:lnTo>
                    <a:pt x="46" y="171"/>
                  </a:lnTo>
                  <a:lnTo>
                    <a:pt x="49" y="170"/>
                  </a:lnTo>
                  <a:lnTo>
                    <a:pt x="50" y="169"/>
                  </a:lnTo>
                  <a:lnTo>
                    <a:pt x="49" y="169"/>
                  </a:lnTo>
                  <a:lnTo>
                    <a:pt x="46" y="169"/>
                  </a:lnTo>
                  <a:lnTo>
                    <a:pt x="45" y="169"/>
                  </a:lnTo>
                  <a:lnTo>
                    <a:pt x="44" y="169"/>
                  </a:lnTo>
                  <a:lnTo>
                    <a:pt x="42" y="169"/>
                  </a:lnTo>
                  <a:lnTo>
                    <a:pt x="39" y="169"/>
                  </a:lnTo>
                  <a:lnTo>
                    <a:pt x="41" y="167"/>
                  </a:lnTo>
                  <a:lnTo>
                    <a:pt x="41" y="166"/>
                  </a:lnTo>
                  <a:lnTo>
                    <a:pt x="39" y="166"/>
                  </a:lnTo>
                  <a:lnTo>
                    <a:pt x="42" y="163"/>
                  </a:lnTo>
                  <a:lnTo>
                    <a:pt x="45" y="162"/>
                  </a:lnTo>
                  <a:lnTo>
                    <a:pt x="46" y="159"/>
                  </a:lnTo>
                  <a:lnTo>
                    <a:pt x="48" y="159"/>
                  </a:lnTo>
                  <a:lnTo>
                    <a:pt x="49" y="159"/>
                  </a:lnTo>
                  <a:lnTo>
                    <a:pt x="54" y="158"/>
                  </a:lnTo>
                  <a:lnTo>
                    <a:pt x="57" y="159"/>
                  </a:lnTo>
                  <a:lnTo>
                    <a:pt x="57" y="162"/>
                  </a:lnTo>
                  <a:lnTo>
                    <a:pt x="61" y="161"/>
                  </a:lnTo>
                  <a:lnTo>
                    <a:pt x="60" y="159"/>
                  </a:lnTo>
                  <a:lnTo>
                    <a:pt x="61" y="157"/>
                  </a:lnTo>
                  <a:lnTo>
                    <a:pt x="58" y="155"/>
                  </a:lnTo>
                  <a:lnTo>
                    <a:pt x="56" y="154"/>
                  </a:lnTo>
                  <a:lnTo>
                    <a:pt x="56" y="150"/>
                  </a:lnTo>
                  <a:lnTo>
                    <a:pt x="58" y="148"/>
                  </a:lnTo>
                  <a:lnTo>
                    <a:pt x="63" y="148"/>
                  </a:lnTo>
                  <a:lnTo>
                    <a:pt x="64" y="146"/>
                  </a:lnTo>
                  <a:lnTo>
                    <a:pt x="67" y="144"/>
                  </a:lnTo>
                  <a:lnTo>
                    <a:pt x="69" y="143"/>
                  </a:lnTo>
                  <a:lnTo>
                    <a:pt x="71" y="142"/>
                  </a:lnTo>
                  <a:lnTo>
                    <a:pt x="72" y="140"/>
                  </a:lnTo>
                  <a:lnTo>
                    <a:pt x="73" y="138"/>
                  </a:lnTo>
                  <a:lnTo>
                    <a:pt x="73" y="135"/>
                  </a:lnTo>
                  <a:lnTo>
                    <a:pt x="75" y="132"/>
                  </a:lnTo>
                  <a:lnTo>
                    <a:pt x="73" y="129"/>
                  </a:lnTo>
                  <a:lnTo>
                    <a:pt x="73" y="125"/>
                  </a:lnTo>
                  <a:lnTo>
                    <a:pt x="72" y="121"/>
                  </a:lnTo>
                  <a:lnTo>
                    <a:pt x="69" y="120"/>
                  </a:lnTo>
                  <a:lnTo>
                    <a:pt x="68" y="116"/>
                  </a:lnTo>
                  <a:lnTo>
                    <a:pt x="69" y="116"/>
                  </a:lnTo>
                  <a:lnTo>
                    <a:pt x="71" y="114"/>
                  </a:lnTo>
                  <a:lnTo>
                    <a:pt x="71" y="112"/>
                  </a:lnTo>
                  <a:lnTo>
                    <a:pt x="69" y="110"/>
                  </a:lnTo>
                  <a:lnTo>
                    <a:pt x="69" y="106"/>
                  </a:lnTo>
                  <a:lnTo>
                    <a:pt x="72" y="104"/>
                  </a:lnTo>
                  <a:lnTo>
                    <a:pt x="72" y="101"/>
                  </a:lnTo>
                  <a:lnTo>
                    <a:pt x="71" y="101"/>
                  </a:lnTo>
                  <a:lnTo>
                    <a:pt x="69" y="99"/>
                  </a:lnTo>
                  <a:lnTo>
                    <a:pt x="71" y="97"/>
                  </a:lnTo>
                  <a:lnTo>
                    <a:pt x="72" y="95"/>
                  </a:lnTo>
                  <a:lnTo>
                    <a:pt x="71" y="93"/>
                  </a:lnTo>
                  <a:lnTo>
                    <a:pt x="69" y="94"/>
                  </a:lnTo>
                  <a:lnTo>
                    <a:pt x="68" y="94"/>
                  </a:lnTo>
                  <a:lnTo>
                    <a:pt x="67" y="91"/>
                  </a:lnTo>
                  <a:lnTo>
                    <a:pt x="64" y="91"/>
                  </a:lnTo>
                  <a:lnTo>
                    <a:pt x="63" y="90"/>
                  </a:lnTo>
                  <a:lnTo>
                    <a:pt x="64" y="89"/>
                  </a:lnTo>
                  <a:lnTo>
                    <a:pt x="61" y="87"/>
                  </a:lnTo>
                  <a:lnTo>
                    <a:pt x="60" y="89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7" y="82"/>
                  </a:lnTo>
                  <a:lnTo>
                    <a:pt x="54" y="82"/>
                  </a:lnTo>
                  <a:lnTo>
                    <a:pt x="53" y="82"/>
                  </a:lnTo>
                  <a:lnTo>
                    <a:pt x="52" y="79"/>
                  </a:lnTo>
                  <a:lnTo>
                    <a:pt x="49" y="75"/>
                  </a:lnTo>
                  <a:lnTo>
                    <a:pt x="49" y="72"/>
                  </a:lnTo>
                  <a:lnTo>
                    <a:pt x="46" y="70"/>
                  </a:lnTo>
                  <a:lnTo>
                    <a:pt x="42" y="68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4" y="61"/>
                  </a:lnTo>
                  <a:lnTo>
                    <a:pt x="30" y="61"/>
                  </a:lnTo>
                  <a:lnTo>
                    <a:pt x="29" y="59"/>
                  </a:lnTo>
                  <a:lnTo>
                    <a:pt x="27" y="59"/>
                  </a:lnTo>
                  <a:lnTo>
                    <a:pt x="26" y="57"/>
                  </a:lnTo>
                  <a:lnTo>
                    <a:pt x="29" y="55"/>
                  </a:lnTo>
                  <a:lnTo>
                    <a:pt x="26" y="52"/>
                  </a:lnTo>
                  <a:lnTo>
                    <a:pt x="26" y="51"/>
                  </a:lnTo>
                  <a:lnTo>
                    <a:pt x="27" y="51"/>
                  </a:lnTo>
                  <a:lnTo>
                    <a:pt x="30" y="49"/>
                  </a:lnTo>
                  <a:lnTo>
                    <a:pt x="33" y="49"/>
                  </a:lnTo>
                  <a:lnTo>
                    <a:pt x="34" y="48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7" y="41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3" y="36"/>
                  </a:lnTo>
                  <a:lnTo>
                    <a:pt x="30" y="36"/>
                  </a:lnTo>
                  <a:lnTo>
                    <a:pt x="29" y="33"/>
                  </a:lnTo>
                  <a:lnTo>
                    <a:pt x="26" y="33"/>
                  </a:lnTo>
                  <a:lnTo>
                    <a:pt x="23" y="34"/>
                  </a:lnTo>
                  <a:lnTo>
                    <a:pt x="19" y="34"/>
                  </a:lnTo>
                  <a:lnTo>
                    <a:pt x="15" y="34"/>
                  </a:lnTo>
                  <a:lnTo>
                    <a:pt x="12" y="30"/>
                  </a:lnTo>
                  <a:lnTo>
                    <a:pt x="8" y="26"/>
                  </a:lnTo>
                  <a:lnTo>
                    <a:pt x="10" y="23"/>
                  </a:lnTo>
                  <a:lnTo>
                    <a:pt x="8" y="22"/>
                  </a:lnTo>
                  <a:lnTo>
                    <a:pt x="7" y="19"/>
                  </a:lnTo>
                  <a:lnTo>
                    <a:pt x="5" y="17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1" name="Freeform 21"/>
            <p:cNvSpPr>
              <a:spLocks/>
            </p:cNvSpPr>
            <p:nvPr/>
          </p:nvSpPr>
          <p:spPr bwMode="auto">
            <a:xfrm>
              <a:off x="3169" y="1823"/>
              <a:ext cx="63" cy="54"/>
            </a:xfrm>
            <a:custGeom>
              <a:avLst/>
              <a:gdLst>
                <a:gd name="T0" fmla="*/ 30 w 63"/>
                <a:gd name="T1" fmla="*/ 51 h 54"/>
                <a:gd name="T2" fmla="*/ 34 w 63"/>
                <a:gd name="T3" fmla="*/ 47 h 54"/>
                <a:gd name="T4" fmla="*/ 37 w 63"/>
                <a:gd name="T5" fmla="*/ 47 h 54"/>
                <a:gd name="T6" fmla="*/ 45 w 63"/>
                <a:gd name="T7" fmla="*/ 47 h 54"/>
                <a:gd name="T8" fmla="*/ 49 w 63"/>
                <a:gd name="T9" fmla="*/ 49 h 54"/>
                <a:gd name="T10" fmla="*/ 49 w 63"/>
                <a:gd name="T11" fmla="*/ 45 h 54"/>
                <a:gd name="T12" fmla="*/ 44 w 63"/>
                <a:gd name="T13" fmla="*/ 42 h 54"/>
                <a:gd name="T14" fmla="*/ 46 w 63"/>
                <a:gd name="T15" fmla="*/ 36 h 54"/>
                <a:gd name="T16" fmla="*/ 52 w 63"/>
                <a:gd name="T17" fmla="*/ 34 h 54"/>
                <a:gd name="T18" fmla="*/ 57 w 63"/>
                <a:gd name="T19" fmla="*/ 31 h 54"/>
                <a:gd name="T20" fmla="*/ 60 w 63"/>
                <a:gd name="T21" fmla="*/ 28 h 54"/>
                <a:gd name="T22" fmla="*/ 61 w 63"/>
                <a:gd name="T23" fmla="*/ 23 h 54"/>
                <a:gd name="T24" fmla="*/ 61 w 63"/>
                <a:gd name="T25" fmla="*/ 17 h 54"/>
                <a:gd name="T26" fmla="*/ 60 w 63"/>
                <a:gd name="T27" fmla="*/ 9 h 54"/>
                <a:gd name="T28" fmla="*/ 56 w 63"/>
                <a:gd name="T29" fmla="*/ 4 h 54"/>
                <a:gd name="T30" fmla="*/ 52 w 63"/>
                <a:gd name="T31" fmla="*/ 2 h 54"/>
                <a:gd name="T32" fmla="*/ 49 w 63"/>
                <a:gd name="T33" fmla="*/ 0 h 54"/>
                <a:gd name="T34" fmla="*/ 44 w 63"/>
                <a:gd name="T35" fmla="*/ 4 h 54"/>
                <a:gd name="T36" fmla="*/ 45 w 63"/>
                <a:gd name="T37" fmla="*/ 8 h 54"/>
                <a:gd name="T38" fmla="*/ 46 w 63"/>
                <a:gd name="T39" fmla="*/ 12 h 54"/>
                <a:gd name="T40" fmla="*/ 41 w 63"/>
                <a:gd name="T41" fmla="*/ 6 h 54"/>
                <a:gd name="T42" fmla="*/ 36 w 63"/>
                <a:gd name="T43" fmla="*/ 5 h 54"/>
                <a:gd name="T44" fmla="*/ 32 w 63"/>
                <a:gd name="T45" fmla="*/ 4 h 54"/>
                <a:gd name="T46" fmla="*/ 26 w 63"/>
                <a:gd name="T47" fmla="*/ 2 h 54"/>
                <a:gd name="T48" fmla="*/ 22 w 63"/>
                <a:gd name="T49" fmla="*/ 2 h 54"/>
                <a:gd name="T50" fmla="*/ 18 w 63"/>
                <a:gd name="T51" fmla="*/ 2 h 54"/>
                <a:gd name="T52" fmla="*/ 8 w 63"/>
                <a:gd name="T53" fmla="*/ 4 h 54"/>
                <a:gd name="T54" fmla="*/ 4 w 63"/>
                <a:gd name="T55" fmla="*/ 8 h 54"/>
                <a:gd name="T56" fmla="*/ 2 w 63"/>
                <a:gd name="T57" fmla="*/ 13 h 54"/>
                <a:gd name="T58" fmla="*/ 2 w 63"/>
                <a:gd name="T59" fmla="*/ 23 h 54"/>
                <a:gd name="T60" fmla="*/ 4 w 63"/>
                <a:gd name="T61" fmla="*/ 26 h 54"/>
                <a:gd name="T62" fmla="*/ 4 w 63"/>
                <a:gd name="T63" fmla="*/ 32 h 54"/>
                <a:gd name="T64" fmla="*/ 6 w 63"/>
                <a:gd name="T65" fmla="*/ 34 h 54"/>
                <a:gd name="T66" fmla="*/ 7 w 63"/>
                <a:gd name="T67" fmla="*/ 38 h 54"/>
                <a:gd name="T68" fmla="*/ 10 w 63"/>
                <a:gd name="T69" fmla="*/ 42 h 54"/>
                <a:gd name="T70" fmla="*/ 11 w 63"/>
                <a:gd name="T71" fmla="*/ 43 h 54"/>
                <a:gd name="T72" fmla="*/ 11 w 63"/>
                <a:gd name="T73" fmla="*/ 47 h 54"/>
                <a:gd name="T74" fmla="*/ 14 w 63"/>
                <a:gd name="T75" fmla="*/ 49 h 54"/>
                <a:gd name="T76" fmla="*/ 15 w 63"/>
                <a:gd name="T77" fmla="*/ 46 h 54"/>
                <a:gd name="T78" fmla="*/ 18 w 63"/>
                <a:gd name="T79" fmla="*/ 45 h 54"/>
                <a:gd name="T80" fmla="*/ 18 w 63"/>
                <a:gd name="T81" fmla="*/ 47 h 54"/>
                <a:gd name="T82" fmla="*/ 17 w 63"/>
                <a:gd name="T83" fmla="*/ 51 h 54"/>
                <a:gd name="T84" fmla="*/ 18 w 63"/>
                <a:gd name="T85" fmla="*/ 53 h 54"/>
                <a:gd name="T86" fmla="*/ 21 w 63"/>
                <a:gd name="T87" fmla="*/ 51 h 54"/>
                <a:gd name="T88" fmla="*/ 22 w 63"/>
                <a:gd name="T89" fmla="*/ 51 h 54"/>
                <a:gd name="T90" fmla="*/ 26 w 63"/>
                <a:gd name="T91" fmla="*/ 5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3" h="54">
                  <a:moveTo>
                    <a:pt x="27" y="54"/>
                  </a:moveTo>
                  <a:lnTo>
                    <a:pt x="30" y="51"/>
                  </a:lnTo>
                  <a:lnTo>
                    <a:pt x="33" y="50"/>
                  </a:lnTo>
                  <a:lnTo>
                    <a:pt x="34" y="47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42" y="46"/>
                  </a:lnTo>
                  <a:lnTo>
                    <a:pt x="45" y="47"/>
                  </a:lnTo>
                  <a:lnTo>
                    <a:pt x="45" y="50"/>
                  </a:lnTo>
                  <a:lnTo>
                    <a:pt x="49" y="49"/>
                  </a:lnTo>
                  <a:lnTo>
                    <a:pt x="48" y="47"/>
                  </a:lnTo>
                  <a:lnTo>
                    <a:pt x="49" y="45"/>
                  </a:lnTo>
                  <a:lnTo>
                    <a:pt x="46" y="43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6" y="36"/>
                  </a:lnTo>
                  <a:lnTo>
                    <a:pt x="51" y="36"/>
                  </a:lnTo>
                  <a:lnTo>
                    <a:pt x="52" y="34"/>
                  </a:lnTo>
                  <a:lnTo>
                    <a:pt x="55" y="32"/>
                  </a:lnTo>
                  <a:lnTo>
                    <a:pt x="57" y="31"/>
                  </a:lnTo>
                  <a:lnTo>
                    <a:pt x="59" y="30"/>
                  </a:lnTo>
                  <a:lnTo>
                    <a:pt x="60" y="28"/>
                  </a:lnTo>
                  <a:lnTo>
                    <a:pt x="61" y="26"/>
                  </a:lnTo>
                  <a:lnTo>
                    <a:pt x="61" y="23"/>
                  </a:lnTo>
                  <a:lnTo>
                    <a:pt x="63" y="20"/>
                  </a:lnTo>
                  <a:lnTo>
                    <a:pt x="61" y="17"/>
                  </a:lnTo>
                  <a:lnTo>
                    <a:pt x="61" y="13"/>
                  </a:lnTo>
                  <a:lnTo>
                    <a:pt x="60" y="9"/>
                  </a:lnTo>
                  <a:lnTo>
                    <a:pt x="57" y="8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2" y="2"/>
                  </a:lnTo>
                  <a:lnTo>
                    <a:pt x="51" y="2"/>
                  </a:lnTo>
                  <a:lnTo>
                    <a:pt x="49" y="0"/>
                  </a:lnTo>
                  <a:lnTo>
                    <a:pt x="45" y="1"/>
                  </a:lnTo>
                  <a:lnTo>
                    <a:pt x="44" y="4"/>
                  </a:lnTo>
                  <a:lnTo>
                    <a:pt x="46" y="5"/>
                  </a:lnTo>
                  <a:lnTo>
                    <a:pt x="45" y="8"/>
                  </a:lnTo>
                  <a:lnTo>
                    <a:pt x="46" y="11"/>
                  </a:lnTo>
                  <a:lnTo>
                    <a:pt x="46" y="12"/>
                  </a:lnTo>
                  <a:lnTo>
                    <a:pt x="42" y="11"/>
                  </a:lnTo>
                  <a:lnTo>
                    <a:pt x="41" y="6"/>
                  </a:lnTo>
                  <a:lnTo>
                    <a:pt x="37" y="6"/>
                  </a:lnTo>
                  <a:lnTo>
                    <a:pt x="36" y="5"/>
                  </a:lnTo>
                  <a:lnTo>
                    <a:pt x="33" y="4"/>
                  </a:lnTo>
                  <a:lnTo>
                    <a:pt x="32" y="4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2" y="2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8"/>
                  </a:lnTo>
                  <a:lnTo>
                    <a:pt x="3" y="11"/>
                  </a:lnTo>
                  <a:lnTo>
                    <a:pt x="2" y="13"/>
                  </a:lnTo>
                  <a:lnTo>
                    <a:pt x="0" y="17"/>
                  </a:lnTo>
                  <a:lnTo>
                    <a:pt x="2" y="23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4" y="31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4"/>
                  </a:lnTo>
                  <a:lnTo>
                    <a:pt x="6" y="36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1" y="43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2" y="49"/>
                  </a:lnTo>
                  <a:lnTo>
                    <a:pt x="14" y="49"/>
                  </a:lnTo>
                  <a:lnTo>
                    <a:pt x="15" y="49"/>
                  </a:lnTo>
                  <a:lnTo>
                    <a:pt x="15" y="46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8" y="49"/>
                  </a:lnTo>
                  <a:lnTo>
                    <a:pt x="17" y="51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9" y="53"/>
                  </a:lnTo>
                  <a:lnTo>
                    <a:pt x="21" y="51"/>
                  </a:lnTo>
                  <a:lnTo>
                    <a:pt x="21" y="50"/>
                  </a:lnTo>
                  <a:lnTo>
                    <a:pt x="22" y="51"/>
                  </a:lnTo>
                  <a:lnTo>
                    <a:pt x="25" y="53"/>
                  </a:lnTo>
                  <a:lnTo>
                    <a:pt x="26" y="51"/>
                  </a:lnTo>
                  <a:lnTo>
                    <a:pt x="27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2" name="Freeform 22"/>
            <p:cNvSpPr>
              <a:spLocks/>
            </p:cNvSpPr>
            <p:nvPr/>
          </p:nvSpPr>
          <p:spPr bwMode="auto">
            <a:xfrm>
              <a:off x="3134" y="1725"/>
              <a:ext cx="95" cy="110"/>
            </a:xfrm>
            <a:custGeom>
              <a:avLst/>
              <a:gdLst>
                <a:gd name="T0" fmla="*/ 14 w 95"/>
                <a:gd name="T1" fmla="*/ 15 h 110"/>
                <a:gd name="T2" fmla="*/ 18 w 95"/>
                <a:gd name="T3" fmla="*/ 11 h 110"/>
                <a:gd name="T4" fmla="*/ 18 w 95"/>
                <a:gd name="T5" fmla="*/ 3 h 110"/>
                <a:gd name="T6" fmla="*/ 23 w 95"/>
                <a:gd name="T7" fmla="*/ 0 h 110"/>
                <a:gd name="T8" fmla="*/ 30 w 95"/>
                <a:gd name="T9" fmla="*/ 5 h 110"/>
                <a:gd name="T10" fmla="*/ 31 w 95"/>
                <a:gd name="T11" fmla="*/ 12 h 110"/>
                <a:gd name="T12" fmla="*/ 42 w 95"/>
                <a:gd name="T13" fmla="*/ 20 h 110"/>
                <a:gd name="T14" fmla="*/ 52 w 95"/>
                <a:gd name="T15" fmla="*/ 19 h 110"/>
                <a:gd name="T16" fmla="*/ 57 w 95"/>
                <a:gd name="T17" fmla="*/ 24 h 110"/>
                <a:gd name="T18" fmla="*/ 60 w 95"/>
                <a:gd name="T19" fmla="*/ 28 h 110"/>
                <a:gd name="T20" fmla="*/ 56 w 95"/>
                <a:gd name="T21" fmla="*/ 35 h 110"/>
                <a:gd name="T22" fmla="*/ 49 w 95"/>
                <a:gd name="T23" fmla="*/ 37 h 110"/>
                <a:gd name="T24" fmla="*/ 49 w 95"/>
                <a:gd name="T25" fmla="*/ 43 h 110"/>
                <a:gd name="T26" fmla="*/ 53 w 95"/>
                <a:gd name="T27" fmla="*/ 47 h 110"/>
                <a:gd name="T28" fmla="*/ 62 w 95"/>
                <a:gd name="T29" fmla="*/ 50 h 110"/>
                <a:gd name="T30" fmla="*/ 72 w 95"/>
                <a:gd name="T31" fmla="*/ 58 h 110"/>
                <a:gd name="T32" fmla="*/ 76 w 95"/>
                <a:gd name="T33" fmla="*/ 68 h 110"/>
                <a:gd name="T34" fmla="*/ 81 w 95"/>
                <a:gd name="T35" fmla="*/ 70 h 110"/>
                <a:gd name="T36" fmla="*/ 84 w 95"/>
                <a:gd name="T37" fmla="*/ 73 h 110"/>
                <a:gd name="T38" fmla="*/ 87 w 95"/>
                <a:gd name="T39" fmla="*/ 77 h 110"/>
                <a:gd name="T40" fmla="*/ 92 w 95"/>
                <a:gd name="T41" fmla="*/ 80 h 110"/>
                <a:gd name="T42" fmla="*/ 94 w 95"/>
                <a:gd name="T43" fmla="*/ 83 h 110"/>
                <a:gd name="T44" fmla="*/ 95 w 95"/>
                <a:gd name="T45" fmla="*/ 87 h 110"/>
                <a:gd name="T46" fmla="*/ 92 w 95"/>
                <a:gd name="T47" fmla="*/ 96 h 110"/>
                <a:gd name="T48" fmla="*/ 92 w 95"/>
                <a:gd name="T49" fmla="*/ 102 h 110"/>
                <a:gd name="T50" fmla="*/ 86 w 95"/>
                <a:gd name="T51" fmla="*/ 100 h 110"/>
                <a:gd name="T52" fmla="*/ 79 w 95"/>
                <a:gd name="T53" fmla="*/ 102 h 110"/>
                <a:gd name="T54" fmla="*/ 81 w 95"/>
                <a:gd name="T55" fmla="*/ 109 h 110"/>
                <a:gd name="T56" fmla="*/ 76 w 95"/>
                <a:gd name="T57" fmla="*/ 104 h 110"/>
                <a:gd name="T58" fmla="*/ 68 w 95"/>
                <a:gd name="T59" fmla="*/ 102 h 110"/>
                <a:gd name="T60" fmla="*/ 72 w 95"/>
                <a:gd name="T61" fmla="*/ 95 h 110"/>
                <a:gd name="T62" fmla="*/ 71 w 95"/>
                <a:gd name="T63" fmla="*/ 90 h 110"/>
                <a:gd name="T64" fmla="*/ 68 w 95"/>
                <a:gd name="T65" fmla="*/ 83 h 110"/>
                <a:gd name="T66" fmla="*/ 65 w 95"/>
                <a:gd name="T67" fmla="*/ 80 h 110"/>
                <a:gd name="T68" fmla="*/ 61 w 95"/>
                <a:gd name="T69" fmla="*/ 75 h 110"/>
                <a:gd name="T70" fmla="*/ 61 w 95"/>
                <a:gd name="T71" fmla="*/ 68 h 110"/>
                <a:gd name="T72" fmla="*/ 57 w 95"/>
                <a:gd name="T73" fmla="*/ 61 h 110"/>
                <a:gd name="T74" fmla="*/ 45 w 95"/>
                <a:gd name="T75" fmla="*/ 51 h 110"/>
                <a:gd name="T76" fmla="*/ 34 w 95"/>
                <a:gd name="T77" fmla="*/ 58 h 110"/>
                <a:gd name="T78" fmla="*/ 26 w 95"/>
                <a:gd name="T79" fmla="*/ 54 h 110"/>
                <a:gd name="T80" fmla="*/ 19 w 95"/>
                <a:gd name="T81" fmla="*/ 60 h 110"/>
                <a:gd name="T82" fmla="*/ 15 w 95"/>
                <a:gd name="T83" fmla="*/ 50 h 110"/>
                <a:gd name="T84" fmla="*/ 16 w 95"/>
                <a:gd name="T85" fmla="*/ 45 h 110"/>
                <a:gd name="T86" fmla="*/ 16 w 95"/>
                <a:gd name="T87" fmla="*/ 37 h 110"/>
                <a:gd name="T88" fmla="*/ 8 w 95"/>
                <a:gd name="T89" fmla="*/ 38 h 110"/>
                <a:gd name="T90" fmla="*/ 7 w 95"/>
                <a:gd name="T91" fmla="*/ 30 h 110"/>
                <a:gd name="T92" fmla="*/ 0 w 95"/>
                <a:gd name="T93" fmla="*/ 24 h 110"/>
                <a:gd name="T94" fmla="*/ 5 w 95"/>
                <a:gd name="T95" fmla="*/ 20 h 110"/>
                <a:gd name="T96" fmla="*/ 5 w 95"/>
                <a:gd name="T97" fmla="*/ 1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5" h="110">
                  <a:moveTo>
                    <a:pt x="11" y="12"/>
                  </a:moveTo>
                  <a:lnTo>
                    <a:pt x="12" y="13"/>
                  </a:lnTo>
                  <a:lnTo>
                    <a:pt x="14" y="15"/>
                  </a:lnTo>
                  <a:lnTo>
                    <a:pt x="16" y="13"/>
                  </a:lnTo>
                  <a:lnTo>
                    <a:pt x="19" y="15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3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4" y="1"/>
                  </a:lnTo>
                  <a:lnTo>
                    <a:pt x="28" y="3"/>
                  </a:lnTo>
                  <a:lnTo>
                    <a:pt x="30" y="5"/>
                  </a:lnTo>
                  <a:lnTo>
                    <a:pt x="31" y="8"/>
                  </a:lnTo>
                  <a:lnTo>
                    <a:pt x="33" y="9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8" y="20"/>
                  </a:lnTo>
                  <a:lnTo>
                    <a:pt x="42" y="20"/>
                  </a:lnTo>
                  <a:lnTo>
                    <a:pt x="46" y="20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3" y="22"/>
                  </a:lnTo>
                  <a:lnTo>
                    <a:pt x="56" y="22"/>
                  </a:lnTo>
                  <a:lnTo>
                    <a:pt x="57" y="24"/>
                  </a:lnTo>
                  <a:lnTo>
                    <a:pt x="57" y="26"/>
                  </a:lnTo>
                  <a:lnTo>
                    <a:pt x="60" y="27"/>
                  </a:lnTo>
                  <a:lnTo>
                    <a:pt x="60" y="28"/>
                  </a:lnTo>
                  <a:lnTo>
                    <a:pt x="58" y="28"/>
                  </a:lnTo>
                  <a:lnTo>
                    <a:pt x="57" y="34"/>
                  </a:lnTo>
                  <a:lnTo>
                    <a:pt x="56" y="35"/>
                  </a:lnTo>
                  <a:lnTo>
                    <a:pt x="53" y="35"/>
                  </a:lnTo>
                  <a:lnTo>
                    <a:pt x="50" y="37"/>
                  </a:lnTo>
                  <a:lnTo>
                    <a:pt x="49" y="37"/>
                  </a:lnTo>
                  <a:lnTo>
                    <a:pt x="49" y="38"/>
                  </a:lnTo>
                  <a:lnTo>
                    <a:pt x="52" y="41"/>
                  </a:lnTo>
                  <a:lnTo>
                    <a:pt x="49" y="43"/>
                  </a:lnTo>
                  <a:lnTo>
                    <a:pt x="50" y="45"/>
                  </a:lnTo>
                  <a:lnTo>
                    <a:pt x="52" y="45"/>
                  </a:lnTo>
                  <a:lnTo>
                    <a:pt x="53" y="47"/>
                  </a:lnTo>
                  <a:lnTo>
                    <a:pt x="57" y="47"/>
                  </a:lnTo>
                  <a:lnTo>
                    <a:pt x="61" y="50"/>
                  </a:lnTo>
                  <a:lnTo>
                    <a:pt x="62" y="50"/>
                  </a:lnTo>
                  <a:lnTo>
                    <a:pt x="65" y="54"/>
                  </a:lnTo>
                  <a:lnTo>
                    <a:pt x="69" y="56"/>
                  </a:lnTo>
                  <a:lnTo>
                    <a:pt x="72" y="58"/>
                  </a:lnTo>
                  <a:lnTo>
                    <a:pt x="72" y="61"/>
                  </a:lnTo>
                  <a:lnTo>
                    <a:pt x="75" y="65"/>
                  </a:lnTo>
                  <a:lnTo>
                    <a:pt x="76" y="68"/>
                  </a:lnTo>
                  <a:lnTo>
                    <a:pt x="77" y="68"/>
                  </a:lnTo>
                  <a:lnTo>
                    <a:pt x="80" y="68"/>
                  </a:lnTo>
                  <a:lnTo>
                    <a:pt x="81" y="70"/>
                  </a:lnTo>
                  <a:lnTo>
                    <a:pt x="81" y="72"/>
                  </a:lnTo>
                  <a:lnTo>
                    <a:pt x="83" y="75"/>
                  </a:lnTo>
                  <a:lnTo>
                    <a:pt x="84" y="73"/>
                  </a:lnTo>
                  <a:lnTo>
                    <a:pt x="87" y="75"/>
                  </a:lnTo>
                  <a:lnTo>
                    <a:pt x="86" y="76"/>
                  </a:lnTo>
                  <a:lnTo>
                    <a:pt x="87" y="77"/>
                  </a:lnTo>
                  <a:lnTo>
                    <a:pt x="90" y="77"/>
                  </a:lnTo>
                  <a:lnTo>
                    <a:pt x="91" y="80"/>
                  </a:lnTo>
                  <a:lnTo>
                    <a:pt x="92" y="80"/>
                  </a:lnTo>
                  <a:lnTo>
                    <a:pt x="94" y="79"/>
                  </a:lnTo>
                  <a:lnTo>
                    <a:pt x="95" y="81"/>
                  </a:lnTo>
                  <a:lnTo>
                    <a:pt x="94" y="83"/>
                  </a:lnTo>
                  <a:lnTo>
                    <a:pt x="92" y="85"/>
                  </a:lnTo>
                  <a:lnTo>
                    <a:pt x="94" y="87"/>
                  </a:lnTo>
                  <a:lnTo>
                    <a:pt x="95" y="87"/>
                  </a:lnTo>
                  <a:lnTo>
                    <a:pt x="95" y="90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87" y="100"/>
                  </a:lnTo>
                  <a:lnTo>
                    <a:pt x="86" y="100"/>
                  </a:lnTo>
                  <a:lnTo>
                    <a:pt x="84" y="98"/>
                  </a:lnTo>
                  <a:lnTo>
                    <a:pt x="80" y="99"/>
                  </a:lnTo>
                  <a:lnTo>
                    <a:pt x="79" y="102"/>
                  </a:lnTo>
                  <a:lnTo>
                    <a:pt x="81" y="103"/>
                  </a:lnTo>
                  <a:lnTo>
                    <a:pt x="80" y="106"/>
                  </a:lnTo>
                  <a:lnTo>
                    <a:pt x="81" y="109"/>
                  </a:lnTo>
                  <a:lnTo>
                    <a:pt x="81" y="110"/>
                  </a:lnTo>
                  <a:lnTo>
                    <a:pt x="77" y="109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1" y="103"/>
                  </a:lnTo>
                  <a:lnTo>
                    <a:pt x="68" y="102"/>
                  </a:lnTo>
                  <a:lnTo>
                    <a:pt x="69" y="100"/>
                  </a:lnTo>
                  <a:lnTo>
                    <a:pt x="71" y="99"/>
                  </a:lnTo>
                  <a:lnTo>
                    <a:pt x="72" y="95"/>
                  </a:lnTo>
                  <a:lnTo>
                    <a:pt x="71" y="92"/>
                  </a:lnTo>
                  <a:lnTo>
                    <a:pt x="72" y="91"/>
                  </a:lnTo>
                  <a:lnTo>
                    <a:pt x="71" y="90"/>
                  </a:lnTo>
                  <a:lnTo>
                    <a:pt x="72" y="87"/>
                  </a:lnTo>
                  <a:lnTo>
                    <a:pt x="72" y="85"/>
                  </a:lnTo>
                  <a:lnTo>
                    <a:pt x="68" y="83"/>
                  </a:lnTo>
                  <a:lnTo>
                    <a:pt x="69" y="81"/>
                  </a:lnTo>
                  <a:lnTo>
                    <a:pt x="68" y="81"/>
                  </a:lnTo>
                  <a:lnTo>
                    <a:pt x="65" y="80"/>
                  </a:lnTo>
                  <a:lnTo>
                    <a:pt x="62" y="77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1" y="72"/>
                  </a:lnTo>
                  <a:lnTo>
                    <a:pt x="60" y="69"/>
                  </a:lnTo>
                  <a:lnTo>
                    <a:pt x="61" y="68"/>
                  </a:lnTo>
                  <a:lnTo>
                    <a:pt x="61" y="65"/>
                  </a:lnTo>
                  <a:lnTo>
                    <a:pt x="60" y="62"/>
                  </a:lnTo>
                  <a:lnTo>
                    <a:pt x="57" y="61"/>
                  </a:lnTo>
                  <a:lnTo>
                    <a:pt x="52" y="57"/>
                  </a:lnTo>
                  <a:lnTo>
                    <a:pt x="50" y="53"/>
                  </a:lnTo>
                  <a:lnTo>
                    <a:pt x="45" y="51"/>
                  </a:lnTo>
                  <a:lnTo>
                    <a:pt x="41" y="53"/>
                  </a:lnTo>
                  <a:lnTo>
                    <a:pt x="39" y="58"/>
                  </a:lnTo>
                  <a:lnTo>
                    <a:pt x="34" y="58"/>
                  </a:lnTo>
                  <a:lnTo>
                    <a:pt x="33" y="56"/>
                  </a:lnTo>
                  <a:lnTo>
                    <a:pt x="30" y="57"/>
                  </a:lnTo>
                  <a:lnTo>
                    <a:pt x="26" y="54"/>
                  </a:lnTo>
                  <a:lnTo>
                    <a:pt x="22" y="56"/>
                  </a:lnTo>
                  <a:lnTo>
                    <a:pt x="22" y="58"/>
                  </a:lnTo>
                  <a:lnTo>
                    <a:pt x="19" y="60"/>
                  </a:lnTo>
                  <a:lnTo>
                    <a:pt x="15" y="61"/>
                  </a:lnTo>
                  <a:lnTo>
                    <a:pt x="15" y="54"/>
                  </a:lnTo>
                  <a:lnTo>
                    <a:pt x="15" y="50"/>
                  </a:lnTo>
                  <a:lnTo>
                    <a:pt x="15" y="47"/>
                  </a:lnTo>
                  <a:lnTo>
                    <a:pt x="16" y="46"/>
                  </a:lnTo>
                  <a:lnTo>
                    <a:pt x="16" y="45"/>
                  </a:lnTo>
                  <a:lnTo>
                    <a:pt x="15" y="42"/>
                  </a:lnTo>
                  <a:lnTo>
                    <a:pt x="16" y="39"/>
                  </a:lnTo>
                  <a:lnTo>
                    <a:pt x="16" y="37"/>
                  </a:lnTo>
                  <a:lnTo>
                    <a:pt x="11" y="37"/>
                  </a:lnTo>
                  <a:lnTo>
                    <a:pt x="9" y="39"/>
                  </a:lnTo>
                  <a:lnTo>
                    <a:pt x="8" y="38"/>
                  </a:lnTo>
                  <a:lnTo>
                    <a:pt x="5" y="35"/>
                  </a:lnTo>
                  <a:lnTo>
                    <a:pt x="8" y="34"/>
                  </a:lnTo>
                  <a:lnTo>
                    <a:pt x="7" y="30"/>
                  </a:lnTo>
                  <a:lnTo>
                    <a:pt x="5" y="27"/>
                  </a:lnTo>
                  <a:lnTo>
                    <a:pt x="1" y="27"/>
                  </a:lnTo>
                  <a:lnTo>
                    <a:pt x="0" y="24"/>
                  </a:lnTo>
                  <a:lnTo>
                    <a:pt x="1" y="22"/>
                  </a:lnTo>
                  <a:lnTo>
                    <a:pt x="3" y="22"/>
                  </a:lnTo>
                  <a:lnTo>
                    <a:pt x="5" y="20"/>
                  </a:lnTo>
                  <a:lnTo>
                    <a:pt x="4" y="19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9" y="13"/>
                  </a:lnTo>
                  <a:lnTo>
                    <a:pt x="11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3" name="Freeform 23"/>
            <p:cNvSpPr>
              <a:spLocks/>
            </p:cNvSpPr>
            <p:nvPr/>
          </p:nvSpPr>
          <p:spPr bwMode="auto">
            <a:xfrm>
              <a:off x="3107" y="1749"/>
              <a:ext cx="99" cy="185"/>
            </a:xfrm>
            <a:custGeom>
              <a:avLst/>
              <a:gdLst>
                <a:gd name="T0" fmla="*/ 35 w 99"/>
                <a:gd name="T1" fmla="*/ 10 h 185"/>
                <a:gd name="T2" fmla="*/ 43 w 99"/>
                <a:gd name="T3" fmla="*/ 13 h 185"/>
                <a:gd name="T4" fmla="*/ 42 w 99"/>
                <a:gd name="T5" fmla="*/ 23 h 185"/>
                <a:gd name="T6" fmla="*/ 49 w 99"/>
                <a:gd name="T7" fmla="*/ 34 h 185"/>
                <a:gd name="T8" fmla="*/ 61 w 99"/>
                <a:gd name="T9" fmla="*/ 34 h 185"/>
                <a:gd name="T10" fmla="*/ 79 w 99"/>
                <a:gd name="T11" fmla="*/ 33 h 185"/>
                <a:gd name="T12" fmla="*/ 87 w 99"/>
                <a:gd name="T13" fmla="*/ 45 h 185"/>
                <a:gd name="T14" fmla="*/ 92 w 99"/>
                <a:gd name="T15" fmla="*/ 56 h 185"/>
                <a:gd name="T16" fmla="*/ 99 w 99"/>
                <a:gd name="T17" fmla="*/ 63 h 185"/>
                <a:gd name="T18" fmla="*/ 98 w 99"/>
                <a:gd name="T19" fmla="*/ 75 h 185"/>
                <a:gd name="T20" fmla="*/ 87 w 99"/>
                <a:gd name="T21" fmla="*/ 76 h 185"/>
                <a:gd name="T22" fmla="*/ 70 w 99"/>
                <a:gd name="T23" fmla="*/ 78 h 185"/>
                <a:gd name="T24" fmla="*/ 62 w 99"/>
                <a:gd name="T25" fmla="*/ 91 h 185"/>
                <a:gd name="T26" fmla="*/ 66 w 99"/>
                <a:gd name="T27" fmla="*/ 106 h 185"/>
                <a:gd name="T28" fmla="*/ 62 w 99"/>
                <a:gd name="T29" fmla="*/ 105 h 185"/>
                <a:gd name="T30" fmla="*/ 55 w 99"/>
                <a:gd name="T31" fmla="*/ 100 h 185"/>
                <a:gd name="T32" fmla="*/ 50 w 99"/>
                <a:gd name="T33" fmla="*/ 101 h 185"/>
                <a:gd name="T34" fmla="*/ 46 w 99"/>
                <a:gd name="T35" fmla="*/ 98 h 185"/>
                <a:gd name="T36" fmla="*/ 43 w 99"/>
                <a:gd name="T37" fmla="*/ 90 h 185"/>
                <a:gd name="T38" fmla="*/ 38 w 99"/>
                <a:gd name="T39" fmla="*/ 90 h 185"/>
                <a:gd name="T40" fmla="*/ 34 w 99"/>
                <a:gd name="T41" fmla="*/ 91 h 185"/>
                <a:gd name="T42" fmla="*/ 35 w 99"/>
                <a:gd name="T43" fmla="*/ 101 h 185"/>
                <a:gd name="T44" fmla="*/ 32 w 99"/>
                <a:gd name="T45" fmla="*/ 110 h 185"/>
                <a:gd name="T46" fmla="*/ 27 w 99"/>
                <a:gd name="T47" fmla="*/ 129 h 185"/>
                <a:gd name="T48" fmla="*/ 28 w 99"/>
                <a:gd name="T49" fmla="*/ 136 h 185"/>
                <a:gd name="T50" fmla="*/ 31 w 99"/>
                <a:gd name="T51" fmla="*/ 143 h 185"/>
                <a:gd name="T52" fmla="*/ 35 w 99"/>
                <a:gd name="T53" fmla="*/ 143 h 185"/>
                <a:gd name="T54" fmla="*/ 39 w 99"/>
                <a:gd name="T55" fmla="*/ 153 h 185"/>
                <a:gd name="T56" fmla="*/ 42 w 99"/>
                <a:gd name="T57" fmla="*/ 154 h 185"/>
                <a:gd name="T58" fmla="*/ 43 w 99"/>
                <a:gd name="T59" fmla="*/ 162 h 185"/>
                <a:gd name="T60" fmla="*/ 45 w 99"/>
                <a:gd name="T61" fmla="*/ 165 h 185"/>
                <a:gd name="T62" fmla="*/ 51 w 99"/>
                <a:gd name="T63" fmla="*/ 173 h 185"/>
                <a:gd name="T64" fmla="*/ 60 w 99"/>
                <a:gd name="T65" fmla="*/ 178 h 185"/>
                <a:gd name="T66" fmla="*/ 61 w 99"/>
                <a:gd name="T67" fmla="*/ 184 h 185"/>
                <a:gd name="T68" fmla="*/ 51 w 99"/>
                <a:gd name="T69" fmla="*/ 182 h 185"/>
                <a:gd name="T70" fmla="*/ 49 w 99"/>
                <a:gd name="T71" fmla="*/ 176 h 185"/>
                <a:gd name="T72" fmla="*/ 39 w 99"/>
                <a:gd name="T73" fmla="*/ 176 h 185"/>
                <a:gd name="T74" fmla="*/ 34 w 99"/>
                <a:gd name="T75" fmla="*/ 169 h 185"/>
                <a:gd name="T76" fmla="*/ 27 w 99"/>
                <a:gd name="T77" fmla="*/ 161 h 185"/>
                <a:gd name="T78" fmla="*/ 21 w 99"/>
                <a:gd name="T79" fmla="*/ 153 h 185"/>
                <a:gd name="T80" fmla="*/ 17 w 99"/>
                <a:gd name="T81" fmla="*/ 150 h 185"/>
                <a:gd name="T82" fmla="*/ 20 w 99"/>
                <a:gd name="T83" fmla="*/ 140 h 185"/>
                <a:gd name="T84" fmla="*/ 21 w 99"/>
                <a:gd name="T85" fmla="*/ 132 h 185"/>
                <a:gd name="T86" fmla="*/ 23 w 99"/>
                <a:gd name="T87" fmla="*/ 123 h 185"/>
                <a:gd name="T88" fmla="*/ 28 w 99"/>
                <a:gd name="T89" fmla="*/ 105 h 185"/>
                <a:gd name="T90" fmla="*/ 26 w 99"/>
                <a:gd name="T91" fmla="*/ 93 h 185"/>
                <a:gd name="T92" fmla="*/ 17 w 99"/>
                <a:gd name="T93" fmla="*/ 78 h 185"/>
                <a:gd name="T94" fmla="*/ 16 w 99"/>
                <a:gd name="T95" fmla="*/ 64 h 185"/>
                <a:gd name="T96" fmla="*/ 15 w 99"/>
                <a:gd name="T97" fmla="*/ 52 h 185"/>
                <a:gd name="T98" fmla="*/ 5 w 99"/>
                <a:gd name="T99" fmla="*/ 37 h 185"/>
                <a:gd name="T100" fmla="*/ 0 w 99"/>
                <a:gd name="T101" fmla="*/ 29 h 185"/>
                <a:gd name="T102" fmla="*/ 5 w 99"/>
                <a:gd name="T103" fmla="*/ 18 h 185"/>
                <a:gd name="T104" fmla="*/ 16 w 99"/>
                <a:gd name="T105" fmla="*/ 11 h 185"/>
                <a:gd name="T106" fmla="*/ 23 w 99"/>
                <a:gd name="T107" fmla="*/ 6 h 185"/>
                <a:gd name="T108" fmla="*/ 27 w 99"/>
                <a:gd name="T109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9" h="185">
                  <a:moveTo>
                    <a:pt x="27" y="0"/>
                  </a:moveTo>
                  <a:lnTo>
                    <a:pt x="28" y="3"/>
                  </a:lnTo>
                  <a:lnTo>
                    <a:pt x="32" y="3"/>
                  </a:lnTo>
                  <a:lnTo>
                    <a:pt x="34" y="6"/>
                  </a:lnTo>
                  <a:lnTo>
                    <a:pt x="35" y="10"/>
                  </a:lnTo>
                  <a:lnTo>
                    <a:pt x="32" y="11"/>
                  </a:lnTo>
                  <a:lnTo>
                    <a:pt x="35" y="14"/>
                  </a:lnTo>
                  <a:lnTo>
                    <a:pt x="36" y="15"/>
                  </a:lnTo>
                  <a:lnTo>
                    <a:pt x="38" y="13"/>
                  </a:lnTo>
                  <a:lnTo>
                    <a:pt x="43" y="13"/>
                  </a:lnTo>
                  <a:lnTo>
                    <a:pt x="43" y="15"/>
                  </a:lnTo>
                  <a:lnTo>
                    <a:pt x="42" y="18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2" y="23"/>
                  </a:lnTo>
                  <a:lnTo>
                    <a:pt x="42" y="26"/>
                  </a:lnTo>
                  <a:lnTo>
                    <a:pt x="42" y="30"/>
                  </a:lnTo>
                  <a:lnTo>
                    <a:pt x="42" y="37"/>
                  </a:lnTo>
                  <a:lnTo>
                    <a:pt x="46" y="36"/>
                  </a:lnTo>
                  <a:lnTo>
                    <a:pt x="49" y="34"/>
                  </a:lnTo>
                  <a:lnTo>
                    <a:pt x="49" y="32"/>
                  </a:lnTo>
                  <a:lnTo>
                    <a:pt x="53" y="30"/>
                  </a:lnTo>
                  <a:lnTo>
                    <a:pt x="57" y="33"/>
                  </a:lnTo>
                  <a:lnTo>
                    <a:pt x="60" y="32"/>
                  </a:lnTo>
                  <a:lnTo>
                    <a:pt x="61" y="34"/>
                  </a:lnTo>
                  <a:lnTo>
                    <a:pt x="66" y="34"/>
                  </a:lnTo>
                  <a:lnTo>
                    <a:pt x="68" y="29"/>
                  </a:lnTo>
                  <a:lnTo>
                    <a:pt x="72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84" y="37"/>
                  </a:lnTo>
                  <a:lnTo>
                    <a:pt x="87" y="38"/>
                  </a:lnTo>
                  <a:lnTo>
                    <a:pt x="88" y="41"/>
                  </a:lnTo>
                  <a:lnTo>
                    <a:pt x="88" y="44"/>
                  </a:lnTo>
                  <a:lnTo>
                    <a:pt x="87" y="45"/>
                  </a:lnTo>
                  <a:lnTo>
                    <a:pt x="88" y="48"/>
                  </a:lnTo>
                  <a:lnTo>
                    <a:pt x="88" y="51"/>
                  </a:lnTo>
                  <a:lnTo>
                    <a:pt x="88" y="52"/>
                  </a:lnTo>
                  <a:lnTo>
                    <a:pt x="89" y="53"/>
                  </a:lnTo>
                  <a:lnTo>
                    <a:pt x="92" y="56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5" y="59"/>
                  </a:lnTo>
                  <a:lnTo>
                    <a:pt x="99" y="61"/>
                  </a:lnTo>
                  <a:lnTo>
                    <a:pt x="99" y="63"/>
                  </a:lnTo>
                  <a:lnTo>
                    <a:pt x="98" y="66"/>
                  </a:lnTo>
                  <a:lnTo>
                    <a:pt x="99" y="67"/>
                  </a:lnTo>
                  <a:lnTo>
                    <a:pt x="98" y="68"/>
                  </a:lnTo>
                  <a:lnTo>
                    <a:pt x="99" y="71"/>
                  </a:lnTo>
                  <a:lnTo>
                    <a:pt x="98" y="75"/>
                  </a:lnTo>
                  <a:lnTo>
                    <a:pt x="96" y="76"/>
                  </a:lnTo>
                  <a:lnTo>
                    <a:pt x="94" y="78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7" y="76"/>
                  </a:lnTo>
                  <a:lnTo>
                    <a:pt x="84" y="76"/>
                  </a:lnTo>
                  <a:lnTo>
                    <a:pt x="80" y="78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0" y="78"/>
                  </a:lnTo>
                  <a:lnTo>
                    <a:pt x="68" y="78"/>
                  </a:lnTo>
                  <a:lnTo>
                    <a:pt x="66" y="82"/>
                  </a:lnTo>
                  <a:lnTo>
                    <a:pt x="65" y="85"/>
                  </a:lnTo>
                  <a:lnTo>
                    <a:pt x="64" y="87"/>
                  </a:lnTo>
                  <a:lnTo>
                    <a:pt x="62" y="91"/>
                  </a:lnTo>
                  <a:lnTo>
                    <a:pt x="64" y="97"/>
                  </a:lnTo>
                  <a:lnTo>
                    <a:pt x="66" y="98"/>
                  </a:lnTo>
                  <a:lnTo>
                    <a:pt x="66" y="100"/>
                  </a:lnTo>
                  <a:lnTo>
                    <a:pt x="66" y="105"/>
                  </a:lnTo>
                  <a:lnTo>
                    <a:pt x="66" y="106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2" y="105"/>
                  </a:lnTo>
                  <a:lnTo>
                    <a:pt x="61" y="105"/>
                  </a:lnTo>
                  <a:lnTo>
                    <a:pt x="61" y="104"/>
                  </a:lnTo>
                  <a:lnTo>
                    <a:pt x="60" y="104"/>
                  </a:lnTo>
                  <a:lnTo>
                    <a:pt x="57" y="101"/>
                  </a:lnTo>
                  <a:lnTo>
                    <a:pt x="55" y="100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2"/>
                  </a:lnTo>
                  <a:lnTo>
                    <a:pt x="53" y="101"/>
                  </a:lnTo>
                  <a:lnTo>
                    <a:pt x="50" y="101"/>
                  </a:lnTo>
                  <a:lnTo>
                    <a:pt x="47" y="101"/>
                  </a:lnTo>
                  <a:lnTo>
                    <a:pt x="46" y="101"/>
                  </a:lnTo>
                  <a:lnTo>
                    <a:pt x="45" y="101"/>
                  </a:lnTo>
                  <a:lnTo>
                    <a:pt x="45" y="98"/>
                  </a:lnTo>
                  <a:lnTo>
                    <a:pt x="46" y="98"/>
                  </a:lnTo>
                  <a:lnTo>
                    <a:pt x="45" y="95"/>
                  </a:lnTo>
                  <a:lnTo>
                    <a:pt x="45" y="93"/>
                  </a:lnTo>
                  <a:lnTo>
                    <a:pt x="46" y="93"/>
                  </a:lnTo>
                  <a:lnTo>
                    <a:pt x="45" y="91"/>
                  </a:lnTo>
                  <a:lnTo>
                    <a:pt x="43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1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6" y="90"/>
                  </a:lnTo>
                  <a:lnTo>
                    <a:pt x="36" y="91"/>
                  </a:lnTo>
                  <a:lnTo>
                    <a:pt x="35" y="91"/>
                  </a:lnTo>
                  <a:lnTo>
                    <a:pt x="34" y="90"/>
                  </a:lnTo>
                  <a:lnTo>
                    <a:pt x="34" y="91"/>
                  </a:lnTo>
                  <a:lnTo>
                    <a:pt x="34" y="93"/>
                  </a:lnTo>
                  <a:lnTo>
                    <a:pt x="35" y="94"/>
                  </a:lnTo>
                  <a:lnTo>
                    <a:pt x="35" y="95"/>
                  </a:lnTo>
                  <a:lnTo>
                    <a:pt x="35" y="98"/>
                  </a:lnTo>
                  <a:lnTo>
                    <a:pt x="35" y="101"/>
                  </a:lnTo>
                  <a:lnTo>
                    <a:pt x="34" y="102"/>
                  </a:lnTo>
                  <a:lnTo>
                    <a:pt x="35" y="102"/>
                  </a:lnTo>
                  <a:lnTo>
                    <a:pt x="35" y="106"/>
                  </a:lnTo>
                  <a:lnTo>
                    <a:pt x="32" y="108"/>
                  </a:lnTo>
                  <a:lnTo>
                    <a:pt x="32" y="110"/>
                  </a:lnTo>
                  <a:lnTo>
                    <a:pt x="31" y="113"/>
                  </a:lnTo>
                  <a:lnTo>
                    <a:pt x="30" y="121"/>
                  </a:lnTo>
                  <a:lnTo>
                    <a:pt x="27" y="125"/>
                  </a:lnTo>
                  <a:lnTo>
                    <a:pt x="27" y="128"/>
                  </a:lnTo>
                  <a:lnTo>
                    <a:pt x="27" y="129"/>
                  </a:lnTo>
                  <a:lnTo>
                    <a:pt x="28" y="131"/>
                  </a:lnTo>
                  <a:lnTo>
                    <a:pt x="28" y="131"/>
                  </a:lnTo>
                  <a:lnTo>
                    <a:pt x="27" y="132"/>
                  </a:lnTo>
                  <a:lnTo>
                    <a:pt x="27" y="133"/>
                  </a:lnTo>
                  <a:lnTo>
                    <a:pt x="28" y="136"/>
                  </a:lnTo>
                  <a:lnTo>
                    <a:pt x="28" y="138"/>
                  </a:lnTo>
                  <a:lnTo>
                    <a:pt x="30" y="140"/>
                  </a:lnTo>
                  <a:lnTo>
                    <a:pt x="28" y="143"/>
                  </a:lnTo>
                  <a:lnTo>
                    <a:pt x="30" y="144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2" y="142"/>
                  </a:lnTo>
                  <a:lnTo>
                    <a:pt x="32" y="142"/>
                  </a:lnTo>
                  <a:lnTo>
                    <a:pt x="35" y="142"/>
                  </a:lnTo>
                  <a:lnTo>
                    <a:pt x="35" y="143"/>
                  </a:lnTo>
                  <a:lnTo>
                    <a:pt x="36" y="146"/>
                  </a:lnTo>
                  <a:lnTo>
                    <a:pt x="36" y="147"/>
                  </a:lnTo>
                  <a:lnTo>
                    <a:pt x="36" y="150"/>
                  </a:lnTo>
                  <a:lnTo>
                    <a:pt x="38" y="150"/>
                  </a:lnTo>
                  <a:lnTo>
                    <a:pt x="39" y="153"/>
                  </a:lnTo>
                  <a:lnTo>
                    <a:pt x="41" y="153"/>
                  </a:lnTo>
                  <a:lnTo>
                    <a:pt x="41" y="151"/>
                  </a:lnTo>
                  <a:lnTo>
                    <a:pt x="41" y="150"/>
                  </a:lnTo>
                  <a:lnTo>
                    <a:pt x="41" y="151"/>
                  </a:lnTo>
                  <a:lnTo>
                    <a:pt x="42" y="154"/>
                  </a:lnTo>
                  <a:lnTo>
                    <a:pt x="42" y="155"/>
                  </a:lnTo>
                  <a:lnTo>
                    <a:pt x="43" y="157"/>
                  </a:lnTo>
                  <a:lnTo>
                    <a:pt x="45" y="161"/>
                  </a:lnTo>
                  <a:lnTo>
                    <a:pt x="45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2" y="163"/>
                  </a:lnTo>
                  <a:lnTo>
                    <a:pt x="41" y="165"/>
                  </a:lnTo>
                  <a:lnTo>
                    <a:pt x="45" y="166"/>
                  </a:lnTo>
                  <a:lnTo>
                    <a:pt x="45" y="165"/>
                  </a:lnTo>
                  <a:lnTo>
                    <a:pt x="46" y="165"/>
                  </a:lnTo>
                  <a:lnTo>
                    <a:pt x="46" y="167"/>
                  </a:lnTo>
                  <a:lnTo>
                    <a:pt x="47" y="167"/>
                  </a:lnTo>
                  <a:lnTo>
                    <a:pt x="50" y="172"/>
                  </a:lnTo>
                  <a:lnTo>
                    <a:pt x="51" y="173"/>
                  </a:lnTo>
                  <a:lnTo>
                    <a:pt x="53" y="172"/>
                  </a:lnTo>
                  <a:lnTo>
                    <a:pt x="55" y="172"/>
                  </a:lnTo>
                  <a:lnTo>
                    <a:pt x="57" y="173"/>
                  </a:lnTo>
                  <a:lnTo>
                    <a:pt x="60" y="176"/>
                  </a:lnTo>
                  <a:lnTo>
                    <a:pt x="60" y="178"/>
                  </a:lnTo>
                  <a:lnTo>
                    <a:pt x="62" y="180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2" y="184"/>
                  </a:lnTo>
                  <a:lnTo>
                    <a:pt x="61" y="184"/>
                  </a:lnTo>
                  <a:lnTo>
                    <a:pt x="58" y="182"/>
                  </a:lnTo>
                  <a:lnTo>
                    <a:pt x="57" y="184"/>
                  </a:lnTo>
                  <a:lnTo>
                    <a:pt x="54" y="185"/>
                  </a:lnTo>
                  <a:lnTo>
                    <a:pt x="51" y="185"/>
                  </a:lnTo>
                  <a:lnTo>
                    <a:pt x="51" y="182"/>
                  </a:lnTo>
                  <a:lnTo>
                    <a:pt x="53" y="181"/>
                  </a:lnTo>
                  <a:lnTo>
                    <a:pt x="53" y="178"/>
                  </a:lnTo>
                  <a:lnTo>
                    <a:pt x="51" y="177"/>
                  </a:lnTo>
                  <a:lnTo>
                    <a:pt x="49" y="177"/>
                  </a:lnTo>
                  <a:lnTo>
                    <a:pt x="49" y="176"/>
                  </a:lnTo>
                  <a:lnTo>
                    <a:pt x="45" y="174"/>
                  </a:lnTo>
                  <a:lnTo>
                    <a:pt x="43" y="173"/>
                  </a:lnTo>
                  <a:lnTo>
                    <a:pt x="42" y="174"/>
                  </a:lnTo>
                  <a:lnTo>
                    <a:pt x="41" y="177"/>
                  </a:lnTo>
                  <a:lnTo>
                    <a:pt x="39" y="176"/>
                  </a:lnTo>
                  <a:lnTo>
                    <a:pt x="35" y="172"/>
                  </a:lnTo>
                  <a:lnTo>
                    <a:pt x="34" y="170"/>
                  </a:lnTo>
                  <a:lnTo>
                    <a:pt x="35" y="170"/>
                  </a:lnTo>
                  <a:lnTo>
                    <a:pt x="35" y="169"/>
                  </a:lnTo>
                  <a:lnTo>
                    <a:pt x="34" y="169"/>
                  </a:lnTo>
                  <a:lnTo>
                    <a:pt x="34" y="166"/>
                  </a:lnTo>
                  <a:lnTo>
                    <a:pt x="31" y="166"/>
                  </a:lnTo>
                  <a:lnTo>
                    <a:pt x="31" y="165"/>
                  </a:lnTo>
                  <a:lnTo>
                    <a:pt x="28" y="161"/>
                  </a:lnTo>
                  <a:lnTo>
                    <a:pt x="27" y="161"/>
                  </a:lnTo>
                  <a:lnTo>
                    <a:pt x="26" y="157"/>
                  </a:lnTo>
                  <a:lnTo>
                    <a:pt x="23" y="157"/>
                  </a:lnTo>
                  <a:lnTo>
                    <a:pt x="23" y="154"/>
                  </a:lnTo>
                  <a:lnTo>
                    <a:pt x="21" y="154"/>
                  </a:lnTo>
                  <a:lnTo>
                    <a:pt x="21" y="153"/>
                  </a:lnTo>
                  <a:lnTo>
                    <a:pt x="20" y="154"/>
                  </a:lnTo>
                  <a:lnTo>
                    <a:pt x="20" y="155"/>
                  </a:lnTo>
                  <a:lnTo>
                    <a:pt x="19" y="155"/>
                  </a:lnTo>
                  <a:lnTo>
                    <a:pt x="17" y="154"/>
                  </a:lnTo>
                  <a:lnTo>
                    <a:pt x="17" y="150"/>
                  </a:lnTo>
                  <a:lnTo>
                    <a:pt x="17" y="148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0"/>
                  </a:lnTo>
                  <a:lnTo>
                    <a:pt x="20" y="140"/>
                  </a:lnTo>
                  <a:lnTo>
                    <a:pt x="20" y="139"/>
                  </a:lnTo>
                  <a:lnTo>
                    <a:pt x="19" y="139"/>
                  </a:lnTo>
                  <a:lnTo>
                    <a:pt x="21" y="136"/>
                  </a:lnTo>
                  <a:lnTo>
                    <a:pt x="20" y="135"/>
                  </a:lnTo>
                  <a:lnTo>
                    <a:pt x="21" y="132"/>
                  </a:lnTo>
                  <a:lnTo>
                    <a:pt x="20" y="132"/>
                  </a:lnTo>
                  <a:lnTo>
                    <a:pt x="21" y="128"/>
                  </a:lnTo>
                  <a:lnTo>
                    <a:pt x="21" y="127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6" y="120"/>
                  </a:lnTo>
                  <a:lnTo>
                    <a:pt x="28" y="113"/>
                  </a:lnTo>
                  <a:lnTo>
                    <a:pt x="30" y="112"/>
                  </a:lnTo>
                  <a:lnTo>
                    <a:pt x="30" y="108"/>
                  </a:lnTo>
                  <a:lnTo>
                    <a:pt x="28" y="105"/>
                  </a:lnTo>
                  <a:lnTo>
                    <a:pt x="28" y="102"/>
                  </a:lnTo>
                  <a:lnTo>
                    <a:pt x="27" y="100"/>
                  </a:lnTo>
                  <a:lnTo>
                    <a:pt x="27" y="97"/>
                  </a:lnTo>
                  <a:lnTo>
                    <a:pt x="26" y="95"/>
                  </a:lnTo>
                  <a:lnTo>
                    <a:pt x="26" y="93"/>
                  </a:lnTo>
                  <a:lnTo>
                    <a:pt x="26" y="90"/>
                  </a:lnTo>
                  <a:lnTo>
                    <a:pt x="26" y="89"/>
                  </a:lnTo>
                  <a:lnTo>
                    <a:pt x="24" y="83"/>
                  </a:lnTo>
                  <a:lnTo>
                    <a:pt x="21" y="80"/>
                  </a:lnTo>
                  <a:lnTo>
                    <a:pt x="17" y="78"/>
                  </a:lnTo>
                  <a:lnTo>
                    <a:pt x="15" y="74"/>
                  </a:lnTo>
                  <a:lnTo>
                    <a:pt x="15" y="71"/>
                  </a:lnTo>
                  <a:lnTo>
                    <a:pt x="13" y="68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5" y="59"/>
                  </a:lnTo>
                  <a:lnTo>
                    <a:pt x="16" y="57"/>
                  </a:lnTo>
                  <a:lnTo>
                    <a:pt x="17" y="56"/>
                  </a:lnTo>
                  <a:lnTo>
                    <a:pt x="17" y="53"/>
                  </a:lnTo>
                  <a:lnTo>
                    <a:pt x="15" y="52"/>
                  </a:lnTo>
                  <a:lnTo>
                    <a:pt x="15" y="49"/>
                  </a:lnTo>
                  <a:lnTo>
                    <a:pt x="13" y="46"/>
                  </a:lnTo>
                  <a:lnTo>
                    <a:pt x="12" y="45"/>
                  </a:lnTo>
                  <a:lnTo>
                    <a:pt x="9" y="40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4"/>
                  </a:lnTo>
                  <a:lnTo>
                    <a:pt x="1" y="30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26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5" y="18"/>
                  </a:lnTo>
                  <a:lnTo>
                    <a:pt x="5" y="14"/>
                  </a:lnTo>
                  <a:lnTo>
                    <a:pt x="7" y="13"/>
                  </a:lnTo>
                  <a:lnTo>
                    <a:pt x="11" y="14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9" y="6"/>
                  </a:lnTo>
                  <a:lnTo>
                    <a:pt x="21" y="7"/>
                  </a:lnTo>
                  <a:lnTo>
                    <a:pt x="23" y="6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4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4" name="Freeform 24"/>
            <p:cNvSpPr>
              <a:spLocks/>
            </p:cNvSpPr>
            <p:nvPr/>
          </p:nvSpPr>
          <p:spPr bwMode="auto">
            <a:xfrm>
              <a:off x="3041" y="1649"/>
              <a:ext cx="105" cy="233"/>
            </a:xfrm>
            <a:custGeom>
              <a:avLst/>
              <a:gdLst>
                <a:gd name="T0" fmla="*/ 58 w 105"/>
                <a:gd name="T1" fmla="*/ 0 h 233"/>
                <a:gd name="T2" fmla="*/ 66 w 105"/>
                <a:gd name="T3" fmla="*/ 11 h 233"/>
                <a:gd name="T4" fmla="*/ 67 w 105"/>
                <a:gd name="T5" fmla="*/ 30 h 233"/>
                <a:gd name="T6" fmla="*/ 63 w 105"/>
                <a:gd name="T7" fmla="*/ 36 h 233"/>
                <a:gd name="T8" fmla="*/ 59 w 105"/>
                <a:gd name="T9" fmla="*/ 43 h 233"/>
                <a:gd name="T10" fmla="*/ 62 w 105"/>
                <a:gd name="T11" fmla="*/ 50 h 233"/>
                <a:gd name="T12" fmla="*/ 73 w 105"/>
                <a:gd name="T13" fmla="*/ 54 h 233"/>
                <a:gd name="T14" fmla="*/ 77 w 105"/>
                <a:gd name="T15" fmla="*/ 60 h 233"/>
                <a:gd name="T16" fmla="*/ 81 w 105"/>
                <a:gd name="T17" fmla="*/ 68 h 233"/>
                <a:gd name="T18" fmla="*/ 86 w 105"/>
                <a:gd name="T19" fmla="*/ 70 h 233"/>
                <a:gd name="T20" fmla="*/ 83 w 105"/>
                <a:gd name="T21" fmla="*/ 80 h 233"/>
                <a:gd name="T22" fmla="*/ 90 w 105"/>
                <a:gd name="T23" fmla="*/ 84 h 233"/>
                <a:gd name="T24" fmla="*/ 104 w 105"/>
                <a:gd name="T25" fmla="*/ 84 h 233"/>
                <a:gd name="T26" fmla="*/ 98 w 105"/>
                <a:gd name="T27" fmla="*/ 92 h 233"/>
                <a:gd name="T28" fmla="*/ 93 w 105"/>
                <a:gd name="T29" fmla="*/ 102 h 233"/>
                <a:gd name="T30" fmla="*/ 87 w 105"/>
                <a:gd name="T31" fmla="*/ 107 h 233"/>
                <a:gd name="T32" fmla="*/ 79 w 105"/>
                <a:gd name="T33" fmla="*/ 111 h 233"/>
                <a:gd name="T34" fmla="*/ 70 w 105"/>
                <a:gd name="T35" fmla="*/ 121 h 233"/>
                <a:gd name="T36" fmla="*/ 66 w 105"/>
                <a:gd name="T37" fmla="*/ 130 h 233"/>
                <a:gd name="T38" fmla="*/ 75 w 105"/>
                <a:gd name="T39" fmla="*/ 140 h 233"/>
                <a:gd name="T40" fmla="*/ 83 w 105"/>
                <a:gd name="T41" fmla="*/ 153 h 233"/>
                <a:gd name="T42" fmla="*/ 82 w 105"/>
                <a:gd name="T43" fmla="*/ 166 h 233"/>
                <a:gd name="T44" fmla="*/ 87 w 105"/>
                <a:gd name="T45" fmla="*/ 180 h 233"/>
                <a:gd name="T46" fmla="*/ 92 w 105"/>
                <a:gd name="T47" fmla="*/ 195 h 233"/>
                <a:gd name="T48" fmla="*/ 96 w 105"/>
                <a:gd name="T49" fmla="*/ 208 h 233"/>
                <a:gd name="T50" fmla="*/ 89 w 105"/>
                <a:gd name="T51" fmla="*/ 225 h 233"/>
                <a:gd name="T52" fmla="*/ 86 w 105"/>
                <a:gd name="T53" fmla="*/ 233 h 233"/>
                <a:gd name="T54" fmla="*/ 85 w 105"/>
                <a:gd name="T55" fmla="*/ 225 h 233"/>
                <a:gd name="T56" fmla="*/ 86 w 105"/>
                <a:gd name="T57" fmla="*/ 216 h 233"/>
                <a:gd name="T58" fmla="*/ 86 w 105"/>
                <a:gd name="T59" fmla="*/ 208 h 233"/>
                <a:gd name="T60" fmla="*/ 85 w 105"/>
                <a:gd name="T61" fmla="*/ 200 h 233"/>
                <a:gd name="T62" fmla="*/ 79 w 105"/>
                <a:gd name="T63" fmla="*/ 189 h 233"/>
                <a:gd name="T64" fmla="*/ 77 w 105"/>
                <a:gd name="T65" fmla="*/ 178 h 233"/>
                <a:gd name="T66" fmla="*/ 73 w 105"/>
                <a:gd name="T67" fmla="*/ 170 h 233"/>
                <a:gd name="T68" fmla="*/ 71 w 105"/>
                <a:gd name="T69" fmla="*/ 156 h 233"/>
                <a:gd name="T70" fmla="*/ 68 w 105"/>
                <a:gd name="T71" fmla="*/ 152 h 233"/>
                <a:gd name="T72" fmla="*/ 62 w 105"/>
                <a:gd name="T73" fmla="*/ 142 h 233"/>
                <a:gd name="T74" fmla="*/ 59 w 105"/>
                <a:gd name="T75" fmla="*/ 142 h 233"/>
                <a:gd name="T76" fmla="*/ 59 w 105"/>
                <a:gd name="T77" fmla="*/ 149 h 233"/>
                <a:gd name="T78" fmla="*/ 53 w 105"/>
                <a:gd name="T79" fmla="*/ 152 h 233"/>
                <a:gd name="T80" fmla="*/ 49 w 105"/>
                <a:gd name="T81" fmla="*/ 153 h 233"/>
                <a:gd name="T82" fmla="*/ 40 w 105"/>
                <a:gd name="T83" fmla="*/ 159 h 233"/>
                <a:gd name="T84" fmla="*/ 34 w 105"/>
                <a:gd name="T85" fmla="*/ 160 h 233"/>
                <a:gd name="T86" fmla="*/ 36 w 105"/>
                <a:gd name="T87" fmla="*/ 152 h 233"/>
                <a:gd name="T88" fmla="*/ 30 w 105"/>
                <a:gd name="T89" fmla="*/ 159 h 233"/>
                <a:gd name="T90" fmla="*/ 30 w 105"/>
                <a:gd name="T91" fmla="*/ 137 h 233"/>
                <a:gd name="T92" fmla="*/ 28 w 105"/>
                <a:gd name="T93" fmla="*/ 129 h 233"/>
                <a:gd name="T94" fmla="*/ 22 w 105"/>
                <a:gd name="T95" fmla="*/ 118 h 233"/>
                <a:gd name="T96" fmla="*/ 17 w 105"/>
                <a:gd name="T97" fmla="*/ 118 h 233"/>
                <a:gd name="T98" fmla="*/ 19 w 105"/>
                <a:gd name="T99" fmla="*/ 118 h 233"/>
                <a:gd name="T100" fmla="*/ 21 w 105"/>
                <a:gd name="T101" fmla="*/ 115 h 233"/>
                <a:gd name="T102" fmla="*/ 15 w 105"/>
                <a:gd name="T103" fmla="*/ 107 h 233"/>
                <a:gd name="T104" fmla="*/ 10 w 105"/>
                <a:gd name="T105" fmla="*/ 107 h 233"/>
                <a:gd name="T106" fmla="*/ 9 w 105"/>
                <a:gd name="T107" fmla="*/ 106 h 233"/>
                <a:gd name="T108" fmla="*/ 0 w 105"/>
                <a:gd name="T109" fmla="*/ 95 h 233"/>
                <a:gd name="T110" fmla="*/ 6 w 105"/>
                <a:gd name="T111" fmla="*/ 84 h 233"/>
                <a:gd name="T112" fmla="*/ 10 w 105"/>
                <a:gd name="T113" fmla="*/ 76 h 233"/>
                <a:gd name="T114" fmla="*/ 13 w 105"/>
                <a:gd name="T115" fmla="*/ 62 h 233"/>
                <a:gd name="T116" fmla="*/ 21 w 105"/>
                <a:gd name="T117" fmla="*/ 53 h 233"/>
                <a:gd name="T118" fmla="*/ 25 w 105"/>
                <a:gd name="T119" fmla="*/ 34 h 233"/>
                <a:gd name="T120" fmla="*/ 32 w 105"/>
                <a:gd name="T121" fmla="*/ 17 h 233"/>
                <a:gd name="T122" fmla="*/ 45 w 105"/>
                <a:gd name="T123" fmla="*/ 9 h 233"/>
                <a:gd name="T124" fmla="*/ 48 w 105"/>
                <a:gd name="T125" fmla="*/ 1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233">
                  <a:moveTo>
                    <a:pt x="48" y="1"/>
                  </a:moveTo>
                  <a:lnTo>
                    <a:pt x="49" y="0"/>
                  </a:lnTo>
                  <a:lnTo>
                    <a:pt x="52" y="1"/>
                  </a:lnTo>
                  <a:lnTo>
                    <a:pt x="55" y="0"/>
                  </a:lnTo>
                  <a:lnTo>
                    <a:pt x="58" y="0"/>
                  </a:lnTo>
                  <a:lnTo>
                    <a:pt x="59" y="4"/>
                  </a:lnTo>
                  <a:lnTo>
                    <a:pt x="62" y="5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6" y="11"/>
                  </a:lnTo>
                  <a:lnTo>
                    <a:pt x="66" y="15"/>
                  </a:lnTo>
                  <a:lnTo>
                    <a:pt x="67" y="19"/>
                  </a:lnTo>
                  <a:lnTo>
                    <a:pt x="68" y="21"/>
                  </a:lnTo>
                  <a:lnTo>
                    <a:pt x="67" y="27"/>
                  </a:lnTo>
                  <a:lnTo>
                    <a:pt x="67" y="30"/>
                  </a:lnTo>
                  <a:lnTo>
                    <a:pt x="67" y="31"/>
                  </a:lnTo>
                  <a:lnTo>
                    <a:pt x="64" y="32"/>
                  </a:lnTo>
                  <a:lnTo>
                    <a:pt x="64" y="34"/>
                  </a:lnTo>
                  <a:lnTo>
                    <a:pt x="63" y="34"/>
                  </a:lnTo>
                  <a:lnTo>
                    <a:pt x="63" y="36"/>
                  </a:lnTo>
                  <a:lnTo>
                    <a:pt x="63" y="38"/>
                  </a:lnTo>
                  <a:lnTo>
                    <a:pt x="63" y="39"/>
                  </a:lnTo>
                  <a:lnTo>
                    <a:pt x="62" y="39"/>
                  </a:lnTo>
                  <a:lnTo>
                    <a:pt x="60" y="40"/>
                  </a:lnTo>
                  <a:lnTo>
                    <a:pt x="59" y="43"/>
                  </a:lnTo>
                  <a:lnTo>
                    <a:pt x="60" y="45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60" y="49"/>
                  </a:lnTo>
                  <a:lnTo>
                    <a:pt x="62" y="50"/>
                  </a:lnTo>
                  <a:lnTo>
                    <a:pt x="63" y="51"/>
                  </a:lnTo>
                  <a:lnTo>
                    <a:pt x="63" y="54"/>
                  </a:lnTo>
                  <a:lnTo>
                    <a:pt x="64" y="57"/>
                  </a:lnTo>
                  <a:lnTo>
                    <a:pt x="67" y="55"/>
                  </a:lnTo>
                  <a:lnTo>
                    <a:pt x="73" y="54"/>
                  </a:lnTo>
                  <a:lnTo>
                    <a:pt x="73" y="55"/>
                  </a:lnTo>
                  <a:lnTo>
                    <a:pt x="71" y="57"/>
                  </a:lnTo>
                  <a:lnTo>
                    <a:pt x="73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2"/>
                  </a:lnTo>
                  <a:lnTo>
                    <a:pt x="78" y="64"/>
                  </a:lnTo>
                  <a:lnTo>
                    <a:pt x="81" y="65"/>
                  </a:lnTo>
                  <a:lnTo>
                    <a:pt x="79" y="65"/>
                  </a:lnTo>
                  <a:lnTo>
                    <a:pt x="81" y="68"/>
                  </a:lnTo>
                  <a:lnTo>
                    <a:pt x="81" y="66"/>
                  </a:lnTo>
                  <a:lnTo>
                    <a:pt x="85" y="66"/>
                  </a:lnTo>
                  <a:lnTo>
                    <a:pt x="87" y="68"/>
                  </a:lnTo>
                  <a:lnTo>
                    <a:pt x="87" y="69"/>
                  </a:lnTo>
                  <a:lnTo>
                    <a:pt x="86" y="70"/>
                  </a:lnTo>
                  <a:lnTo>
                    <a:pt x="86" y="73"/>
                  </a:lnTo>
                  <a:lnTo>
                    <a:pt x="83" y="76"/>
                  </a:lnTo>
                  <a:lnTo>
                    <a:pt x="81" y="79"/>
                  </a:lnTo>
                  <a:lnTo>
                    <a:pt x="82" y="80"/>
                  </a:lnTo>
                  <a:lnTo>
                    <a:pt x="83" y="80"/>
                  </a:lnTo>
                  <a:lnTo>
                    <a:pt x="87" y="80"/>
                  </a:lnTo>
                  <a:lnTo>
                    <a:pt x="87" y="80"/>
                  </a:lnTo>
                  <a:lnTo>
                    <a:pt x="89" y="79"/>
                  </a:lnTo>
                  <a:lnTo>
                    <a:pt x="90" y="81"/>
                  </a:lnTo>
                  <a:lnTo>
                    <a:pt x="90" y="84"/>
                  </a:lnTo>
                  <a:lnTo>
                    <a:pt x="92" y="87"/>
                  </a:lnTo>
                  <a:lnTo>
                    <a:pt x="94" y="88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4"/>
                  </a:lnTo>
                  <a:lnTo>
                    <a:pt x="105" y="85"/>
                  </a:lnTo>
                  <a:lnTo>
                    <a:pt x="105" y="87"/>
                  </a:lnTo>
                  <a:lnTo>
                    <a:pt x="102" y="89"/>
                  </a:lnTo>
                  <a:lnTo>
                    <a:pt x="98" y="91"/>
                  </a:lnTo>
                  <a:lnTo>
                    <a:pt x="98" y="92"/>
                  </a:lnTo>
                  <a:lnTo>
                    <a:pt x="97" y="95"/>
                  </a:lnTo>
                  <a:lnTo>
                    <a:pt x="98" y="96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3" y="102"/>
                  </a:lnTo>
                  <a:lnTo>
                    <a:pt x="90" y="102"/>
                  </a:lnTo>
                  <a:lnTo>
                    <a:pt x="87" y="102"/>
                  </a:lnTo>
                  <a:lnTo>
                    <a:pt x="87" y="103"/>
                  </a:lnTo>
                  <a:lnTo>
                    <a:pt x="89" y="106"/>
                  </a:lnTo>
                  <a:lnTo>
                    <a:pt x="87" y="107"/>
                  </a:lnTo>
                  <a:lnTo>
                    <a:pt x="85" y="106"/>
                  </a:lnTo>
                  <a:lnTo>
                    <a:pt x="83" y="107"/>
                  </a:lnTo>
                  <a:lnTo>
                    <a:pt x="83" y="110"/>
                  </a:lnTo>
                  <a:lnTo>
                    <a:pt x="82" y="111"/>
                  </a:lnTo>
                  <a:lnTo>
                    <a:pt x="79" y="111"/>
                  </a:lnTo>
                  <a:lnTo>
                    <a:pt x="77" y="114"/>
                  </a:lnTo>
                  <a:lnTo>
                    <a:pt x="73" y="113"/>
                  </a:lnTo>
                  <a:lnTo>
                    <a:pt x="71" y="114"/>
                  </a:lnTo>
                  <a:lnTo>
                    <a:pt x="71" y="118"/>
                  </a:lnTo>
                  <a:lnTo>
                    <a:pt x="70" y="121"/>
                  </a:lnTo>
                  <a:lnTo>
                    <a:pt x="70" y="123"/>
                  </a:lnTo>
                  <a:lnTo>
                    <a:pt x="70" y="126"/>
                  </a:lnTo>
                  <a:lnTo>
                    <a:pt x="68" y="127"/>
                  </a:lnTo>
                  <a:lnTo>
                    <a:pt x="66" y="129"/>
                  </a:lnTo>
                  <a:lnTo>
                    <a:pt x="66" y="130"/>
                  </a:lnTo>
                  <a:lnTo>
                    <a:pt x="67" y="130"/>
                  </a:lnTo>
                  <a:lnTo>
                    <a:pt x="70" y="134"/>
                  </a:lnTo>
                  <a:lnTo>
                    <a:pt x="71" y="136"/>
                  </a:lnTo>
                  <a:lnTo>
                    <a:pt x="71" y="137"/>
                  </a:lnTo>
                  <a:lnTo>
                    <a:pt x="75" y="140"/>
                  </a:lnTo>
                  <a:lnTo>
                    <a:pt x="78" y="145"/>
                  </a:lnTo>
                  <a:lnTo>
                    <a:pt x="79" y="146"/>
                  </a:lnTo>
                  <a:lnTo>
                    <a:pt x="81" y="149"/>
                  </a:lnTo>
                  <a:lnTo>
                    <a:pt x="81" y="152"/>
                  </a:lnTo>
                  <a:lnTo>
                    <a:pt x="83" y="153"/>
                  </a:lnTo>
                  <a:lnTo>
                    <a:pt x="83" y="156"/>
                  </a:lnTo>
                  <a:lnTo>
                    <a:pt x="82" y="157"/>
                  </a:lnTo>
                  <a:lnTo>
                    <a:pt x="81" y="159"/>
                  </a:lnTo>
                  <a:lnTo>
                    <a:pt x="82" y="164"/>
                  </a:lnTo>
                  <a:lnTo>
                    <a:pt x="82" y="166"/>
                  </a:lnTo>
                  <a:lnTo>
                    <a:pt x="79" y="168"/>
                  </a:lnTo>
                  <a:lnTo>
                    <a:pt x="81" y="171"/>
                  </a:lnTo>
                  <a:lnTo>
                    <a:pt x="81" y="174"/>
                  </a:lnTo>
                  <a:lnTo>
                    <a:pt x="83" y="178"/>
                  </a:lnTo>
                  <a:lnTo>
                    <a:pt x="87" y="180"/>
                  </a:lnTo>
                  <a:lnTo>
                    <a:pt x="90" y="183"/>
                  </a:lnTo>
                  <a:lnTo>
                    <a:pt x="92" y="189"/>
                  </a:lnTo>
                  <a:lnTo>
                    <a:pt x="92" y="190"/>
                  </a:lnTo>
                  <a:lnTo>
                    <a:pt x="92" y="193"/>
                  </a:lnTo>
                  <a:lnTo>
                    <a:pt x="92" y="195"/>
                  </a:lnTo>
                  <a:lnTo>
                    <a:pt x="93" y="197"/>
                  </a:lnTo>
                  <a:lnTo>
                    <a:pt x="93" y="200"/>
                  </a:lnTo>
                  <a:lnTo>
                    <a:pt x="94" y="202"/>
                  </a:lnTo>
                  <a:lnTo>
                    <a:pt x="94" y="205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4" y="213"/>
                  </a:lnTo>
                  <a:lnTo>
                    <a:pt x="92" y="220"/>
                  </a:lnTo>
                  <a:lnTo>
                    <a:pt x="89" y="223"/>
                  </a:lnTo>
                  <a:lnTo>
                    <a:pt x="89" y="225"/>
                  </a:lnTo>
                  <a:lnTo>
                    <a:pt x="87" y="227"/>
                  </a:lnTo>
                  <a:lnTo>
                    <a:pt x="87" y="228"/>
                  </a:lnTo>
                  <a:lnTo>
                    <a:pt x="87" y="228"/>
                  </a:lnTo>
                  <a:lnTo>
                    <a:pt x="86" y="231"/>
                  </a:lnTo>
                  <a:lnTo>
                    <a:pt x="86" y="233"/>
                  </a:lnTo>
                  <a:lnTo>
                    <a:pt x="85" y="231"/>
                  </a:lnTo>
                  <a:lnTo>
                    <a:pt x="85" y="227"/>
                  </a:lnTo>
                  <a:lnTo>
                    <a:pt x="83" y="225"/>
                  </a:lnTo>
                  <a:lnTo>
                    <a:pt x="83" y="224"/>
                  </a:lnTo>
                  <a:lnTo>
                    <a:pt x="85" y="225"/>
                  </a:lnTo>
                  <a:lnTo>
                    <a:pt x="85" y="224"/>
                  </a:lnTo>
                  <a:lnTo>
                    <a:pt x="86" y="221"/>
                  </a:lnTo>
                  <a:lnTo>
                    <a:pt x="86" y="220"/>
                  </a:lnTo>
                  <a:lnTo>
                    <a:pt x="86" y="220"/>
                  </a:lnTo>
                  <a:lnTo>
                    <a:pt x="86" y="216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6" y="212"/>
                  </a:lnTo>
                  <a:lnTo>
                    <a:pt x="89" y="210"/>
                  </a:lnTo>
                  <a:lnTo>
                    <a:pt x="86" y="208"/>
                  </a:lnTo>
                  <a:lnTo>
                    <a:pt x="85" y="206"/>
                  </a:lnTo>
                  <a:lnTo>
                    <a:pt x="85" y="204"/>
                  </a:lnTo>
                  <a:lnTo>
                    <a:pt x="86" y="202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3" y="193"/>
                  </a:lnTo>
                  <a:lnTo>
                    <a:pt x="82" y="191"/>
                  </a:lnTo>
                  <a:lnTo>
                    <a:pt x="81" y="189"/>
                  </a:lnTo>
                  <a:lnTo>
                    <a:pt x="79" y="186"/>
                  </a:lnTo>
                  <a:lnTo>
                    <a:pt x="79" y="189"/>
                  </a:lnTo>
                  <a:lnTo>
                    <a:pt x="78" y="190"/>
                  </a:lnTo>
                  <a:lnTo>
                    <a:pt x="78" y="187"/>
                  </a:lnTo>
                  <a:lnTo>
                    <a:pt x="78" y="186"/>
                  </a:lnTo>
                  <a:lnTo>
                    <a:pt x="78" y="180"/>
                  </a:lnTo>
                  <a:lnTo>
                    <a:pt x="77" y="178"/>
                  </a:lnTo>
                  <a:lnTo>
                    <a:pt x="75" y="176"/>
                  </a:lnTo>
                  <a:lnTo>
                    <a:pt x="77" y="175"/>
                  </a:lnTo>
                  <a:lnTo>
                    <a:pt x="74" y="174"/>
                  </a:lnTo>
                  <a:lnTo>
                    <a:pt x="74" y="170"/>
                  </a:lnTo>
                  <a:lnTo>
                    <a:pt x="73" y="170"/>
                  </a:lnTo>
                  <a:lnTo>
                    <a:pt x="73" y="160"/>
                  </a:lnTo>
                  <a:lnTo>
                    <a:pt x="71" y="160"/>
                  </a:lnTo>
                  <a:lnTo>
                    <a:pt x="70" y="157"/>
                  </a:lnTo>
                  <a:lnTo>
                    <a:pt x="71" y="157"/>
                  </a:lnTo>
                  <a:lnTo>
                    <a:pt x="71" y="156"/>
                  </a:lnTo>
                  <a:lnTo>
                    <a:pt x="70" y="153"/>
                  </a:lnTo>
                  <a:lnTo>
                    <a:pt x="70" y="152"/>
                  </a:lnTo>
                  <a:lnTo>
                    <a:pt x="70" y="151"/>
                  </a:lnTo>
                  <a:lnTo>
                    <a:pt x="70" y="152"/>
                  </a:lnTo>
                  <a:lnTo>
                    <a:pt x="68" y="152"/>
                  </a:lnTo>
                  <a:lnTo>
                    <a:pt x="66" y="152"/>
                  </a:lnTo>
                  <a:lnTo>
                    <a:pt x="66" y="149"/>
                  </a:lnTo>
                  <a:lnTo>
                    <a:pt x="64" y="148"/>
                  </a:lnTo>
                  <a:lnTo>
                    <a:pt x="62" y="144"/>
                  </a:lnTo>
                  <a:lnTo>
                    <a:pt x="62" y="142"/>
                  </a:lnTo>
                  <a:lnTo>
                    <a:pt x="60" y="142"/>
                  </a:lnTo>
                  <a:lnTo>
                    <a:pt x="60" y="141"/>
                  </a:lnTo>
                  <a:lnTo>
                    <a:pt x="58" y="140"/>
                  </a:lnTo>
                  <a:lnTo>
                    <a:pt x="59" y="141"/>
                  </a:lnTo>
                  <a:lnTo>
                    <a:pt x="59" y="142"/>
                  </a:lnTo>
                  <a:lnTo>
                    <a:pt x="59" y="144"/>
                  </a:lnTo>
                  <a:lnTo>
                    <a:pt x="60" y="145"/>
                  </a:lnTo>
                  <a:lnTo>
                    <a:pt x="60" y="146"/>
                  </a:lnTo>
                  <a:lnTo>
                    <a:pt x="59" y="148"/>
                  </a:lnTo>
                  <a:lnTo>
                    <a:pt x="59" y="149"/>
                  </a:lnTo>
                  <a:lnTo>
                    <a:pt x="56" y="152"/>
                  </a:lnTo>
                  <a:lnTo>
                    <a:pt x="55" y="152"/>
                  </a:lnTo>
                  <a:lnTo>
                    <a:pt x="53" y="151"/>
                  </a:lnTo>
                  <a:lnTo>
                    <a:pt x="52" y="151"/>
                  </a:lnTo>
                  <a:lnTo>
                    <a:pt x="53" y="152"/>
                  </a:lnTo>
                  <a:lnTo>
                    <a:pt x="53" y="153"/>
                  </a:lnTo>
                  <a:lnTo>
                    <a:pt x="55" y="153"/>
                  </a:lnTo>
                  <a:lnTo>
                    <a:pt x="52" y="155"/>
                  </a:lnTo>
                  <a:lnTo>
                    <a:pt x="51" y="155"/>
                  </a:lnTo>
                  <a:lnTo>
                    <a:pt x="49" y="153"/>
                  </a:lnTo>
                  <a:lnTo>
                    <a:pt x="49" y="156"/>
                  </a:lnTo>
                  <a:lnTo>
                    <a:pt x="44" y="159"/>
                  </a:lnTo>
                  <a:lnTo>
                    <a:pt x="41" y="159"/>
                  </a:lnTo>
                  <a:lnTo>
                    <a:pt x="41" y="159"/>
                  </a:lnTo>
                  <a:lnTo>
                    <a:pt x="40" y="159"/>
                  </a:lnTo>
                  <a:lnTo>
                    <a:pt x="40" y="159"/>
                  </a:lnTo>
                  <a:lnTo>
                    <a:pt x="40" y="160"/>
                  </a:lnTo>
                  <a:lnTo>
                    <a:pt x="39" y="160"/>
                  </a:lnTo>
                  <a:lnTo>
                    <a:pt x="37" y="159"/>
                  </a:lnTo>
                  <a:lnTo>
                    <a:pt x="34" y="160"/>
                  </a:lnTo>
                  <a:lnTo>
                    <a:pt x="34" y="161"/>
                  </a:lnTo>
                  <a:lnTo>
                    <a:pt x="33" y="161"/>
                  </a:lnTo>
                  <a:lnTo>
                    <a:pt x="33" y="159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4" y="156"/>
                  </a:lnTo>
                  <a:lnTo>
                    <a:pt x="32" y="157"/>
                  </a:lnTo>
                  <a:lnTo>
                    <a:pt x="30" y="160"/>
                  </a:lnTo>
                  <a:lnTo>
                    <a:pt x="30" y="159"/>
                  </a:lnTo>
                  <a:lnTo>
                    <a:pt x="30" y="159"/>
                  </a:lnTo>
                  <a:lnTo>
                    <a:pt x="29" y="156"/>
                  </a:lnTo>
                  <a:lnTo>
                    <a:pt x="32" y="144"/>
                  </a:lnTo>
                  <a:lnTo>
                    <a:pt x="34" y="142"/>
                  </a:lnTo>
                  <a:lnTo>
                    <a:pt x="33" y="141"/>
                  </a:lnTo>
                  <a:lnTo>
                    <a:pt x="30" y="137"/>
                  </a:lnTo>
                  <a:lnTo>
                    <a:pt x="30" y="132"/>
                  </a:lnTo>
                  <a:lnTo>
                    <a:pt x="29" y="132"/>
                  </a:lnTo>
                  <a:lnTo>
                    <a:pt x="29" y="130"/>
                  </a:lnTo>
                  <a:lnTo>
                    <a:pt x="29" y="130"/>
                  </a:lnTo>
                  <a:lnTo>
                    <a:pt x="28" y="129"/>
                  </a:lnTo>
                  <a:lnTo>
                    <a:pt x="26" y="125"/>
                  </a:lnTo>
                  <a:lnTo>
                    <a:pt x="26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2" y="118"/>
                  </a:lnTo>
                  <a:lnTo>
                    <a:pt x="22" y="119"/>
                  </a:lnTo>
                  <a:lnTo>
                    <a:pt x="24" y="123"/>
                  </a:lnTo>
                  <a:lnTo>
                    <a:pt x="19" y="122"/>
                  </a:lnTo>
                  <a:lnTo>
                    <a:pt x="17" y="119"/>
                  </a:lnTo>
                  <a:lnTo>
                    <a:pt x="17" y="118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7" y="115"/>
                  </a:lnTo>
                  <a:lnTo>
                    <a:pt x="17" y="117"/>
                  </a:lnTo>
                  <a:lnTo>
                    <a:pt x="19" y="118"/>
                  </a:lnTo>
                  <a:lnTo>
                    <a:pt x="19" y="118"/>
                  </a:lnTo>
                  <a:lnTo>
                    <a:pt x="19" y="117"/>
                  </a:lnTo>
                  <a:lnTo>
                    <a:pt x="17" y="115"/>
                  </a:lnTo>
                  <a:lnTo>
                    <a:pt x="19" y="114"/>
                  </a:lnTo>
                  <a:lnTo>
                    <a:pt x="21" y="115"/>
                  </a:lnTo>
                  <a:lnTo>
                    <a:pt x="22" y="115"/>
                  </a:lnTo>
                  <a:lnTo>
                    <a:pt x="22" y="113"/>
                  </a:lnTo>
                  <a:lnTo>
                    <a:pt x="19" y="110"/>
                  </a:lnTo>
                  <a:lnTo>
                    <a:pt x="15" y="108"/>
                  </a:lnTo>
                  <a:lnTo>
                    <a:pt x="15" y="107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3" y="107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1" y="104"/>
                  </a:lnTo>
                  <a:lnTo>
                    <a:pt x="10" y="104"/>
                  </a:lnTo>
                  <a:lnTo>
                    <a:pt x="7" y="103"/>
                  </a:lnTo>
                  <a:lnTo>
                    <a:pt x="7" y="104"/>
                  </a:lnTo>
                  <a:lnTo>
                    <a:pt x="9" y="106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95"/>
                  </a:lnTo>
                  <a:lnTo>
                    <a:pt x="2" y="93"/>
                  </a:lnTo>
                  <a:lnTo>
                    <a:pt x="3" y="91"/>
                  </a:lnTo>
                  <a:lnTo>
                    <a:pt x="5" y="91"/>
                  </a:lnTo>
                  <a:lnTo>
                    <a:pt x="6" y="88"/>
                  </a:lnTo>
                  <a:lnTo>
                    <a:pt x="6" y="84"/>
                  </a:lnTo>
                  <a:lnTo>
                    <a:pt x="6" y="81"/>
                  </a:lnTo>
                  <a:lnTo>
                    <a:pt x="7" y="83"/>
                  </a:lnTo>
                  <a:lnTo>
                    <a:pt x="9" y="81"/>
                  </a:lnTo>
                  <a:lnTo>
                    <a:pt x="10" y="77"/>
                  </a:lnTo>
                  <a:lnTo>
                    <a:pt x="10" y="76"/>
                  </a:lnTo>
                  <a:lnTo>
                    <a:pt x="10" y="73"/>
                  </a:lnTo>
                  <a:lnTo>
                    <a:pt x="10" y="69"/>
                  </a:lnTo>
                  <a:lnTo>
                    <a:pt x="13" y="70"/>
                  </a:lnTo>
                  <a:lnTo>
                    <a:pt x="13" y="65"/>
                  </a:lnTo>
                  <a:lnTo>
                    <a:pt x="13" y="62"/>
                  </a:lnTo>
                  <a:lnTo>
                    <a:pt x="11" y="57"/>
                  </a:lnTo>
                  <a:lnTo>
                    <a:pt x="14" y="57"/>
                  </a:lnTo>
                  <a:lnTo>
                    <a:pt x="15" y="58"/>
                  </a:lnTo>
                  <a:lnTo>
                    <a:pt x="18" y="58"/>
                  </a:lnTo>
                  <a:lnTo>
                    <a:pt x="21" y="53"/>
                  </a:lnTo>
                  <a:lnTo>
                    <a:pt x="21" y="49"/>
                  </a:lnTo>
                  <a:lnTo>
                    <a:pt x="24" y="42"/>
                  </a:lnTo>
                  <a:lnTo>
                    <a:pt x="21" y="40"/>
                  </a:lnTo>
                  <a:lnTo>
                    <a:pt x="21" y="39"/>
                  </a:lnTo>
                  <a:lnTo>
                    <a:pt x="25" y="34"/>
                  </a:lnTo>
                  <a:lnTo>
                    <a:pt x="26" y="28"/>
                  </a:lnTo>
                  <a:lnTo>
                    <a:pt x="25" y="27"/>
                  </a:lnTo>
                  <a:lnTo>
                    <a:pt x="25" y="24"/>
                  </a:lnTo>
                  <a:lnTo>
                    <a:pt x="29" y="19"/>
                  </a:lnTo>
                  <a:lnTo>
                    <a:pt x="32" y="17"/>
                  </a:lnTo>
                  <a:lnTo>
                    <a:pt x="34" y="15"/>
                  </a:lnTo>
                  <a:lnTo>
                    <a:pt x="36" y="12"/>
                  </a:lnTo>
                  <a:lnTo>
                    <a:pt x="40" y="11"/>
                  </a:lnTo>
                  <a:lnTo>
                    <a:pt x="43" y="8"/>
                  </a:lnTo>
                  <a:lnTo>
                    <a:pt x="45" y="9"/>
                  </a:lnTo>
                  <a:lnTo>
                    <a:pt x="47" y="11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49" y="4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5" name="Freeform 25"/>
            <p:cNvSpPr>
              <a:spLocks noEditPoints="1"/>
            </p:cNvSpPr>
            <p:nvPr/>
          </p:nvSpPr>
          <p:spPr bwMode="auto">
            <a:xfrm>
              <a:off x="2760" y="1585"/>
              <a:ext cx="330" cy="321"/>
            </a:xfrm>
            <a:custGeom>
              <a:avLst/>
              <a:gdLst>
                <a:gd name="T0" fmla="*/ 113 w 330"/>
                <a:gd name="T1" fmla="*/ 27 h 321"/>
                <a:gd name="T2" fmla="*/ 131 w 330"/>
                <a:gd name="T3" fmla="*/ 37 h 321"/>
                <a:gd name="T4" fmla="*/ 135 w 330"/>
                <a:gd name="T5" fmla="*/ 62 h 321"/>
                <a:gd name="T6" fmla="*/ 171 w 330"/>
                <a:gd name="T7" fmla="*/ 77 h 321"/>
                <a:gd name="T8" fmla="*/ 215 w 330"/>
                <a:gd name="T9" fmla="*/ 87 h 321"/>
                <a:gd name="T10" fmla="*/ 231 w 330"/>
                <a:gd name="T11" fmla="*/ 70 h 321"/>
                <a:gd name="T12" fmla="*/ 249 w 330"/>
                <a:gd name="T13" fmla="*/ 85 h 321"/>
                <a:gd name="T14" fmla="*/ 265 w 330"/>
                <a:gd name="T15" fmla="*/ 72 h 321"/>
                <a:gd name="T16" fmla="*/ 281 w 330"/>
                <a:gd name="T17" fmla="*/ 60 h 321"/>
                <a:gd name="T18" fmla="*/ 307 w 330"/>
                <a:gd name="T19" fmla="*/ 51 h 321"/>
                <a:gd name="T20" fmla="*/ 318 w 330"/>
                <a:gd name="T21" fmla="*/ 53 h 321"/>
                <a:gd name="T22" fmla="*/ 329 w 330"/>
                <a:gd name="T23" fmla="*/ 65 h 321"/>
                <a:gd name="T24" fmla="*/ 313 w 330"/>
                <a:gd name="T25" fmla="*/ 81 h 321"/>
                <a:gd name="T26" fmla="*/ 302 w 330"/>
                <a:gd name="T27" fmla="*/ 117 h 321"/>
                <a:gd name="T28" fmla="*/ 291 w 330"/>
                <a:gd name="T29" fmla="*/ 140 h 321"/>
                <a:gd name="T30" fmla="*/ 286 w 330"/>
                <a:gd name="T31" fmla="*/ 145 h 321"/>
                <a:gd name="T32" fmla="*/ 276 w 330"/>
                <a:gd name="T33" fmla="*/ 125 h 321"/>
                <a:gd name="T34" fmla="*/ 269 w 330"/>
                <a:gd name="T35" fmla="*/ 129 h 321"/>
                <a:gd name="T36" fmla="*/ 273 w 330"/>
                <a:gd name="T37" fmla="*/ 118 h 321"/>
                <a:gd name="T38" fmla="*/ 271 w 330"/>
                <a:gd name="T39" fmla="*/ 104 h 321"/>
                <a:gd name="T40" fmla="*/ 247 w 330"/>
                <a:gd name="T41" fmla="*/ 98 h 321"/>
                <a:gd name="T42" fmla="*/ 239 w 330"/>
                <a:gd name="T43" fmla="*/ 91 h 321"/>
                <a:gd name="T44" fmla="*/ 231 w 330"/>
                <a:gd name="T45" fmla="*/ 90 h 321"/>
                <a:gd name="T46" fmla="*/ 235 w 330"/>
                <a:gd name="T47" fmla="*/ 104 h 321"/>
                <a:gd name="T48" fmla="*/ 239 w 330"/>
                <a:gd name="T49" fmla="*/ 130 h 321"/>
                <a:gd name="T50" fmla="*/ 242 w 330"/>
                <a:gd name="T51" fmla="*/ 152 h 321"/>
                <a:gd name="T52" fmla="*/ 234 w 330"/>
                <a:gd name="T53" fmla="*/ 149 h 321"/>
                <a:gd name="T54" fmla="*/ 231 w 330"/>
                <a:gd name="T55" fmla="*/ 149 h 321"/>
                <a:gd name="T56" fmla="*/ 219 w 330"/>
                <a:gd name="T57" fmla="*/ 167 h 321"/>
                <a:gd name="T58" fmla="*/ 204 w 330"/>
                <a:gd name="T59" fmla="*/ 175 h 321"/>
                <a:gd name="T60" fmla="*/ 182 w 330"/>
                <a:gd name="T61" fmla="*/ 204 h 321"/>
                <a:gd name="T62" fmla="*/ 160 w 330"/>
                <a:gd name="T63" fmla="*/ 223 h 321"/>
                <a:gd name="T64" fmla="*/ 148 w 330"/>
                <a:gd name="T65" fmla="*/ 247 h 321"/>
                <a:gd name="T66" fmla="*/ 145 w 330"/>
                <a:gd name="T67" fmla="*/ 295 h 321"/>
                <a:gd name="T68" fmla="*/ 141 w 330"/>
                <a:gd name="T69" fmla="*/ 308 h 321"/>
                <a:gd name="T70" fmla="*/ 126 w 330"/>
                <a:gd name="T71" fmla="*/ 318 h 321"/>
                <a:gd name="T72" fmla="*/ 102 w 330"/>
                <a:gd name="T73" fmla="*/ 289 h 321"/>
                <a:gd name="T74" fmla="*/ 86 w 330"/>
                <a:gd name="T75" fmla="*/ 259 h 321"/>
                <a:gd name="T76" fmla="*/ 73 w 330"/>
                <a:gd name="T77" fmla="*/ 232 h 321"/>
                <a:gd name="T78" fmla="*/ 63 w 330"/>
                <a:gd name="T79" fmla="*/ 197 h 321"/>
                <a:gd name="T80" fmla="*/ 56 w 330"/>
                <a:gd name="T81" fmla="*/ 171 h 321"/>
                <a:gd name="T82" fmla="*/ 53 w 330"/>
                <a:gd name="T83" fmla="*/ 153 h 321"/>
                <a:gd name="T84" fmla="*/ 53 w 330"/>
                <a:gd name="T85" fmla="*/ 144 h 321"/>
                <a:gd name="T86" fmla="*/ 42 w 330"/>
                <a:gd name="T87" fmla="*/ 162 h 321"/>
                <a:gd name="T88" fmla="*/ 8 w 330"/>
                <a:gd name="T89" fmla="*/ 145 h 321"/>
                <a:gd name="T90" fmla="*/ 18 w 330"/>
                <a:gd name="T91" fmla="*/ 145 h 321"/>
                <a:gd name="T92" fmla="*/ 20 w 330"/>
                <a:gd name="T93" fmla="*/ 140 h 321"/>
                <a:gd name="T94" fmla="*/ 0 w 330"/>
                <a:gd name="T95" fmla="*/ 129 h 321"/>
                <a:gd name="T96" fmla="*/ 26 w 330"/>
                <a:gd name="T97" fmla="*/ 117 h 321"/>
                <a:gd name="T98" fmla="*/ 24 w 330"/>
                <a:gd name="T99" fmla="*/ 102 h 321"/>
                <a:gd name="T100" fmla="*/ 8 w 330"/>
                <a:gd name="T101" fmla="*/ 85 h 321"/>
                <a:gd name="T102" fmla="*/ 29 w 330"/>
                <a:gd name="T103" fmla="*/ 73 h 321"/>
                <a:gd name="T104" fmla="*/ 56 w 330"/>
                <a:gd name="T105" fmla="*/ 41 h 321"/>
                <a:gd name="T106" fmla="*/ 67 w 330"/>
                <a:gd name="T107" fmla="*/ 15 h 321"/>
                <a:gd name="T108" fmla="*/ 98 w 330"/>
                <a:gd name="T109" fmla="*/ 4 h 321"/>
                <a:gd name="T110" fmla="*/ 239 w 330"/>
                <a:gd name="T111" fmla="*/ 152 h 321"/>
                <a:gd name="T112" fmla="*/ 237 w 330"/>
                <a:gd name="T113" fmla="*/ 15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0" h="321">
                  <a:moveTo>
                    <a:pt x="106" y="9"/>
                  </a:moveTo>
                  <a:lnTo>
                    <a:pt x="107" y="11"/>
                  </a:lnTo>
                  <a:lnTo>
                    <a:pt x="107" y="12"/>
                  </a:lnTo>
                  <a:lnTo>
                    <a:pt x="110" y="15"/>
                  </a:lnTo>
                  <a:lnTo>
                    <a:pt x="110" y="19"/>
                  </a:lnTo>
                  <a:lnTo>
                    <a:pt x="111" y="22"/>
                  </a:lnTo>
                  <a:lnTo>
                    <a:pt x="110" y="23"/>
                  </a:lnTo>
                  <a:lnTo>
                    <a:pt x="111" y="23"/>
                  </a:lnTo>
                  <a:lnTo>
                    <a:pt x="113" y="26"/>
                  </a:lnTo>
                  <a:lnTo>
                    <a:pt x="113" y="27"/>
                  </a:lnTo>
                  <a:lnTo>
                    <a:pt x="114" y="27"/>
                  </a:lnTo>
                  <a:lnTo>
                    <a:pt x="114" y="30"/>
                  </a:lnTo>
                  <a:lnTo>
                    <a:pt x="117" y="31"/>
                  </a:lnTo>
                  <a:lnTo>
                    <a:pt x="118" y="30"/>
                  </a:lnTo>
                  <a:lnTo>
                    <a:pt x="121" y="30"/>
                  </a:lnTo>
                  <a:lnTo>
                    <a:pt x="122" y="30"/>
                  </a:lnTo>
                  <a:lnTo>
                    <a:pt x="125" y="31"/>
                  </a:lnTo>
                  <a:lnTo>
                    <a:pt x="128" y="34"/>
                  </a:lnTo>
                  <a:lnTo>
                    <a:pt x="129" y="34"/>
                  </a:lnTo>
                  <a:lnTo>
                    <a:pt x="131" y="37"/>
                  </a:lnTo>
                  <a:lnTo>
                    <a:pt x="133" y="37"/>
                  </a:lnTo>
                  <a:lnTo>
                    <a:pt x="133" y="39"/>
                  </a:lnTo>
                  <a:lnTo>
                    <a:pt x="133" y="39"/>
                  </a:lnTo>
                  <a:lnTo>
                    <a:pt x="135" y="43"/>
                  </a:lnTo>
                  <a:lnTo>
                    <a:pt x="132" y="49"/>
                  </a:lnTo>
                  <a:lnTo>
                    <a:pt x="132" y="53"/>
                  </a:lnTo>
                  <a:lnTo>
                    <a:pt x="129" y="57"/>
                  </a:lnTo>
                  <a:lnTo>
                    <a:pt x="131" y="60"/>
                  </a:lnTo>
                  <a:lnTo>
                    <a:pt x="133" y="60"/>
                  </a:lnTo>
                  <a:lnTo>
                    <a:pt x="135" y="62"/>
                  </a:lnTo>
                  <a:lnTo>
                    <a:pt x="137" y="62"/>
                  </a:lnTo>
                  <a:lnTo>
                    <a:pt x="139" y="64"/>
                  </a:lnTo>
                  <a:lnTo>
                    <a:pt x="143" y="65"/>
                  </a:lnTo>
                  <a:lnTo>
                    <a:pt x="148" y="68"/>
                  </a:lnTo>
                  <a:lnTo>
                    <a:pt x="152" y="72"/>
                  </a:lnTo>
                  <a:lnTo>
                    <a:pt x="156" y="73"/>
                  </a:lnTo>
                  <a:lnTo>
                    <a:pt x="159" y="75"/>
                  </a:lnTo>
                  <a:lnTo>
                    <a:pt x="162" y="75"/>
                  </a:lnTo>
                  <a:lnTo>
                    <a:pt x="166" y="77"/>
                  </a:lnTo>
                  <a:lnTo>
                    <a:pt x="171" y="77"/>
                  </a:lnTo>
                  <a:lnTo>
                    <a:pt x="174" y="79"/>
                  </a:lnTo>
                  <a:lnTo>
                    <a:pt x="179" y="77"/>
                  </a:lnTo>
                  <a:lnTo>
                    <a:pt x="185" y="79"/>
                  </a:lnTo>
                  <a:lnTo>
                    <a:pt x="186" y="81"/>
                  </a:lnTo>
                  <a:lnTo>
                    <a:pt x="189" y="84"/>
                  </a:lnTo>
                  <a:lnTo>
                    <a:pt x="196" y="85"/>
                  </a:lnTo>
                  <a:lnTo>
                    <a:pt x="197" y="85"/>
                  </a:lnTo>
                  <a:lnTo>
                    <a:pt x="201" y="84"/>
                  </a:lnTo>
                  <a:lnTo>
                    <a:pt x="212" y="88"/>
                  </a:lnTo>
                  <a:lnTo>
                    <a:pt x="215" y="87"/>
                  </a:lnTo>
                  <a:lnTo>
                    <a:pt x="219" y="90"/>
                  </a:lnTo>
                  <a:lnTo>
                    <a:pt x="226" y="88"/>
                  </a:lnTo>
                  <a:lnTo>
                    <a:pt x="227" y="83"/>
                  </a:lnTo>
                  <a:lnTo>
                    <a:pt x="224" y="77"/>
                  </a:lnTo>
                  <a:lnTo>
                    <a:pt x="226" y="72"/>
                  </a:lnTo>
                  <a:lnTo>
                    <a:pt x="224" y="69"/>
                  </a:lnTo>
                  <a:lnTo>
                    <a:pt x="226" y="69"/>
                  </a:lnTo>
                  <a:lnTo>
                    <a:pt x="227" y="68"/>
                  </a:lnTo>
                  <a:lnTo>
                    <a:pt x="230" y="68"/>
                  </a:lnTo>
                  <a:lnTo>
                    <a:pt x="231" y="70"/>
                  </a:lnTo>
                  <a:lnTo>
                    <a:pt x="231" y="73"/>
                  </a:lnTo>
                  <a:lnTo>
                    <a:pt x="234" y="75"/>
                  </a:lnTo>
                  <a:lnTo>
                    <a:pt x="234" y="75"/>
                  </a:lnTo>
                  <a:lnTo>
                    <a:pt x="234" y="77"/>
                  </a:lnTo>
                  <a:lnTo>
                    <a:pt x="232" y="79"/>
                  </a:lnTo>
                  <a:lnTo>
                    <a:pt x="235" y="83"/>
                  </a:lnTo>
                  <a:lnTo>
                    <a:pt x="239" y="84"/>
                  </a:lnTo>
                  <a:lnTo>
                    <a:pt x="241" y="83"/>
                  </a:lnTo>
                  <a:lnTo>
                    <a:pt x="246" y="85"/>
                  </a:lnTo>
                  <a:lnTo>
                    <a:pt x="249" y="85"/>
                  </a:lnTo>
                  <a:lnTo>
                    <a:pt x="252" y="83"/>
                  </a:lnTo>
                  <a:lnTo>
                    <a:pt x="254" y="83"/>
                  </a:lnTo>
                  <a:lnTo>
                    <a:pt x="257" y="84"/>
                  </a:lnTo>
                  <a:lnTo>
                    <a:pt x="261" y="83"/>
                  </a:lnTo>
                  <a:lnTo>
                    <a:pt x="264" y="83"/>
                  </a:lnTo>
                  <a:lnTo>
                    <a:pt x="269" y="81"/>
                  </a:lnTo>
                  <a:lnTo>
                    <a:pt x="269" y="80"/>
                  </a:lnTo>
                  <a:lnTo>
                    <a:pt x="269" y="76"/>
                  </a:lnTo>
                  <a:lnTo>
                    <a:pt x="265" y="75"/>
                  </a:lnTo>
                  <a:lnTo>
                    <a:pt x="265" y="72"/>
                  </a:lnTo>
                  <a:lnTo>
                    <a:pt x="265" y="69"/>
                  </a:lnTo>
                  <a:lnTo>
                    <a:pt x="268" y="69"/>
                  </a:lnTo>
                  <a:lnTo>
                    <a:pt x="272" y="68"/>
                  </a:lnTo>
                  <a:lnTo>
                    <a:pt x="273" y="68"/>
                  </a:lnTo>
                  <a:lnTo>
                    <a:pt x="275" y="65"/>
                  </a:lnTo>
                  <a:lnTo>
                    <a:pt x="276" y="64"/>
                  </a:lnTo>
                  <a:lnTo>
                    <a:pt x="279" y="65"/>
                  </a:lnTo>
                  <a:lnTo>
                    <a:pt x="279" y="64"/>
                  </a:lnTo>
                  <a:lnTo>
                    <a:pt x="280" y="62"/>
                  </a:lnTo>
                  <a:lnTo>
                    <a:pt x="281" y="60"/>
                  </a:lnTo>
                  <a:lnTo>
                    <a:pt x="283" y="57"/>
                  </a:lnTo>
                  <a:lnTo>
                    <a:pt x="286" y="57"/>
                  </a:lnTo>
                  <a:lnTo>
                    <a:pt x="291" y="56"/>
                  </a:lnTo>
                  <a:lnTo>
                    <a:pt x="292" y="53"/>
                  </a:lnTo>
                  <a:lnTo>
                    <a:pt x="292" y="50"/>
                  </a:lnTo>
                  <a:lnTo>
                    <a:pt x="295" y="50"/>
                  </a:lnTo>
                  <a:lnTo>
                    <a:pt x="296" y="49"/>
                  </a:lnTo>
                  <a:lnTo>
                    <a:pt x="299" y="51"/>
                  </a:lnTo>
                  <a:lnTo>
                    <a:pt x="302" y="50"/>
                  </a:lnTo>
                  <a:lnTo>
                    <a:pt x="307" y="51"/>
                  </a:lnTo>
                  <a:lnTo>
                    <a:pt x="309" y="50"/>
                  </a:lnTo>
                  <a:lnTo>
                    <a:pt x="307" y="49"/>
                  </a:lnTo>
                  <a:lnTo>
                    <a:pt x="313" y="46"/>
                  </a:lnTo>
                  <a:lnTo>
                    <a:pt x="314" y="46"/>
                  </a:lnTo>
                  <a:lnTo>
                    <a:pt x="315" y="47"/>
                  </a:lnTo>
                  <a:lnTo>
                    <a:pt x="317" y="47"/>
                  </a:lnTo>
                  <a:lnTo>
                    <a:pt x="318" y="49"/>
                  </a:lnTo>
                  <a:lnTo>
                    <a:pt x="317" y="51"/>
                  </a:lnTo>
                  <a:lnTo>
                    <a:pt x="317" y="54"/>
                  </a:lnTo>
                  <a:lnTo>
                    <a:pt x="318" y="53"/>
                  </a:lnTo>
                  <a:lnTo>
                    <a:pt x="320" y="53"/>
                  </a:lnTo>
                  <a:lnTo>
                    <a:pt x="321" y="54"/>
                  </a:lnTo>
                  <a:lnTo>
                    <a:pt x="322" y="57"/>
                  </a:lnTo>
                  <a:lnTo>
                    <a:pt x="322" y="58"/>
                  </a:lnTo>
                  <a:lnTo>
                    <a:pt x="321" y="61"/>
                  </a:lnTo>
                  <a:lnTo>
                    <a:pt x="321" y="62"/>
                  </a:lnTo>
                  <a:lnTo>
                    <a:pt x="324" y="62"/>
                  </a:lnTo>
                  <a:lnTo>
                    <a:pt x="325" y="62"/>
                  </a:lnTo>
                  <a:lnTo>
                    <a:pt x="328" y="64"/>
                  </a:lnTo>
                  <a:lnTo>
                    <a:pt x="329" y="65"/>
                  </a:lnTo>
                  <a:lnTo>
                    <a:pt x="330" y="68"/>
                  </a:lnTo>
                  <a:lnTo>
                    <a:pt x="328" y="69"/>
                  </a:lnTo>
                  <a:lnTo>
                    <a:pt x="328" y="72"/>
                  </a:lnTo>
                  <a:lnTo>
                    <a:pt x="328" y="75"/>
                  </a:lnTo>
                  <a:lnTo>
                    <a:pt x="326" y="73"/>
                  </a:lnTo>
                  <a:lnTo>
                    <a:pt x="324" y="72"/>
                  </a:lnTo>
                  <a:lnTo>
                    <a:pt x="321" y="75"/>
                  </a:lnTo>
                  <a:lnTo>
                    <a:pt x="317" y="76"/>
                  </a:lnTo>
                  <a:lnTo>
                    <a:pt x="315" y="79"/>
                  </a:lnTo>
                  <a:lnTo>
                    <a:pt x="313" y="81"/>
                  </a:lnTo>
                  <a:lnTo>
                    <a:pt x="310" y="83"/>
                  </a:lnTo>
                  <a:lnTo>
                    <a:pt x="306" y="88"/>
                  </a:lnTo>
                  <a:lnTo>
                    <a:pt x="306" y="91"/>
                  </a:lnTo>
                  <a:lnTo>
                    <a:pt x="307" y="92"/>
                  </a:lnTo>
                  <a:lnTo>
                    <a:pt x="306" y="98"/>
                  </a:lnTo>
                  <a:lnTo>
                    <a:pt x="302" y="103"/>
                  </a:lnTo>
                  <a:lnTo>
                    <a:pt x="302" y="104"/>
                  </a:lnTo>
                  <a:lnTo>
                    <a:pt x="305" y="106"/>
                  </a:lnTo>
                  <a:lnTo>
                    <a:pt x="302" y="113"/>
                  </a:lnTo>
                  <a:lnTo>
                    <a:pt x="302" y="117"/>
                  </a:lnTo>
                  <a:lnTo>
                    <a:pt x="299" y="122"/>
                  </a:lnTo>
                  <a:lnTo>
                    <a:pt x="296" y="122"/>
                  </a:lnTo>
                  <a:lnTo>
                    <a:pt x="295" y="121"/>
                  </a:lnTo>
                  <a:lnTo>
                    <a:pt x="292" y="121"/>
                  </a:lnTo>
                  <a:lnTo>
                    <a:pt x="294" y="126"/>
                  </a:lnTo>
                  <a:lnTo>
                    <a:pt x="294" y="129"/>
                  </a:lnTo>
                  <a:lnTo>
                    <a:pt x="294" y="134"/>
                  </a:lnTo>
                  <a:lnTo>
                    <a:pt x="291" y="133"/>
                  </a:lnTo>
                  <a:lnTo>
                    <a:pt x="291" y="137"/>
                  </a:lnTo>
                  <a:lnTo>
                    <a:pt x="291" y="140"/>
                  </a:lnTo>
                  <a:lnTo>
                    <a:pt x="291" y="141"/>
                  </a:lnTo>
                  <a:lnTo>
                    <a:pt x="290" y="145"/>
                  </a:lnTo>
                  <a:lnTo>
                    <a:pt x="288" y="147"/>
                  </a:lnTo>
                  <a:lnTo>
                    <a:pt x="287" y="145"/>
                  </a:lnTo>
                  <a:lnTo>
                    <a:pt x="287" y="148"/>
                  </a:lnTo>
                  <a:lnTo>
                    <a:pt x="287" y="149"/>
                  </a:lnTo>
                  <a:lnTo>
                    <a:pt x="287" y="149"/>
                  </a:lnTo>
                  <a:lnTo>
                    <a:pt x="286" y="148"/>
                  </a:lnTo>
                  <a:lnTo>
                    <a:pt x="286" y="147"/>
                  </a:lnTo>
                  <a:lnTo>
                    <a:pt x="286" y="145"/>
                  </a:lnTo>
                  <a:lnTo>
                    <a:pt x="284" y="144"/>
                  </a:lnTo>
                  <a:lnTo>
                    <a:pt x="284" y="141"/>
                  </a:lnTo>
                  <a:lnTo>
                    <a:pt x="283" y="136"/>
                  </a:lnTo>
                  <a:lnTo>
                    <a:pt x="281" y="134"/>
                  </a:lnTo>
                  <a:lnTo>
                    <a:pt x="281" y="132"/>
                  </a:lnTo>
                  <a:lnTo>
                    <a:pt x="281" y="129"/>
                  </a:lnTo>
                  <a:lnTo>
                    <a:pt x="280" y="128"/>
                  </a:lnTo>
                  <a:lnTo>
                    <a:pt x="280" y="126"/>
                  </a:lnTo>
                  <a:lnTo>
                    <a:pt x="277" y="126"/>
                  </a:lnTo>
                  <a:lnTo>
                    <a:pt x="276" y="125"/>
                  </a:lnTo>
                  <a:lnTo>
                    <a:pt x="275" y="126"/>
                  </a:lnTo>
                  <a:lnTo>
                    <a:pt x="276" y="128"/>
                  </a:lnTo>
                  <a:lnTo>
                    <a:pt x="275" y="128"/>
                  </a:lnTo>
                  <a:lnTo>
                    <a:pt x="275" y="129"/>
                  </a:lnTo>
                  <a:lnTo>
                    <a:pt x="273" y="132"/>
                  </a:lnTo>
                  <a:lnTo>
                    <a:pt x="275" y="132"/>
                  </a:lnTo>
                  <a:lnTo>
                    <a:pt x="275" y="133"/>
                  </a:lnTo>
                  <a:lnTo>
                    <a:pt x="273" y="133"/>
                  </a:lnTo>
                  <a:lnTo>
                    <a:pt x="272" y="132"/>
                  </a:lnTo>
                  <a:lnTo>
                    <a:pt x="269" y="129"/>
                  </a:lnTo>
                  <a:lnTo>
                    <a:pt x="269" y="128"/>
                  </a:lnTo>
                  <a:lnTo>
                    <a:pt x="268" y="128"/>
                  </a:lnTo>
                  <a:lnTo>
                    <a:pt x="266" y="124"/>
                  </a:lnTo>
                  <a:lnTo>
                    <a:pt x="266" y="122"/>
                  </a:lnTo>
                  <a:lnTo>
                    <a:pt x="268" y="122"/>
                  </a:lnTo>
                  <a:lnTo>
                    <a:pt x="268" y="121"/>
                  </a:lnTo>
                  <a:lnTo>
                    <a:pt x="271" y="118"/>
                  </a:lnTo>
                  <a:lnTo>
                    <a:pt x="271" y="119"/>
                  </a:lnTo>
                  <a:lnTo>
                    <a:pt x="272" y="119"/>
                  </a:lnTo>
                  <a:lnTo>
                    <a:pt x="273" y="118"/>
                  </a:lnTo>
                  <a:lnTo>
                    <a:pt x="273" y="117"/>
                  </a:lnTo>
                  <a:lnTo>
                    <a:pt x="275" y="117"/>
                  </a:lnTo>
                  <a:lnTo>
                    <a:pt x="276" y="113"/>
                  </a:lnTo>
                  <a:lnTo>
                    <a:pt x="277" y="110"/>
                  </a:lnTo>
                  <a:lnTo>
                    <a:pt x="277" y="107"/>
                  </a:lnTo>
                  <a:lnTo>
                    <a:pt x="277" y="107"/>
                  </a:lnTo>
                  <a:lnTo>
                    <a:pt x="275" y="104"/>
                  </a:lnTo>
                  <a:lnTo>
                    <a:pt x="273" y="104"/>
                  </a:lnTo>
                  <a:lnTo>
                    <a:pt x="272" y="104"/>
                  </a:lnTo>
                  <a:lnTo>
                    <a:pt x="271" y="104"/>
                  </a:lnTo>
                  <a:lnTo>
                    <a:pt x="266" y="104"/>
                  </a:lnTo>
                  <a:lnTo>
                    <a:pt x="264" y="104"/>
                  </a:lnTo>
                  <a:lnTo>
                    <a:pt x="258" y="104"/>
                  </a:lnTo>
                  <a:lnTo>
                    <a:pt x="256" y="104"/>
                  </a:lnTo>
                  <a:lnTo>
                    <a:pt x="253" y="103"/>
                  </a:lnTo>
                  <a:lnTo>
                    <a:pt x="250" y="103"/>
                  </a:lnTo>
                  <a:lnTo>
                    <a:pt x="249" y="103"/>
                  </a:lnTo>
                  <a:lnTo>
                    <a:pt x="249" y="102"/>
                  </a:lnTo>
                  <a:lnTo>
                    <a:pt x="247" y="99"/>
                  </a:lnTo>
                  <a:lnTo>
                    <a:pt x="247" y="98"/>
                  </a:lnTo>
                  <a:lnTo>
                    <a:pt x="247" y="95"/>
                  </a:lnTo>
                  <a:lnTo>
                    <a:pt x="245" y="91"/>
                  </a:lnTo>
                  <a:lnTo>
                    <a:pt x="245" y="92"/>
                  </a:lnTo>
                  <a:lnTo>
                    <a:pt x="243" y="92"/>
                  </a:lnTo>
                  <a:lnTo>
                    <a:pt x="242" y="92"/>
                  </a:lnTo>
                  <a:lnTo>
                    <a:pt x="241" y="91"/>
                  </a:lnTo>
                  <a:lnTo>
                    <a:pt x="239" y="90"/>
                  </a:lnTo>
                  <a:lnTo>
                    <a:pt x="238" y="90"/>
                  </a:lnTo>
                  <a:lnTo>
                    <a:pt x="237" y="91"/>
                  </a:lnTo>
                  <a:lnTo>
                    <a:pt x="239" y="91"/>
                  </a:lnTo>
                  <a:lnTo>
                    <a:pt x="238" y="92"/>
                  </a:lnTo>
                  <a:lnTo>
                    <a:pt x="235" y="92"/>
                  </a:lnTo>
                  <a:lnTo>
                    <a:pt x="234" y="90"/>
                  </a:lnTo>
                  <a:lnTo>
                    <a:pt x="234" y="88"/>
                  </a:lnTo>
                  <a:lnTo>
                    <a:pt x="232" y="87"/>
                  </a:lnTo>
                  <a:lnTo>
                    <a:pt x="231" y="85"/>
                  </a:lnTo>
                  <a:lnTo>
                    <a:pt x="231" y="87"/>
                  </a:lnTo>
                  <a:lnTo>
                    <a:pt x="230" y="87"/>
                  </a:lnTo>
                  <a:lnTo>
                    <a:pt x="230" y="88"/>
                  </a:lnTo>
                  <a:lnTo>
                    <a:pt x="231" y="90"/>
                  </a:lnTo>
                  <a:lnTo>
                    <a:pt x="230" y="92"/>
                  </a:lnTo>
                  <a:lnTo>
                    <a:pt x="227" y="95"/>
                  </a:lnTo>
                  <a:lnTo>
                    <a:pt x="227" y="98"/>
                  </a:lnTo>
                  <a:lnTo>
                    <a:pt x="232" y="100"/>
                  </a:lnTo>
                  <a:lnTo>
                    <a:pt x="235" y="99"/>
                  </a:lnTo>
                  <a:lnTo>
                    <a:pt x="238" y="99"/>
                  </a:lnTo>
                  <a:lnTo>
                    <a:pt x="237" y="100"/>
                  </a:lnTo>
                  <a:lnTo>
                    <a:pt x="238" y="103"/>
                  </a:lnTo>
                  <a:lnTo>
                    <a:pt x="237" y="104"/>
                  </a:lnTo>
                  <a:lnTo>
                    <a:pt x="235" y="104"/>
                  </a:lnTo>
                  <a:lnTo>
                    <a:pt x="234" y="106"/>
                  </a:lnTo>
                  <a:lnTo>
                    <a:pt x="232" y="109"/>
                  </a:lnTo>
                  <a:lnTo>
                    <a:pt x="230" y="109"/>
                  </a:lnTo>
                  <a:lnTo>
                    <a:pt x="230" y="114"/>
                  </a:lnTo>
                  <a:lnTo>
                    <a:pt x="232" y="117"/>
                  </a:lnTo>
                  <a:lnTo>
                    <a:pt x="235" y="118"/>
                  </a:lnTo>
                  <a:lnTo>
                    <a:pt x="238" y="122"/>
                  </a:lnTo>
                  <a:lnTo>
                    <a:pt x="238" y="126"/>
                  </a:lnTo>
                  <a:lnTo>
                    <a:pt x="239" y="129"/>
                  </a:lnTo>
                  <a:lnTo>
                    <a:pt x="239" y="130"/>
                  </a:lnTo>
                  <a:lnTo>
                    <a:pt x="239" y="134"/>
                  </a:lnTo>
                  <a:lnTo>
                    <a:pt x="243" y="138"/>
                  </a:lnTo>
                  <a:lnTo>
                    <a:pt x="243" y="143"/>
                  </a:lnTo>
                  <a:lnTo>
                    <a:pt x="243" y="144"/>
                  </a:lnTo>
                  <a:lnTo>
                    <a:pt x="245" y="148"/>
                  </a:lnTo>
                  <a:lnTo>
                    <a:pt x="243" y="148"/>
                  </a:lnTo>
                  <a:lnTo>
                    <a:pt x="245" y="151"/>
                  </a:lnTo>
                  <a:lnTo>
                    <a:pt x="243" y="153"/>
                  </a:lnTo>
                  <a:lnTo>
                    <a:pt x="242" y="151"/>
                  </a:lnTo>
                  <a:lnTo>
                    <a:pt x="242" y="152"/>
                  </a:lnTo>
                  <a:lnTo>
                    <a:pt x="241" y="152"/>
                  </a:lnTo>
                  <a:lnTo>
                    <a:pt x="239" y="149"/>
                  </a:lnTo>
                  <a:lnTo>
                    <a:pt x="239" y="148"/>
                  </a:lnTo>
                  <a:lnTo>
                    <a:pt x="239" y="148"/>
                  </a:lnTo>
                  <a:lnTo>
                    <a:pt x="239" y="149"/>
                  </a:lnTo>
                  <a:lnTo>
                    <a:pt x="238" y="149"/>
                  </a:lnTo>
                  <a:lnTo>
                    <a:pt x="238" y="149"/>
                  </a:lnTo>
                  <a:lnTo>
                    <a:pt x="237" y="149"/>
                  </a:lnTo>
                  <a:lnTo>
                    <a:pt x="237" y="151"/>
                  </a:lnTo>
                  <a:lnTo>
                    <a:pt x="234" y="149"/>
                  </a:lnTo>
                  <a:lnTo>
                    <a:pt x="234" y="147"/>
                  </a:lnTo>
                  <a:lnTo>
                    <a:pt x="234" y="145"/>
                  </a:lnTo>
                  <a:lnTo>
                    <a:pt x="232" y="144"/>
                  </a:lnTo>
                  <a:lnTo>
                    <a:pt x="230" y="144"/>
                  </a:lnTo>
                  <a:lnTo>
                    <a:pt x="230" y="144"/>
                  </a:lnTo>
                  <a:lnTo>
                    <a:pt x="231" y="144"/>
                  </a:lnTo>
                  <a:lnTo>
                    <a:pt x="232" y="145"/>
                  </a:lnTo>
                  <a:lnTo>
                    <a:pt x="232" y="147"/>
                  </a:lnTo>
                  <a:lnTo>
                    <a:pt x="231" y="148"/>
                  </a:lnTo>
                  <a:lnTo>
                    <a:pt x="231" y="149"/>
                  </a:lnTo>
                  <a:lnTo>
                    <a:pt x="230" y="152"/>
                  </a:lnTo>
                  <a:lnTo>
                    <a:pt x="222" y="155"/>
                  </a:lnTo>
                  <a:lnTo>
                    <a:pt x="220" y="155"/>
                  </a:lnTo>
                  <a:lnTo>
                    <a:pt x="220" y="157"/>
                  </a:lnTo>
                  <a:lnTo>
                    <a:pt x="219" y="159"/>
                  </a:lnTo>
                  <a:lnTo>
                    <a:pt x="219" y="160"/>
                  </a:lnTo>
                  <a:lnTo>
                    <a:pt x="220" y="163"/>
                  </a:lnTo>
                  <a:lnTo>
                    <a:pt x="220" y="164"/>
                  </a:lnTo>
                  <a:lnTo>
                    <a:pt x="222" y="164"/>
                  </a:lnTo>
                  <a:lnTo>
                    <a:pt x="219" y="167"/>
                  </a:lnTo>
                  <a:lnTo>
                    <a:pt x="218" y="168"/>
                  </a:lnTo>
                  <a:lnTo>
                    <a:pt x="218" y="168"/>
                  </a:lnTo>
                  <a:lnTo>
                    <a:pt x="218" y="170"/>
                  </a:lnTo>
                  <a:lnTo>
                    <a:pt x="213" y="174"/>
                  </a:lnTo>
                  <a:lnTo>
                    <a:pt x="213" y="175"/>
                  </a:lnTo>
                  <a:lnTo>
                    <a:pt x="207" y="178"/>
                  </a:lnTo>
                  <a:lnTo>
                    <a:pt x="205" y="177"/>
                  </a:lnTo>
                  <a:lnTo>
                    <a:pt x="205" y="177"/>
                  </a:lnTo>
                  <a:lnTo>
                    <a:pt x="205" y="175"/>
                  </a:lnTo>
                  <a:lnTo>
                    <a:pt x="204" y="175"/>
                  </a:lnTo>
                  <a:lnTo>
                    <a:pt x="203" y="177"/>
                  </a:lnTo>
                  <a:lnTo>
                    <a:pt x="201" y="177"/>
                  </a:lnTo>
                  <a:lnTo>
                    <a:pt x="201" y="181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4" y="179"/>
                  </a:lnTo>
                  <a:lnTo>
                    <a:pt x="196" y="186"/>
                  </a:lnTo>
                  <a:lnTo>
                    <a:pt x="194" y="191"/>
                  </a:lnTo>
                  <a:lnTo>
                    <a:pt x="184" y="200"/>
                  </a:lnTo>
                  <a:lnTo>
                    <a:pt x="182" y="204"/>
                  </a:lnTo>
                  <a:lnTo>
                    <a:pt x="179" y="205"/>
                  </a:lnTo>
                  <a:lnTo>
                    <a:pt x="175" y="208"/>
                  </a:lnTo>
                  <a:lnTo>
                    <a:pt x="173" y="210"/>
                  </a:lnTo>
                  <a:lnTo>
                    <a:pt x="171" y="212"/>
                  </a:lnTo>
                  <a:lnTo>
                    <a:pt x="173" y="215"/>
                  </a:lnTo>
                  <a:lnTo>
                    <a:pt x="170" y="217"/>
                  </a:lnTo>
                  <a:lnTo>
                    <a:pt x="167" y="220"/>
                  </a:lnTo>
                  <a:lnTo>
                    <a:pt x="162" y="219"/>
                  </a:lnTo>
                  <a:lnTo>
                    <a:pt x="160" y="221"/>
                  </a:lnTo>
                  <a:lnTo>
                    <a:pt x="160" y="223"/>
                  </a:lnTo>
                  <a:lnTo>
                    <a:pt x="156" y="227"/>
                  </a:lnTo>
                  <a:lnTo>
                    <a:pt x="155" y="227"/>
                  </a:lnTo>
                  <a:lnTo>
                    <a:pt x="154" y="225"/>
                  </a:lnTo>
                  <a:lnTo>
                    <a:pt x="152" y="225"/>
                  </a:lnTo>
                  <a:lnTo>
                    <a:pt x="148" y="230"/>
                  </a:lnTo>
                  <a:lnTo>
                    <a:pt x="148" y="231"/>
                  </a:lnTo>
                  <a:lnTo>
                    <a:pt x="148" y="236"/>
                  </a:lnTo>
                  <a:lnTo>
                    <a:pt x="150" y="242"/>
                  </a:lnTo>
                  <a:lnTo>
                    <a:pt x="148" y="243"/>
                  </a:lnTo>
                  <a:lnTo>
                    <a:pt x="148" y="247"/>
                  </a:lnTo>
                  <a:lnTo>
                    <a:pt x="148" y="255"/>
                  </a:lnTo>
                  <a:lnTo>
                    <a:pt x="151" y="257"/>
                  </a:lnTo>
                  <a:lnTo>
                    <a:pt x="152" y="262"/>
                  </a:lnTo>
                  <a:lnTo>
                    <a:pt x="150" y="270"/>
                  </a:lnTo>
                  <a:lnTo>
                    <a:pt x="145" y="276"/>
                  </a:lnTo>
                  <a:lnTo>
                    <a:pt x="145" y="280"/>
                  </a:lnTo>
                  <a:lnTo>
                    <a:pt x="147" y="283"/>
                  </a:lnTo>
                  <a:lnTo>
                    <a:pt x="148" y="292"/>
                  </a:lnTo>
                  <a:lnTo>
                    <a:pt x="148" y="295"/>
                  </a:lnTo>
                  <a:lnTo>
                    <a:pt x="145" y="295"/>
                  </a:lnTo>
                  <a:lnTo>
                    <a:pt x="144" y="295"/>
                  </a:lnTo>
                  <a:lnTo>
                    <a:pt x="141" y="295"/>
                  </a:lnTo>
                  <a:lnTo>
                    <a:pt x="140" y="297"/>
                  </a:lnTo>
                  <a:lnTo>
                    <a:pt x="140" y="299"/>
                  </a:lnTo>
                  <a:lnTo>
                    <a:pt x="137" y="303"/>
                  </a:lnTo>
                  <a:lnTo>
                    <a:pt x="137" y="304"/>
                  </a:lnTo>
                  <a:lnTo>
                    <a:pt x="137" y="306"/>
                  </a:lnTo>
                  <a:lnTo>
                    <a:pt x="141" y="307"/>
                  </a:lnTo>
                  <a:lnTo>
                    <a:pt x="141" y="308"/>
                  </a:lnTo>
                  <a:lnTo>
                    <a:pt x="141" y="308"/>
                  </a:lnTo>
                  <a:lnTo>
                    <a:pt x="141" y="307"/>
                  </a:lnTo>
                  <a:lnTo>
                    <a:pt x="139" y="307"/>
                  </a:lnTo>
                  <a:lnTo>
                    <a:pt x="135" y="308"/>
                  </a:lnTo>
                  <a:lnTo>
                    <a:pt x="133" y="308"/>
                  </a:lnTo>
                  <a:lnTo>
                    <a:pt x="129" y="310"/>
                  </a:lnTo>
                  <a:lnTo>
                    <a:pt x="128" y="312"/>
                  </a:lnTo>
                  <a:lnTo>
                    <a:pt x="128" y="314"/>
                  </a:lnTo>
                  <a:lnTo>
                    <a:pt x="126" y="314"/>
                  </a:lnTo>
                  <a:lnTo>
                    <a:pt x="128" y="315"/>
                  </a:lnTo>
                  <a:lnTo>
                    <a:pt x="126" y="318"/>
                  </a:lnTo>
                  <a:lnTo>
                    <a:pt x="122" y="321"/>
                  </a:lnTo>
                  <a:lnTo>
                    <a:pt x="118" y="321"/>
                  </a:lnTo>
                  <a:lnTo>
                    <a:pt x="114" y="318"/>
                  </a:lnTo>
                  <a:lnTo>
                    <a:pt x="111" y="314"/>
                  </a:lnTo>
                  <a:lnTo>
                    <a:pt x="107" y="306"/>
                  </a:lnTo>
                  <a:lnTo>
                    <a:pt x="106" y="300"/>
                  </a:lnTo>
                  <a:lnTo>
                    <a:pt x="106" y="296"/>
                  </a:lnTo>
                  <a:lnTo>
                    <a:pt x="103" y="291"/>
                  </a:lnTo>
                  <a:lnTo>
                    <a:pt x="103" y="289"/>
                  </a:lnTo>
                  <a:lnTo>
                    <a:pt x="102" y="289"/>
                  </a:lnTo>
                  <a:lnTo>
                    <a:pt x="101" y="285"/>
                  </a:lnTo>
                  <a:lnTo>
                    <a:pt x="99" y="281"/>
                  </a:lnTo>
                  <a:lnTo>
                    <a:pt x="97" y="277"/>
                  </a:lnTo>
                  <a:lnTo>
                    <a:pt x="94" y="274"/>
                  </a:lnTo>
                  <a:lnTo>
                    <a:pt x="94" y="274"/>
                  </a:lnTo>
                  <a:lnTo>
                    <a:pt x="90" y="270"/>
                  </a:lnTo>
                  <a:lnTo>
                    <a:pt x="88" y="268"/>
                  </a:lnTo>
                  <a:lnTo>
                    <a:pt x="87" y="268"/>
                  </a:lnTo>
                  <a:lnTo>
                    <a:pt x="87" y="262"/>
                  </a:lnTo>
                  <a:lnTo>
                    <a:pt x="86" y="259"/>
                  </a:lnTo>
                  <a:lnTo>
                    <a:pt x="84" y="255"/>
                  </a:lnTo>
                  <a:lnTo>
                    <a:pt x="83" y="251"/>
                  </a:lnTo>
                  <a:lnTo>
                    <a:pt x="82" y="249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80" y="242"/>
                  </a:lnTo>
                  <a:lnTo>
                    <a:pt x="76" y="239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3" y="232"/>
                  </a:lnTo>
                  <a:lnTo>
                    <a:pt x="73" y="231"/>
                  </a:lnTo>
                  <a:lnTo>
                    <a:pt x="72" y="230"/>
                  </a:lnTo>
                  <a:lnTo>
                    <a:pt x="71" y="227"/>
                  </a:lnTo>
                  <a:lnTo>
                    <a:pt x="69" y="225"/>
                  </a:lnTo>
                  <a:lnTo>
                    <a:pt x="67" y="220"/>
                  </a:lnTo>
                  <a:lnTo>
                    <a:pt x="67" y="213"/>
                  </a:lnTo>
                  <a:lnTo>
                    <a:pt x="63" y="204"/>
                  </a:lnTo>
                  <a:lnTo>
                    <a:pt x="63" y="201"/>
                  </a:lnTo>
                  <a:lnTo>
                    <a:pt x="60" y="197"/>
                  </a:lnTo>
                  <a:lnTo>
                    <a:pt x="63" y="197"/>
                  </a:lnTo>
                  <a:lnTo>
                    <a:pt x="58" y="193"/>
                  </a:lnTo>
                  <a:lnTo>
                    <a:pt x="58" y="190"/>
                  </a:lnTo>
                  <a:lnTo>
                    <a:pt x="60" y="190"/>
                  </a:lnTo>
                  <a:lnTo>
                    <a:pt x="60" y="189"/>
                  </a:lnTo>
                  <a:lnTo>
                    <a:pt x="58" y="186"/>
                  </a:lnTo>
                  <a:lnTo>
                    <a:pt x="56" y="179"/>
                  </a:lnTo>
                  <a:lnTo>
                    <a:pt x="54" y="177"/>
                  </a:lnTo>
                  <a:lnTo>
                    <a:pt x="57" y="175"/>
                  </a:lnTo>
                  <a:lnTo>
                    <a:pt x="56" y="174"/>
                  </a:lnTo>
                  <a:lnTo>
                    <a:pt x="56" y="171"/>
                  </a:lnTo>
                  <a:lnTo>
                    <a:pt x="56" y="170"/>
                  </a:lnTo>
                  <a:lnTo>
                    <a:pt x="56" y="166"/>
                  </a:lnTo>
                  <a:lnTo>
                    <a:pt x="54" y="163"/>
                  </a:lnTo>
                  <a:lnTo>
                    <a:pt x="54" y="162"/>
                  </a:lnTo>
                  <a:lnTo>
                    <a:pt x="53" y="156"/>
                  </a:lnTo>
                  <a:lnTo>
                    <a:pt x="56" y="155"/>
                  </a:lnTo>
                  <a:lnTo>
                    <a:pt x="56" y="153"/>
                  </a:lnTo>
                  <a:lnTo>
                    <a:pt x="58" y="153"/>
                  </a:lnTo>
                  <a:lnTo>
                    <a:pt x="56" y="152"/>
                  </a:lnTo>
                  <a:lnTo>
                    <a:pt x="53" y="153"/>
                  </a:lnTo>
                  <a:lnTo>
                    <a:pt x="52" y="153"/>
                  </a:lnTo>
                  <a:lnTo>
                    <a:pt x="52" y="151"/>
                  </a:lnTo>
                  <a:lnTo>
                    <a:pt x="50" y="149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3" y="147"/>
                  </a:lnTo>
                  <a:lnTo>
                    <a:pt x="56" y="144"/>
                  </a:lnTo>
                  <a:lnTo>
                    <a:pt x="56" y="143"/>
                  </a:lnTo>
                  <a:lnTo>
                    <a:pt x="54" y="144"/>
                  </a:lnTo>
                  <a:lnTo>
                    <a:pt x="53" y="144"/>
                  </a:lnTo>
                  <a:lnTo>
                    <a:pt x="50" y="144"/>
                  </a:lnTo>
                  <a:lnTo>
                    <a:pt x="49" y="143"/>
                  </a:lnTo>
                  <a:lnTo>
                    <a:pt x="49" y="144"/>
                  </a:lnTo>
                  <a:lnTo>
                    <a:pt x="49" y="145"/>
                  </a:lnTo>
                  <a:lnTo>
                    <a:pt x="48" y="151"/>
                  </a:lnTo>
                  <a:lnTo>
                    <a:pt x="49" y="152"/>
                  </a:lnTo>
                  <a:lnTo>
                    <a:pt x="49" y="156"/>
                  </a:lnTo>
                  <a:lnTo>
                    <a:pt x="46" y="159"/>
                  </a:lnTo>
                  <a:lnTo>
                    <a:pt x="46" y="160"/>
                  </a:lnTo>
                  <a:lnTo>
                    <a:pt x="42" y="162"/>
                  </a:lnTo>
                  <a:lnTo>
                    <a:pt x="37" y="166"/>
                  </a:lnTo>
                  <a:lnTo>
                    <a:pt x="34" y="167"/>
                  </a:lnTo>
                  <a:lnTo>
                    <a:pt x="30" y="166"/>
                  </a:lnTo>
                  <a:lnTo>
                    <a:pt x="20" y="159"/>
                  </a:lnTo>
                  <a:lnTo>
                    <a:pt x="16" y="153"/>
                  </a:lnTo>
                  <a:lnTo>
                    <a:pt x="16" y="152"/>
                  </a:lnTo>
                  <a:lnTo>
                    <a:pt x="15" y="152"/>
                  </a:lnTo>
                  <a:lnTo>
                    <a:pt x="14" y="152"/>
                  </a:lnTo>
                  <a:lnTo>
                    <a:pt x="8" y="147"/>
                  </a:lnTo>
                  <a:lnTo>
                    <a:pt x="8" y="145"/>
                  </a:lnTo>
                  <a:lnTo>
                    <a:pt x="8" y="144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2" y="144"/>
                  </a:lnTo>
                  <a:lnTo>
                    <a:pt x="12" y="147"/>
                  </a:lnTo>
                  <a:lnTo>
                    <a:pt x="14" y="147"/>
                  </a:lnTo>
                  <a:lnTo>
                    <a:pt x="15" y="145"/>
                  </a:lnTo>
                  <a:lnTo>
                    <a:pt x="16" y="145"/>
                  </a:lnTo>
                  <a:lnTo>
                    <a:pt x="18" y="147"/>
                  </a:lnTo>
                  <a:lnTo>
                    <a:pt x="18" y="145"/>
                  </a:lnTo>
                  <a:lnTo>
                    <a:pt x="22" y="141"/>
                  </a:lnTo>
                  <a:lnTo>
                    <a:pt x="24" y="141"/>
                  </a:lnTo>
                  <a:lnTo>
                    <a:pt x="26" y="138"/>
                  </a:lnTo>
                  <a:lnTo>
                    <a:pt x="27" y="138"/>
                  </a:lnTo>
                  <a:lnTo>
                    <a:pt x="27" y="136"/>
                  </a:lnTo>
                  <a:lnTo>
                    <a:pt x="26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37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5" y="140"/>
                  </a:lnTo>
                  <a:lnTo>
                    <a:pt x="7" y="137"/>
                  </a:lnTo>
                  <a:lnTo>
                    <a:pt x="4" y="133"/>
                  </a:lnTo>
                  <a:lnTo>
                    <a:pt x="3" y="133"/>
                  </a:lnTo>
                  <a:lnTo>
                    <a:pt x="3" y="130"/>
                  </a:lnTo>
                  <a:lnTo>
                    <a:pt x="4" y="128"/>
                  </a:lnTo>
                  <a:lnTo>
                    <a:pt x="7" y="126"/>
                  </a:lnTo>
                  <a:lnTo>
                    <a:pt x="4" y="126"/>
                  </a:lnTo>
                  <a:lnTo>
                    <a:pt x="0" y="129"/>
                  </a:lnTo>
                  <a:lnTo>
                    <a:pt x="1" y="126"/>
                  </a:lnTo>
                  <a:lnTo>
                    <a:pt x="3" y="124"/>
                  </a:lnTo>
                  <a:lnTo>
                    <a:pt x="5" y="124"/>
                  </a:lnTo>
                  <a:lnTo>
                    <a:pt x="5" y="121"/>
                  </a:lnTo>
                  <a:lnTo>
                    <a:pt x="8" y="121"/>
                  </a:lnTo>
                  <a:lnTo>
                    <a:pt x="9" y="121"/>
                  </a:lnTo>
                  <a:lnTo>
                    <a:pt x="18" y="121"/>
                  </a:lnTo>
                  <a:lnTo>
                    <a:pt x="22" y="119"/>
                  </a:lnTo>
                  <a:lnTo>
                    <a:pt x="23" y="118"/>
                  </a:lnTo>
                  <a:lnTo>
                    <a:pt x="26" y="117"/>
                  </a:lnTo>
                  <a:lnTo>
                    <a:pt x="24" y="118"/>
                  </a:lnTo>
                  <a:lnTo>
                    <a:pt x="26" y="119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30" y="117"/>
                  </a:lnTo>
                  <a:lnTo>
                    <a:pt x="30" y="115"/>
                  </a:lnTo>
                  <a:lnTo>
                    <a:pt x="27" y="107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4" y="102"/>
                  </a:lnTo>
                  <a:lnTo>
                    <a:pt x="22" y="102"/>
                  </a:lnTo>
                  <a:lnTo>
                    <a:pt x="18" y="99"/>
                  </a:lnTo>
                  <a:lnTo>
                    <a:pt x="18" y="95"/>
                  </a:lnTo>
                  <a:lnTo>
                    <a:pt x="18" y="92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2" y="90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8" y="85"/>
                  </a:lnTo>
                  <a:lnTo>
                    <a:pt x="9" y="80"/>
                  </a:lnTo>
                  <a:lnTo>
                    <a:pt x="12" y="80"/>
                  </a:lnTo>
                  <a:lnTo>
                    <a:pt x="15" y="76"/>
                  </a:lnTo>
                  <a:lnTo>
                    <a:pt x="15" y="73"/>
                  </a:lnTo>
                  <a:lnTo>
                    <a:pt x="18" y="72"/>
                  </a:lnTo>
                  <a:lnTo>
                    <a:pt x="19" y="72"/>
                  </a:lnTo>
                  <a:lnTo>
                    <a:pt x="22" y="72"/>
                  </a:lnTo>
                  <a:lnTo>
                    <a:pt x="22" y="75"/>
                  </a:lnTo>
                  <a:lnTo>
                    <a:pt x="23" y="75"/>
                  </a:lnTo>
                  <a:lnTo>
                    <a:pt x="29" y="73"/>
                  </a:lnTo>
                  <a:lnTo>
                    <a:pt x="34" y="72"/>
                  </a:lnTo>
                  <a:lnTo>
                    <a:pt x="38" y="68"/>
                  </a:lnTo>
                  <a:lnTo>
                    <a:pt x="41" y="61"/>
                  </a:lnTo>
                  <a:lnTo>
                    <a:pt x="46" y="57"/>
                  </a:lnTo>
                  <a:lnTo>
                    <a:pt x="48" y="56"/>
                  </a:lnTo>
                  <a:lnTo>
                    <a:pt x="48" y="51"/>
                  </a:lnTo>
                  <a:lnTo>
                    <a:pt x="50" y="47"/>
                  </a:lnTo>
                  <a:lnTo>
                    <a:pt x="54" y="46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3" y="39"/>
                  </a:lnTo>
                  <a:lnTo>
                    <a:pt x="57" y="35"/>
                  </a:lnTo>
                  <a:lnTo>
                    <a:pt x="58" y="34"/>
                  </a:lnTo>
                  <a:lnTo>
                    <a:pt x="58" y="31"/>
                  </a:lnTo>
                  <a:lnTo>
                    <a:pt x="60" y="26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61" y="16"/>
                  </a:lnTo>
                  <a:lnTo>
                    <a:pt x="64" y="16"/>
                  </a:lnTo>
                  <a:lnTo>
                    <a:pt x="67" y="15"/>
                  </a:lnTo>
                  <a:lnTo>
                    <a:pt x="68" y="15"/>
                  </a:lnTo>
                  <a:lnTo>
                    <a:pt x="71" y="12"/>
                  </a:lnTo>
                  <a:lnTo>
                    <a:pt x="73" y="5"/>
                  </a:lnTo>
                  <a:lnTo>
                    <a:pt x="77" y="3"/>
                  </a:lnTo>
                  <a:lnTo>
                    <a:pt x="80" y="3"/>
                  </a:lnTo>
                  <a:lnTo>
                    <a:pt x="82" y="0"/>
                  </a:lnTo>
                  <a:lnTo>
                    <a:pt x="84" y="0"/>
                  </a:lnTo>
                  <a:lnTo>
                    <a:pt x="91" y="4"/>
                  </a:lnTo>
                  <a:lnTo>
                    <a:pt x="94" y="3"/>
                  </a:lnTo>
                  <a:lnTo>
                    <a:pt x="98" y="4"/>
                  </a:lnTo>
                  <a:lnTo>
                    <a:pt x="98" y="7"/>
                  </a:lnTo>
                  <a:lnTo>
                    <a:pt x="102" y="7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close/>
                  <a:moveTo>
                    <a:pt x="239" y="152"/>
                  </a:moveTo>
                  <a:lnTo>
                    <a:pt x="239" y="153"/>
                  </a:lnTo>
                  <a:lnTo>
                    <a:pt x="239" y="153"/>
                  </a:lnTo>
                  <a:lnTo>
                    <a:pt x="239" y="152"/>
                  </a:lnTo>
                  <a:lnTo>
                    <a:pt x="239" y="152"/>
                  </a:lnTo>
                  <a:close/>
                  <a:moveTo>
                    <a:pt x="238" y="151"/>
                  </a:moveTo>
                  <a:lnTo>
                    <a:pt x="237" y="152"/>
                  </a:lnTo>
                  <a:lnTo>
                    <a:pt x="237" y="153"/>
                  </a:lnTo>
                  <a:lnTo>
                    <a:pt x="238" y="153"/>
                  </a:lnTo>
                  <a:lnTo>
                    <a:pt x="238" y="152"/>
                  </a:lnTo>
                  <a:lnTo>
                    <a:pt x="238" y="151"/>
                  </a:lnTo>
                  <a:lnTo>
                    <a:pt x="238" y="151"/>
                  </a:lnTo>
                  <a:close/>
                  <a:moveTo>
                    <a:pt x="235" y="151"/>
                  </a:moveTo>
                  <a:lnTo>
                    <a:pt x="235" y="153"/>
                  </a:lnTo>
                  <a:lnTo>
                    <a:pt x="237" y="155"/>
                  </a:lnTo>
                  <a:lnTo>
                    <a:pt x="235" y="152"/>
                  </a:lnTo>
                  <a:lnTo>
                    <a:pt x="235" y="151"/>
                  </a:lnTo>
                  <a:lnTo>
                    <a:pt x="235" y="151"/>
                  </a:lnTo>
                  <a:close/>
                  <a:moveTo>
                    <a:pt x="231" y="152"/>
                  </a:moveTo>
                  <a:lnTo>
                    <a:pt x="231" y="153"/>
                  </a:lnTo>
                  <a:lnTo>
                    <a:pt x="232" y="152"/>
                  </a:lnTo>
                  <a:lnTo>
                    <a:pt x="234" y="149"/>
                  </a:lnTo>
                  <a:lnTo>
                    <a:pt x="232" y="149"/>
                  </a:lnTo>
                  <a:lnTo>
                    <a:pt x="231" y="152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6" name="Freeform 26"/>
            <p:cNvSpPr>
              <a:spLocks noEditPoints="1"/>
            </p:cNvSpPr>
            <p:nvPr/>
          </p:nvSpPr>
          <p:spPr bwMode="auto">
            <a:xfrm>
              <a:off x="2987" y="1670"/>
              <a:ext cx="60" cy="78"/>
            </a:xfrm>
            <a:custGeom>
              <a:avLst/>
              <a:gdLst>
                <a:gd name="T0" fmla="*/ 59 w 60"/>
                <a:gd name="T1" fmla="*/ 70 h 78"/>
                <a:gd name="T2" fmla="*/ 54 w 60"/>
                <a:gd name="T3" fmla="*/ 74 h 78"/>
                <a:gd name="T4" fmla="*/ 56 w 60"/>
                <a:gd name="T5" fmla="*/ 78 h 78"/>
                <a:gd name="T6" fmla="*/ 52 w 60"/>
                <a:gd name="T7" fmla="*/ 71 h 78"/>
                <a:gd name="T8" fmla="*/ 52 w 60"/>
                <a:gd name="T9" fmla="*/ 67 h 78"/>
                <a:gd name="T10" fmla="*/ 49 w 60"/>
                <a:gd name="T11" fmla="*/ 68 h 78"/>
                <a:gd name="T12" fmla="*/ 49 w 60"/>
                <a:gd name="T13" fmla="*/ 62 h 78"/>
                <a:gd name="T14" fmla="*/ 45 w 60"/>
                <a:gd name="T15" fmla="*/ 51 h 78"/>
                <a:gd name="T16" fmla="*/ 42 w 60"/>
                <a:gd name="T17" fmla="*/ 51 h 78"/>
                <a:gd name="T18" fmla="*/ 35 w 60"/>
                <a:gd name="T19" fmla="*/ 49 h 78"/>
                <a:gd name="T20" fmla="*/ 31 w 60"/>
                <a:gd name="T21" fmla="*/ 44 h 78"/>
                <a:gd name="T22" fmla="*/ 33 w 60"/>
                <a:gd name="T23" fmla="*/ 52 h 78"/>
                <a:gd name="T24" fmla="*/ 34 w 60"/>
                <a:gd name="T25" fmla="*/ 56 h 78"/>
                <a:gd name="T26" fmla="*/ 30 w 60"/>
                <a:gd name="T27" fmla="*/ 64 h 78"/>
                <a:gd name="T28" fmla="*/ 30 w 60"/>
                <a:gd name="T29" fmla="*/ 60 h 78"/>
                <a:gd name="T30" fmla="*/ 27 w 60"/>
                <a:gd name="T31" fmla="*/ 63 h 78"/>
                <a:gd name="T32" fmla="*/ 27 w 60"/>
                <a:gd name="T33" fmla="*/ 55 h 78"/>
                <a:gd name="T34" fmla="*/ 26 w 60"/>
                <a:gd name="T35" fmla="*/ 58 h 78"/>
                <a:gd name="T36" fmla="*/ 26 w 60"/>
                <a:gd name="T37" fmla="*/ 62 h 78"/>
                <a:gd name="T38" fmla="*/ 25 w 60"/>
                <a:gd name="T39" fmla="*/ 64 h 78"/>
                <a:gd name="T40" fmla="*/ 22 w 60"/>
                <a:gd name="T41" fmla="*/ 66 h 78"/>
                <a:gd name="T42" fmla="*/ 18 w 60"/>
                <a:gd name="T43" fmla="*/ 63 h 78"/>
                <a:gd name="T44" fmla="*/ 16 w 60"/>
                <a:gd name="T45" fmla="*/ 58 h 78"/>
                <a:gd name="T46" fmla="*/ 12 w 60"/>
                <a:gd name="T47" fmla="*/ 45 h 78"/>
                <a:gd name="T48" fmla="*/ 11 w 60"/>
                <a:gd name="T49" fmla="*/ 37 h 78"/>
                <a:gd name="T50" fmla="*/ 3 w 60"/>
                <a:gd name="T51" fmla="*/ 29 h 78"/>
                <a:gd name="T52" fmla="*/ 7 w 60"/>
                <a:gd name="T53" fmla="*/ 21 h 78"/>
                <a:gd name="T54" fmla="*/ 11 w 60"/>
                <a:gd name="T55" fmla="*/ 18 h 78"/>
                <a:gd name="T56" fmla="*/ 8 w 60"/>
                <a:gd name="T57" fmla="*/ 14 h 78"/>
                <a:gd name="T58" fmla="*/ 0 w 60"/>
                <a:gd name="T59" fmla="*/ 10 h 78"/>
                <a:gd name="T60" fmla="*/ 3 w 60"/>
                <a:gd name="T61" fmla="*/ 3 h 78"/>
                <a:gd name="T62" fmla="*/ 4 w 60"/>
                <a:gd name="T63" fmla="*/ 0 h 78"/>
                <a:gd name="T64" fmla="*/ 7 w 60"/>
                <a:gd name="T65" fmla="*/ 5 h 78"/>
                <a:gd name="T66" fmla="*/ 12 w 60"/>
                <a:gd name="T67" fmla="*/ 6 h 78"/>
                <a:gd name="T68" fmla="*/ 12 w 60"/>
                <a:gd name="T69" fmla="*/ 5 h 78"/>
                <a:gd name="T70" fmla="*/ 16 w 60"/>
                <a:gd name="T71" fmla="*/ 7 h 78"/>
                <a:gd name="T72" fmla="*/ 20 w 60"/>
                <a:gd name="T73" fmla="*/ 10 h 78"/>
                <a:gd name="T74" fmla="*/ 22 w 60"/>
                <a:gd name="T75" fmla="*/ 17 h 78"/>
                <a:gd name="T76" fmla="*/ 26 w 60"/>
                <a:gd name="T77" fmla="*/ 18 h 78"/>
                <a:gd name="T78" fmla="*/ 37 w 60"/>
                <a:gd name="T79" fmla="*/ 19 h 78"/>
                <a:gd name="T80" fmla="*/ 45 w 60"/>
                <a:gd name="T81" fmla="*/ 19 h 78"/>
                <a:gd name="T82" fmla="*/ 50 w 60"/>
                <a:gd name="T83" fmla="*/ 22 h 78"/>
                <a:gd name="T84" fmla="*/ 49 w 60"/>
                <a:gd name="T85" fmla="*/ 28 h 78"/>
                <a:gd name="T86" fmla="*/ 46 w 60"/>
                <a:gd name="T87" fmla="*/ 33 h 78"/>
                <a:gd name="T88" fmla="*/ 44 w 60"/>
                <a:gd name="T89" fmla="*/ 33 h 78"/>
                <a:gd name="T90" fmla="*/ 39 w 60"/>
                <a:gd name="T91" fmla="*/ 37 h 78"/>
                <a:gd name="T92" fmla="*/ 42 w 60"/>
                <a:gd name="T93" fmla="*/ 43 h 78"/>
                <a:gd name="T94" fmla="*/ 46 w 60"/>
                <a:gd name="T95" fmla="*/ 48 h 78"/>
                <a:gd name="T96" fmla="*/ 46 w 60"/>
                <a:gd name="T97" fmla="*/ 47 h 78"/>
                <a:gd name="T98" fmla="*/ 49 w 60"/>
                <a:gd name="T99" fmla="*/ 43 h 78"/>
                <a:gd name="T100" fmla="*/ 50 w 60"/>
                <a:gd name="T101" fmla="*/ 41 h 78"/>
                <a:gd name="T102" fmla="*/ 54 w 60"/>
                <a:gd name="T103" fmla="*/ 44 h 78"/>
                <a:gd name="T104" fmla="*/ 56 w 60"/>
                <a:gd name="T105" fmla="*/ 51 h 78"/>
                <a:gd name="T106" fmla="*/ 59 w 60"/>
                <a:gd name="T107" fmla="*/ 60 h 78"/>
                <a:gd name="T108" fmla="*/ 60 w 60"/>
                <a:gd name="T109" fmla="*/ 64 h 78"/>
                <a:gd name="T110" fmla="*/ 44 w 60"/>
                <a:gd name="T111" fmla="*/ 55 h 78"/>
                <a:gd name="T112" fmla="*/ 42 w 60"/>
                <a:gd name="T113" fmla="*/ 58 h 78"/>
                <a:gd name="T114" fmla="*/ 44 w 60"/>
                <a:gd name="T115" fmla="*/ 55 h 78"/>
                <a:gd name="T116" fmla="*/ 39 w 60"/>
                <a:gd name="T117" fmla="*/ 59 h 78"/>
                <a:gd name="T118" fmla="*/ 41 w 60"/>
                <a:gd name="T119" fmla="*/ 55 h 78"/>
                <a:gd name="T120" fmla="*/ 38 w 60"/>
                <a:gd name="T121" fmla="*/ 55 h 78"/>
                <a:gd name="T122" fmla="*/ 34 w 60"/>
                <a:gd name="T123" fmla="*/ 53 h 78"/>
                <a:gd name="T124" fmla="*/ 37 w 60"/>
                <a:gd name="T125" fmla="*/ 5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" h="78">
                  <a:moveTo>
                    <a:pt x="60" y="64"/>
                  </a:moveTo>
                  <a:lnTo>
                    <a:pt x="60" y="67"/>
                  </a:lnTo>
                  <a:lnTo>
                    <a:pt x="59" y="70"/>
                  </a:lnTo>
                  <a:lnTo>
                    <a:pt x="57" y="70"/>
                  </a:lnTo>
                  <a:lnTo>
                    <a:pt x="56" y="72"/>
                  </a:lnTo>
                  <a:lnTo>
                    <a:pt x="54" y="74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3" y="74"/>
                  </a:lnTo>
                  <a:lnTo>
                    <a:pt x="52" y="71"/>
                  </a:lnTo>
                  <a:lnTo>
                    <a:pt x="50" y="70"/>
                  </a:lnTo>
                  <a:lnTo>
                    <a:pt x="52" y="68"/>
                  </a:lnTo>
                  <a:lnTo>
                    <a:pt x="52" y="67"/>
                  </a:lnTo>
                  <a:lnTo>
                    <a:pt x="50" y="67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9" y="62"/>
                  </a:lnTo>
                  <a:lnTo>
                    <a:pt x="49" y="60"/>
                  </a:lnTo>
                  <a:lnTo>
                    <a:pt x="48" y="59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2"/>
                  </a:lnTo>
                  <a:lnTo>
                    <a:pt x="42" y="51"/>
                  </a:lnTo>
                  <a:lnTo>
                    <a:pt x="41" y="52"/>
                  </a:lnTo>
                  <a:lnTo>
                    <a:pt x="37" y="51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3" y="48"/>
                  </a:lnTo>
                  <a:lnTo>
                    <a:pt x="31" y="44"/>
                  </a:lnTo>
                  <a:lnTo>
                    <a:pt x="31" y="48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0" y="53"/>
                  </a:lnTo>
                  <a:lnTo>
                    <a:pt x="33" y="53"/>
                  </a:lnTo>
                  <a:lnTo>
                    <a:pt x="34" y="56"/>
                  </a:lnTo>
                  <a:lnTo>
                    <a:pt x="34" y="59"/>
                  </a:lnTo>
                  <a:lnTo>
                    <a:pt x="31" y="60"/>
                  </a:lnTo>
                  <a:lnTo>
                    <a:pt x="30" y="64"/>
                  </a:lnTo>
                  <a:lnTo>
                    <a:pt x="27" y="63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29" y="60"/>
                  </a:lnTo>
                  <a:lnTo>
                    <a:pt x="27" y="63"/>
                  </a:lnTo>
                  <a:lnTo>
                    <a:pt x="26" y="60"/>
                  </a:lnTo>
                  <a:lnTo>
                    <a:pt x="27" y="56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6"/>
                  </a:lnTo>
                  <a:lnTo>
                    <a:pt x="26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6" y="62"/>
                  </a:lnTo>
                  <a:lnTo>
                    <a:pt x="26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3" y="63"/>
                  </a:lnTo>
                  <a:lnTo>
                    <a:pt x="22" y="64"/>
                  </a:lnTo>
                  <a:lnTo>
                    <a:pt x="22" y="66"/>
                  </a:lnTo>
                  <a:lnTo>
                    <a:pt x="20" y="66"/>
                  </a:lnTo>
                  <a:lnTo>
                    <a:pt x="19" y="64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3"/>
                  </a:lnTo>
                  <a:lnTo>
                    <a:pt x="12" y="49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1" y="41"/>
                  </a:lnTo>
                  <a:lnTo>
                    <a:pt x="11" y="37"/>
                  </a:lnTo>
                  <a:lnTo>
                    <a:pt x="8" y="33"/>
                  </a:lnTo>
                  <a:lnTo>
                    <a:pt x="5" y="32"/>
                  </a:lnTo>
                  <a:lnTo>
                    <a:pt x="3" y="29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7" y="21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1" y="18"/>
                  </a:lnTo>
                  <a:lnTo>
                    <a:pt x="10" y="15"/>
                  </a:lnTo>
                  <a:lnTo>
                    <a:pt x="11" y="14"/>
                  </a:lnTo>
                  <a:lnTo>
                    <a:pt x="8" y="14"/>
                  </a:lnTo>
                  <a:lnTo>
                    <a:pt x="5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7"/>
                  </a:lnTo>
                  <a:lnTo>
                    <a:pt x="4" y="5"/>
                  </a:lnTo>
                  <a:lnTo>
                    <a:pt x="3" y="3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5" y="2"/>
                  </a:lnTo>
                  <a:lnTo>
                    <a:pt x="7" y="3"/>
                  </a:lnTo>
                  <a:lnTo>
                    <a:pt x="7" y="5"/>
                  </a:lnTo>
                  <a:lnTo>
                    <a:pt x="8" y="7"/>
                  </a:lnTo>
                  <a:lnTo>
                    <a:pt x="11" y="7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4" y="6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20" y="10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6" y="18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5"/>
                  </a:lnTo>
                  <a:lnTo>
                    <a:pt x="49" y="28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1" y="36"/>
                  </a:lnTo>
                  <a:lnTo>
                    <a:pt x="41" y="37"/>
                  </a:lnTo>
                  <a:lnTo>
                    <a:pt x="39" y="37"/>
                  </a:lnTo>
                  <a:lnTo>
                    <a:pt x="39" y="39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2" y="44"/>
                  </a:lnTo>
                  <a:lnTo>
                    <a:pt x="45" y="47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8" y="47"/>
                  </a:lnTo>
                  <a:lnTo>
                    <a:pt x="46" y="47"/>
                  </a:lnTo>
                  <a:lnTo>
                    <a:pt x="48" y="44"/>
                  </a:lnTo>
                  <a:lnTo>
                    <a:pt x="48" y="43"/>
                  </a:lnTo>
                  <a:lnTo>
                    <a:pt x="49" y="43"/>
                  </a:lnTo>
                  <a:lnTo>
                    <a:pt x="48" y="41"/>
                  </a:lnTo>
                  <a:lnTo>
                    <a:pt x="49" y="40"/>
                  </a:lnTo>
                  <a:lnTo>
                    <a:pt x="50" y="41"/>
                  </a:lnTo>
                  <a:lnTo>
                    <a:pt x="53" y="41"/>
                  </a:lnTo>
                  <a:lnTo>
                    <a:pt x="53" y="43"/>
                  </a:lnTo>
                  <a:lnTo>
                    <a:pt x="54" y="44"/>
                  </a:lnTo>
                  <a:lnTo>
                    <a:pt x="54" y="47"/>
                  </a:lnTo>
                  <a:lnTo>
                    <a:pt x="54" y="49"/>
                  </a:lnTo>
                  <a:lnTo>
                    <a:pt x="56" y="51"/>
                  </a:lnTo>
                  <a:lnTo>
                    <a:pt x="57" y="56"/>
                  </a:lnTo>
                  <a:lnTo>
                    <a:pt x="57" y="59"/>
                  </a:lnTo>
                  <a:lnTo>
                    <a:pt x="59" y="60"/>
                  </a:lnTo>
                  <a:lnTo>
                    <a:pt x="59" y="62"/>
                  </a:lnTo>
                  <a:lnTo>
                    <a:pt x="59" y="63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close/>
                  <a:moveTo>
                    <a:pt x="44" y="55"/>
                  </a:moveTo>
                  <a:lnTo>
                    <a:pt x="44" y="53"/>
                  </a:lnTo>
                  <a:lnTo>
                    <a:pt x="42" y="55"/>
                  </a:lnTo>
                  <a:lnTo>
                    <a:pt x="42" y="58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44" y="55"/>
                  </a:lnTo>
                  <a:close/>
                  <a:moveTo>
                    <a:pt x="38" y="55"/>
                  </a:moveTo>
                  <a:lnTo>
                    <a:pt x="39" y="56"/>
                  </a:lnTo>
                  <a:lnTo>
                    <a:pt x="39" y="59"/>
                  </a:lnTo>
                  <a:lnTo>
                    <a:pt x="39" y="60"/>
                  </a:lnTo>
                  <a:lnTo>
                    <a:pt x="42" y="58"/>
                  </a:lnTo>
                  <a:lnTo>
                    <a:pt x="41" y="55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5"/>
                  </a:lnTo>
                  <a:lnTo>
                    <a:pt x="38" y="55"/>
                  </a:lnTo>
                  <a:close/>
                  <a:moveTo>
                    <a:pt x="35" y="52"/>
                  </a:moveTo>
                  <a:lnTo>
                    <a:pt x="34" y="53"/>
                  </a:lnTo>
                  <a:lnTo>
                    <a:pt x="34" y="55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7" y="55"/>
                  </a:lnTo>
                  <a:lnTo>
                    <a:pt x="35" y="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7" name="Freeform 27"/>
            <p:cNvSpPr>
              <a:spLocks/>
            </p:cNvSpPr>
            <p:nvPr/>
          </p:nvSpPr>
          <p:spPr bwMode="auto">
            <a:xfrm>
              <a:off x="2992" y="1650"/>
              <a:ext cx="37" cy="20"/>
            </a:xfrm>
            <a:custGeom>
              <a:avLst/>
              <a:gdLst>
                <a:gd name="T0" fmla="*/ 2 w 37"/>
                <a:gd name="T1" fmla="*/ 10 h 20"/>
                <a:gd name="T2" fmla="*/ 5 w 37"/>
                <a:gd name="T3" fmla="*/ 8 h 20"/>
                <a:gd name="T4" fmla="*/ 7 w 37"/>
                <a:gd name="T5" fmla="*/ 3 h 20"/>
                <a:gd name="T6" fmla="*/ 13 w 37"/>
                <a:gd name="T7" fmla="*/ 0 h 20"/>
                <a:gd name="T8" fmla="*/ 17 w 37"/>
                <a:gd name="T9" fmla="*/ 0 h 20"/>
                <a:gd name="T10" fmla="*/ 17 w 37"/>
                <a:gd name="T11" fmla="*/ 1 h 20"/>
                <a:gd name="T12" fmla="*/ 24 w 37"/>
                <a:gd name="T13" fmla="*/ 1 h 20"/>
                <a:gd name="T14" fmla="*/ 25 w 37"/>
                <a:gd name="T15" fmla="*/ 3 h 20"/>
                <a:gd name="T16" fmla="*/ 28 w 37"/>
                <a:gd name="T17" fmla="*/ 1 h 20"/>
                <a:gd name="T18" fmla="*/ 32 w 37"/>
                <a:gd name="T19" fmla="*/ 1 h 20"/>
                <a:gd name="T20" fmla="*/ 33 w 37"/>
                <a:gd name="T21" fmla="*/ 4 h 20"/>
                <a:gd name="T22" fmla="*/ 33 w 37"/>
                <a:gd name="T23" fmla="*/ 4 h 20"/>
                <a:gd name="T24" fmla="*/ 33 w 37"/>
                <a:gd name="T25" fmla="*/ 7 h 20"/>
                <a:gd name="T26" fmla="*/ 33 w 37"/>
                <a:gd name="T27" fmla="*/ 10 h 20"/>
                <a:gd name="T28" fmla="*/ 37 w 37"/>
                <a:gd name="T29" fmla="*/ 11 h 20"/>
                <a:gd name="T30" fmla="*/ 37 w 37"/>
                <a:gd name="T31" fmla="*/ 15 h 20"/>
                <a:gd name="T32" fmla="*/ 37 w 37"/>
                <a:gd name="T33" fmla="*/ 16 h 20"/>
                <a:gd name="T34" fmla="*/ 32 w 37"/>
                <a:gd name="T35" fmla="*/ 18 h 20"/>
                <a:gd name="T36" fmla="*/ 29 w 37"/>
                <a:gd name="T37" fmla="*/ 18 h 20"/>
                <a:gd name="T38" fmla="*/ 25 w 37"/>
                <a:gd name="T39" fmla="*/ 19 h 20"/>
                <a:gd name="T40" fmla="*/ 22 w 37"/>
                <a:gd name="T41" fmla="*/ 18 h 20"/>
                <a:gd name="T42" fmla="*/ 20 w 37"/>
                <a:gd name="T43" fmla="*/ 18 h 20"/>
                <a:gd name="T44" fmla="*/ 17 w 37"/>
                <a:gd name="T45" fmla="*/ 20 h 20"/>
                <a:gd name="T46" fmla="*/ 14 w 37"/>
                <a:gd name="T47" fmla="*/ 20 h 20"/>
                <a:gd name="T48" fmla="*/ 9 w 37"/>
                <a:gd name="T49" fmla="*/ 18 h 20"/>
                <a:gd name="T50" fmla="*/ 7 w 37"/>
                <a:gd name="T51" fmla="*/ 19 h 20"/>
                <a:gd name="T52" fmla="*/ 3 w 37"/>
                <a:gd name="T53" fmla="*/ 18 h 20"/>
                <a:gd name="T54" fmla="*/ 0 w 37"/>
                <a:gd name="T55" fmla="*/ 14 h 20"/>
                <a:gd name="T56" fmla="*/ 2 w 37"/>
                <a:gd name="T57" fmla="*/ 12 h 20"/>
                <a:gd name="T58" fmla="*/ 2 w 37"/>
                <a:gd name="T5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7" h="20">
                  <a:moveTo>
                    <a:pt x="2" y="10"/>
                  </a:moveTo>
                  <a:lnTo>
                    <a:pt x="5" y="8"/>
                  </a:lnTo>
                  <a:lnTo>
                    <a:pt x="7" y="3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24" y="1"/>
                  </a:lnTo>
                  <a:lnTo>
                    <a:pt x="25" y="3"/>
                  </a:lnTo>
                  <a:lnTo>
                    <a:pt x="28" y="1"/>
                  </a:lnTo>
                  <a:lnTo>
                    <a:pt x="32" y="1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7"/>
                  </a:lnTo>
                  <a:lnTo>
                    <a:pt x="33" y="10"/>
                  </a:lnTo>
                  <a:lnTo>
                    <a:pt x="37" y="11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5" y="19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17" y="20"/>
                  </a:lnTo>
                  <a:lnTo>
                    <a:pt x="14" y="20"/>
                  </a:lnTo>
                  <a:lnTo>
                    <a:pt x="9" y="18"/>
                  </a:lnTo>
                  <a:lnTo>
                    <a:pt x="7" y="19"/>
                  </a:lnTo>
                  <a:lnTo>
                    <a:pt x="3" y="18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8" name="Freeform 28"/>
            <p:cNvSpPr>
              <a:spLocks/>
            </p:cNvSpPr>
            <p:nvPr/>
          </p:nvSpPr>
          <p:spPr bwMode="auto">
            <a:xfrm>
              <a:off x="2889" y="1623"/>
              <a:ext cx="98" cy="52"/>
            </a:xfrm>
            <a:custGeom>
              <a:avLst/>
              <a:gdLst>
                <a:gd name="T0" fmla="*/ 6 w 98"/>
                <a:gd name="T1" fmla="*/ 0 h 52"/>
                <a:gd name="T2" fmla="*/ 10 w 98"/>
                <a:gd name="T3" fmla="*/ 3 h 52"/>
                <a:gd name="T4" fmla="*/ 12 w 98"/>
                <a:gd name="T5" fmla="*/ 4 h 52"/>
                <a:gd name="T6" fmla="*/ 18 w 98"/>
                <a:gd name="T7" fmla="*/ 1 h 52"/>
                <a:gd name="T8" fmla="*/ 23 w 98"/>
                <a:gd name="T9" fmla="*/ 4 h 52"/>
                <a:gd name="T10" fmla="*/ 27 w 98"/>
                <a:gd name="T11" fmla="*/ 5 h 52"/>
                <a:gd name="T12" fmla="*/ 34 w 98"/>
                <a:gd name="T13" fmla="*/ 9 h 52"/>
                <a:gd name="T14" fmla="*/ 37 w 98"/>
                <a:gd name="T15" fmla="*/ 12 h 52"/>
                <a:gd name="T16" fmla="*/ 40 w 98"/>
                <a:gd name="T17" fmla="*/ 16 h 52"/>
                <a:gd name="T18" fmla="*/ 41 w 98"/>
                <a:gd name="T19" fmla="*/ 13 h 52"/>
                <a:gd name="T20" fmla="*/ 44 w 98"/>
                <a:gd name="T21" fmla="*/ 12 h 52"/>
                <a:gd name="T22" fmla="*/ 49 w 98"/>
                <a:gd name="T23" fmla="*/ 15 h 52"/>
                <a:gd name="T24" fmla="*/ 52 w 98"/>
                <a:gd name="T25" fmla="*/ 20 h 52"/>
                <a:gd name="T26" fmla="*/ 59 w 98"/>
                <a:gd name="T27" fmla="*/ 19 h 52"/>
                <a:gd name="T28" fmla="*/ 59 w 98"/>
                <a:gd name="T29" fmla="*/ 27 h 52"/>
                <a:gd name="T30" fmla="*/ 64 w 98"/>
                <a:gd name="T31" fmla="*/ 28 h 52"/>
                <a:gd name="T32" fmla="*/ 68 w 98"/>
                <a:gd name="T33" fmla="*/ 26 h 52"/>
                <a:gd name="T34" fmla="*/ 75 w 98"/>
                <a:gd name="T35" fmla="*/ 24 h 52"/>
                <a:gd name="T36" fmla="*/ 79 w 98"/>
                <a:gd name="T37" fmla="*/ 28 h 52"/>
                <a:gd name="T38" fmla="*/ 84 w 98"/>
                <a:gd name="T39" fmla="*/ 32 h 52"/>
                <a:gd name="T40" fmla="*/ 90 w 98"/>
                <a:gd name="T41" fmla="*/ 32 h 52"/>
                <a:gd name="T42" fmla="*/ 94 w 98"/>
                <a:gd name="T43" fmla="*/ 31 h 52"/>
                <a:gd name="T44" fmla="*/ 97 w 98"/>
                <a:gd name="T45" fmla="*/ 34 h 52"/>
                <a:gd name="T46" fmla="*/ 98 w 98"/>
                <a:gd name="T47" fmla="*/ 45 h 52"/>
                <a:gd name="T48" fmla="*/ 90 w 98"/>
                <a:gd name="T49" fmla="*/ 52 h 52"/>
                <a:gd name="T50" fmla="*/ 83 w 98"/>
                <a:gd name="T51" fmla="*/ 50 h 52"/>
                <a:gd name="T52" fmla="*/ 68 w 98"/>
                <a:gd name="T53" fmla="*/ 47 h 52"/>
                <a:gd name="T54" fmla="*/ 60 w 98"/>
                <a:gd name="T55" fmla="*/ 46 h 52"/>
                <a:gd name="T56" fmla="*/ 56 w 98"/>
                <a:gd name="T57" fmla="*/ 41 h 52"/>
                <a:gd name="T58" fmla="*/ 45 w 98"/>
                <a:gd name="T59" fmla="*/ 41 h 52"/>
                <a:gd name="T60" fmla="*/ 37 w 98"/>
                <a:gd name="T61" fmla="*/ 39 h 52"/>
                <a:gd name="T62" fmla="*/ 30 w 98"/>
                <a:gd name="T63" fmla="*/ 37 h 52"/>
                <a:gd name="T64" fmla="*/ 23 w 98"/>
                <a:gd name="T65" fmla="*/ 34 h 52"/>
                <a:gd name="T66" fmla="*/ 14 w 98"/>
                <a:gd name="T67" fmla="*/ 27 h 52"/>
                <a:gd name="T68" fmla="*/ 8 w 98"/>
                <a:gd name="T69" fmla="*/ 24 h 52"/>
                <a:gd name="T70" fmla="*/ 4 w 98"/>
                <a:gd name="T71" fmla="*/ 22 h 52"/>
                <a:gd name="T72" fmla="*/ 0 w 98"/>
                <a:gd name="T73" fmla="*/ 19 h 52"/>
                <a:gd name="T74" fmla="*/ 3 w 98"/>
                <a:gd name="T75" fmla="*/ 11 h 52"/>
                <a:gd name="T76" fmla="*/ 4 w 98"/>
                <a:gd name="T77" fmla="*/ 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8" h="52">
                  <a:moveTo>
                    <a:pt x="4" y="1"/>
                  </a:moveTo>
                  <a:lnTo>
                    <a:pt x="6" y="0"/>
                  </a:lnTo>
                  <a:lnTo>
                    <a:pt x="8" y="1"/>
                  </a:lnTo>
                  <a:lnTo>
                    <a:pt x="10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5" y="1"/>
                  </a:lnTo>
                  <a:lnTo>
                    <a:pt x="18" y="1"/>
                  </a:lnTo>
                  <a:lnTo>
                    <a:pt x="22" y="3"/>
                  </a:lnTo>
                  <a:lnTo>
                    <a:pt x="23" y="4"/>
                  </a:lnTo>
                  <a:lnTo>
                    <a:pt x="26" y="4"/>
                  </a:lnTo>
                  <a:lnTo>
                    <a:pt x="27" y="5"/>
                  </a:lnTo>
                  <a:lnTo>
                    <a:pt x="31" y="9"/>
                  </a:lnTo>
                  <a:lnTo>
                    <a:pt x="34" y="9"/>
                  </a:lnTo>
                  <a:lnTo>
                    <a:pt x="36" y="11"/>
                  </a:lnTo>
                  <a:lnTo>
                    <a:pt x="37" y="12"/>
                  </a:lnTo>
                  <a:lnTo>
                    <a:pt x="40" y="15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3"/>
                  </a:lnTo>
                  <a:lnTo>
                    <a:pt x="42" y="12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9" y="15"/>
                  </a:lnTo>
                  <a:lnTo>
                    <a:pt x="49" y="18"/>
                  </a:lnTo>
                  <a:lnTo>
                    <a:pt x="52" y="20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57" y="24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4" y="28"/>
                  </a:lnTo>
                  <a:lnTo>
                    <a:pt x="65" y="27"/>
                  </a:lnTo>
                  <a:lnTo>
                    <a:pt x="68" y="26"/>
                  </a:lnTo>
                  <a:lnTo>
                    <a:pt x="71" y="23"/>
                  </a:lnTo>
                  <a:lnTo>
                    <a:pt x="75" y="24"/>
                  </a:lnTo>
                  <a:lnTo>
                    <a:pt x="78" y="26"/>
                  </a:lnTo>
                  <a:lnTo>
                    <a:pt x="79" y="28"/>
                  </a:lnTo>
                  <a:lnTo>
                    <a:pt x="82" y="30"/>
                  </a:lnTo>
                  <a:lnTo>
                    <a:pt x="84" y="32"/>
                  </a:lnTo>
                  <a:lnTo>
                    <a:pt x="86" y="34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4" y="31"/>
                  </a:lnTo>
                  <a:lnTo>
                    <a:pt x="95" y="31"/>
                  </a:lnTo>
                  <a:lnTo>
                    <a:pt x="97" y="34"/>
                  </a:lnTo>
                  <a:lnTo>
                    <a:pt x="95" y="39"/>
                  </a:lnTo>
                  <a:lnTo>
                    <a:pt x="98" y="45"/>
                  </a:lnTo>
                  <a:lnTo>
                    <a:pt x="97" y="50"/>
                  </a:lnTo>
                  <a:lnTo>
                    <a:pt x="90" y="52"/>
                  </a:lnTo>
                  <a:lnTo>
                    <a:pt x="86" y="49"/>
                  </a:lnTo>
                  <a:lnTo>
                    <a:pt x="83" y="50"/>
                  </a:lnTo>
                  <a:lnTo>
                    <a:pt x="72" y="46"/>
                  </a:lnTo>
                  <a:lnTo>
                    <a:pt x="68" y="47"/>
                  </a:lnTo>
                  <a:lnTo>
                    <a:pt x="67" y="47"/>
                  </a:lnTo>
                  <a:lnTo>
                    <a:pt x="60" y="46"/>
                  </a:lnTo>
                  <a:lnTo>
                    <a:pt x="57" y="43"/>
                  </a:lnTo>
                  <a:lnTo>
                    <a:pt x="56" y="41"/>
                  </a:lnTo>
                  <a:lnTo>
                    <a:pt x="50" y="39"/>
                  </a:lnTo>
                  <a:lnTo>
                    <a:pt x="45" y="41"/>
                  </a:lnTo>
                  <a:lnTo>
                    <a:pt x="42" y="39"/>
                  </a:lnTo>
                  <a:lnTo>
                    <a:pt x="37" y="39"/>
                  </a:lnTo>
                  <a:lnTo>
                    <a:pt x="33" y="37"/>
                  </a:lnTo>
                  <a:lnTo>
                    <a:pt x="30" y="37"/>
                  </a:lnTo>
                  <a:lnTo>
                    <a:pt x="27" y="35"/>
                  </a:lnTo>
                  <a:lnTo>
                    <a:pt x="23" y="34"/>
                  </a:lnTo>
                  <a:lnTo>
                    <a:pt x="19" y="30"/>
                  </a:lnTo>
                  <a:lnTo>
                    <a:pt x="14" y="27"/>
                  </a:lnTo>
                  <a:lnTo>
                    <a:pt x="10" y="26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19"/>
                  </a:lnTo>
                  <a:lnTo>
                    <a:pt x="3" y="15"/>
                  </a:lnTo>
                  <a:lnTo>
                    <a:pt x="3" y="11"/>
                  </a:lnTo>
                  <a:lnTo>
                    <a:pt x="6" y="5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29" name="Freeform 29"/>
            <p:cNvSpPr>
              <a:spLocks/>
            </p:cNvSpPr>
            <p:nvPr/>
          </p:nvSpPr>
          <p:spPr bwMode="auto">
            <a:xfrm>
              <a:off x="2666" y="1540"/>
              <a:ext cx="163" cy="179"/>
            </a:xfrm>
            <a:custGeom>
              <a:avLst/>
              <a:gdLst>
                <a:gd name="T0" fmla="*/ 99 w 163"/>
                <a:gd name="T1" fmla="*/ 173 h 179"/>
                <a:gd name="T2" fmla="*/ 112 w 163"/>
                <a:gd name="T3" fmla="*/ 170 h 179"/>
                <a:gd name="T4" fmla="*/ 118 w 163"/>
                <a:gd name="T5" fmla="*/ 167 h 179"/>
                <a:gd name="T6" fmla="*/ 124 w 163"/>
                <a:gd name="T7" fmla="*/ 166 h 179"/>
                <a:gd name="T8" fmla="*/ 120 w 163"/>
                <a:gd name="T9" fmla="*/ 152 h 179"/>
                <a:gd name="T10" fmla="*/ 112 w 163"/>
                <a:gd name="T11" fmla="*/ 144 h 179"/>
                <a:gd name="T12" fmla="*/ 106 w 163"/>
                <a:gd name="T13" fmla="*/ 139 h 179"/>
                <a:gd name="T14" fmla="*/ 103 w 163"/>
                <a:gd name="T15" fmla="*/ 129 h 179"/>
                <a:gd name="T16" fmla="*/ 112 w 163"/>
                <a:gd name="T17" fmla="*/ 121 h 179"/>
                <a:gd name="T18" fmla="*/ 117 w 163"/>
                <a:gd name="T19" fmla="*/ 124 h 179"/>
                <a:gd name="T20" fmla="*/ 135 w 163"/>
                <a:gd name="T21" fmla="*/ 110 h 179"/>
                <a:gd name="T22" fmla="*/ 144 w 163"/>
                <a:gd name="T23" fmla="*/ 96 h 179"/>
                <a:gd name="T24" fmla="*/ 147 w 163"/>
                <a:gd name="T25" fmla="*/ 88 h 179"/>
                <a:gd name="T26" fmla="*/ 154 w 163"/>
                <a:gd name="T27" fmla="*/ 75 h 179"/>
                <a:gd name="T28" fmla="*/ 158 w 163"/>
                <a:gd name="T29" fmla="*/ 65 h 179"/>
                <a:gd name="T30" fmla="*/ 163 w 163"/>
                <a:gd name="T31" fmla="*/ 58 h 179"/>
                <a:gd name="T32" fmla="*/ 152 w 163"/>
                <a:gd name="T33" fmla="*/ 56 h 179"/>
                <a:gd name="T34" fmla="*/ 139 w 163"/>
                <a:gd name="T35" fmla="*/ 45 h 179"/>
                <a:gd name="T36" fmla="*/ 137 w 163"/>
                <a:gd name="T37" fmla="*/ 30 h 179"/>
                <a:gd name="T38" fmla="*/ 137 w 163"/>
                <a:gd name="T39" fmla="*/ 22 h 179"/>
                <a:gd name="T40" fmla="*/ 128 w 163"/>
                <a:gd name="T41" fmla="*/ 11 h 179"/>
                <a:gd name="T42" fmla="*/ 121 w 163"/>
                <a:gd name="T43" fmla="*/ 7 h 179"/>
                <a:gd name="T44" fmla="*/ 121 w 163"/>
                <a:gd name="T45" fmla="*/ 0 h 179"/>
                <a:gd name="T46" fmla="*/ 109 w 163"/>
                <a:gd name="T47" fmla="*/ 7 h 179"/>
                <a:gd name="T48" fmla="*/ 106 w 163"/>
                <a:gd name="T49" fmla="*/ 30 h 179"/>
                <a:gd name="T50" fmla="*/ 102 w 163"/>
                <a:gd name="T51" fmla="*/ 39 h 179"/>
                <a:gd name="T52" fmla="*/ 98 w 163"/>
                <a:gd name="T53" fmla="*/ 45 h 179"/>
                <a:gd name="T54" fmla="*/ 94 w 163"/>
                <a:gd name="T55" fmla="*/ 52 h 179"/>
                <a:gd name="T56" fmla="*/ 91 w 163"/>
                <a:gd name="T57" fmla="*/ 61 h 179"/>
                <a:gd name="T58" fmla="*/ 87 w 163"/>
                <a:gd name="T59" fmla="*/ 68 h 179"/>
                <a:gd name="T60" fmla="*/ 82 w 163"/>
                <a:gd name="T61" fmla="*/ 69 h 179"/>
                <a:gd name="T62" fmla="*/ 75 w 163"/>
                <a:gd name="T63" fmla="*/ 75 h 179"/>
                <a:gd name="T64" fmla="*/ 65 w 163"/>
                <a:gd name="T65" fmla="*/ 77 h 179"/>
                <a:gd name="T66" fmla="*/ 60 w 163"/>
                <a:gd name="T67" fmla="*/ 84 h 179"/>
                <a:gd name="T68" fmla="*/ 63 w 163"/>
                <a:gd name="T69" fmla="*/ 96 h 179"/>
                <a:gd name="T70" fmla="*/ 49 w 163"/>
                <a:gd name="T71" fmla="*/ 100 h 179"/>
                <a:gd name="T72" fmla="*/ 34 w 163"/>
                <a:gd name="T73" fmla="*/ 103 h 179"/>
                <a:gd name="T74" fmla="*/ 0 w 163"/>
                <a:gd name="T75" fmla="*/ 100 h 179"/>
                <a:gd name="T76" fmla="*/ 14 w 163"/>
                <a:gd name="T77" fmla="*/ 115 h 179"/>
                <a:gd name="T78" fmla="*/ 21 w 163"/>
                <a:gd name="T79" fmla="*/ 119 h 179"/>
                <a:gd name="T80" fmla="*/ 26 w 163"/>
                <a:gd name="T81" fmla="*/ 129 h 179"/>
                <a:gd name="T82" fmla="*/ 33 w 163"/>
                <a:gd name="T83" fmla="*/ 139 h 179"/>
                <a:gd name="T84" fmla="*/ 21 w 163"/>
                <a:gd name="T85" fmla="*/ 141 h 179"/>
                <a:gd name="T86" fmla="*/ 15 w 163"/>
                <a:gd name="T87" fmla="*/ 149 h 179"/>
                <a:gd name="T88" fmla="*/ 16 w 163"/>
                <a:gd name="T89" fmla="*/ 159 h 179"/>
                <a:gd name="T90" fmla="*/ 23 w 163"/>
                <a:gd name="T91" fmla="*/ 158 h 179"/>
                <a:gd name="T92" fmla="*/ 29 w 163"/>
                <a:gd name="T93" fmla="*/ 158 h 179"/>
                <a:gd name="T94" fmla="*/ 35 w 163"/>
                <a:gd name="T95" fmla="*/ 158 h 179"/>
                <a:gd name="T96" fmla="*/ 40 w 163"/>
                <a:gd name="T97" fmla="*/ 156 h 179"/>
                <a:gd name="T98" fmla="*/ 44 w 163"/>
                <a:gd name="T99" fmla="*/ 158 h 179"/>
                <a:gd name="T100" fmla="*/ 53 w 163"/>
                <a:gd name="T101" fmla="*/ 156 h 179"/>
                <a:gd name="T102" fmla="*/ 60 w 163"/>
                <a:gd name="T103" fmla="*/ 155 h 179"/>
                <a:gd name="T104" fmla="*/ 69 w 163"/>
                <a:gd name="T105" fmla="*/ 155 h 179"/>
                <a:gd name="T106" fmla="*/ 74 w 163"/>
                <a:gd name="T107" fmla="*/ 162 h 179"/>
                <a:gd name="T108" fmla="*/ 78 w 163"/>
                <a:gd name="T109" fmla="*/ 160 h 179"/>
                <a:gd name="T110" fmla="*/ 82 w 163"/>
                <a:gd name="T111" fmla="*/ 171 h 179"/>
                <a:gd name="T112" fmla="*/ 83 w 163"/>
                <a:gd name="T113" fmla="*/ 174 h 179"/>
                <a:gd name="T114" fmla="*/ 93 w 163"/>
                <a:gd name="T115" fmla="*/ 17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3" h="179">
                  <a:moveTo>
                    <a:pt x="94" y="178"/>
                  </a:moveTo>
                  <a:lnTo>
                    <a:pt x="95" y="175"/>
                  </a:lnTo>
                  <a:lnTo>
                    <a:pt x="97" y="173"/>
                  </a:lnTo>
                  <a:lnTo>
                    <a:pt x="99" y="173"/>
                  </a:lnTo>
                  <a:lnTo>
                    <a:pt x="99" y="170"/>
                  </a:lnTo>
                  <a:lnTo>
                    <a:pt x="102" y="170"/>
                  </a:lnTo>
                  <a:lnTo>
                    <a:pt x="103" y="170"/>
                  </a:lnTo>
                  <a:lnTo>
                    <a:pt x="112" y="170"/>
                  </a:lnTo>
                  <a:lnTo>
                    <a:pt x="116" y="168"/>
                  </a:lnTo>
                  <a:lnTo>
                    <a:pt x="117" y="167"/>
                  </a:lnTo>
                  <a:lnTo>
                    <a:pt x="120" y="166"/>
                  </a:lnTo>
                  <a:lnTo>
                    <a:pt x="118" y="167"/>
                  </a:lnTo>
                  <a:lnTo>
                    <a:pt x="120" y="168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4" y="166"/>
                  </a:lnTo>
                  <a:lnTo>
                    <a:pt x="124" y="164"/>
                  </a:lnTo>
                  <a:lnTo>
                    <a:pt x="121" y="156"/>
                  </a:lnTo>
                  <a:lnTo>
                    <a:pt x="120" y="153"/>
                  </a:lnTo>
                  <a:lnTo>
                    <a:pt x="120" y="152"/>
                  </a:lnTo>
                  <a:lnTo>
                    <a:pt x="118" y="151"/>
                  </a:lnTo>
                  <a:lnTo>
                    <a:pt x="116" y="151"/>
                  </a:lnTo>
                  <a:lnTo>
                    <a:pt x="112" y="148"/>
                  </a:lnTo>
                  <a:lnTo>
                    <a:pt x="112" y="144"/>
                  </a:lnTo>
                  <a:lnTo>
                    <a:pt x="112" y="141"/>
                  </a:lnTo>
                  <a:lnTo>
                    <a:pt x="110" y="137"/>
                  </a:lnTo>
                  <a:lnTo>
                    <a:pt x="108" y="137"/>
                  </a:lnTo>
                  <a:lnTo>
                    <a:pt x="106" y="139"/>
                  </a:lnTo>
                  <a:lnTo>
                    <a:pt x="103" y="137"/>
                  </a:lnTo>
                  <a:lnTo>
                    <a:pt x="102" y="137"/>
                  </a:lnTo>
                  <a:lnTo>
                    <a:pt x="102" y="134"/>
                  </a:lnTo>
                  <a:lnTo>
                    <a:pt x="103" y="129"/>
                  </a:lnTo>
                  <a:lnTo>
                    <a:pt x="106" y="129"/>
                  </a:lnTo>
                  <a:lnTo>
                    <a:pt x="109" y="125"/>
                  </a:lnTo>
                  <a:lnTo>
                    <a:pt x="109" y="122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6" y="121"/>
                  </a:lnTo>
                  <a:lnTo>
                    <a:pt x="116" y="124"/>
                  </a:lnTo>
                  <a:lnTo>
                    <a:pt x="117" y="124"/>
                  </a:lnTo>
                  <a:lnTo>
                    <a:pt x="123" y="122"/>
                  </a:lnTo>
                  <a:lnTo>
                    <a:pt x="128" y="121"/>
                  </a:lnTo>
                  <a:lnTo>
                    <a:pt x="132" y="117"/>
                  </a:lnTo>
                  <a:lnTo>
                    <a:pt x="135" y="110"/>
                  </a:lnTo>
                  <a:lnTo>
                    <a:pt x="140" y="106"/>
                  </a:lnTo>
                  <a:lnTo>
                    <a:pt x="142" y="105"/>
                  </a:lnTo>
                  <a:lnTo>
                    <a:pt x="142" y="100"/>
                  </a:lnTo>
                  <a:lnTo>
                    <a:pt x="144" y="96"/>
                  </a:lnTo>
                  <a:lnTo>
                    <a:pt x="148" y="95"/>
                  </a:lnTo>
                  <a:lnTo>
                    <a:pt x="150" y="92"/>
                  </a:lnTo>
                  <a:lnTo>
                    <a:pt x="150" y="90"/>
                  </a:lnTo>
                  <a:lnTo>
                    <a:pt x="147" y="88"/>
                  </a:lnTo>
                  <a:lnTo>
                    <a:pt x="151" y="84"/>
                  </a:lnTo>
                  <a:lnTo>
                    <a:pt x="152" y="83"/>
                  </a:lnTo>
                  <a:lnTo>
                    <a:pt x="152" y="80"/>
                  </a:lnTo>
                  <a:lnTo>
                    <a:pt x="154" y="75"/>
                  </a:lnTo>
                  <a:lnTo>
                    <a:pt x="152" y="71"/>
                  </a:lnTo>
                  <a:lnTo>
                    <a:pt x="152" y="69"/>
                  </a:lnTo>
                  <a:lnTo>
                    <a:pt x="155" y="65"/>
                  </a:lnTo>
                  <a:lnTo>
                    <a:pt x="158" y="65"/>
                  </a:lnTo>
                  <a:lnTo>
                    <a:pt x="161" y="64"/>
                  </a:lnTo>
                  <a:lnTo>
                    <a:pt x="162" y="64"/>
                  </a:lnTo>
                  <a:lnTo>
                    <a:pt x="163" y="61"/>
                  </a:lnTo>
                  <a:lnTo>
                    <a:pt x="163" y="58"/>
                  </a:lnTo>
                  <a:lnTo>
                    <a:pt x="161" y="58"/>
                  </a:lnTo>
                  <a:lnTo>
                    <a:pt x="158" y="60"/>
                  </a:lnTo>
                  <a:lnTo>
                    <a:pt x="154" y="58"/>
                  </a:lnTo>
                  <a:lnTo>
                    <a:pt x="152" y="56"/>
                  </a:lnTo>
                  <a:lnTo>
                    <a:pt x="148" y="54"/>
                  </a:lnTo>
                  <a:lnTo>
                    <a:pt x="144" y="53"/>
                  </a:lnTo>
                  <a:lnTo>
                    <a:pt x="140" y="49"/>
                  </a:lnTo>
                  <a:lnTo>
                    <a:pt x="139" y="45"/>
                  </a:lnTo>
                  <a:lnTo>
                    <a:pt x="137" y="38"/>
                  </a:lnTo>
                  <a:lnTo>
                    <a:pt x="135" y="34"/>
                  </a:lnTo>
                  <a:lnTo>
                    <a:pt x="135" y="30"/>
                  </a:lnTo>
                  <a:lnTo>
                    <a:pt x="137" y="30"/>
                  </a:lnTo>
                  <a:lnTo>
                    <a:pt x="137" y="27"/>
                  </a:lnTo>
                  <a:lnTo>
                    <a:pt x="140" y="24"/>
                  </a:lnTo>
                  <a:lnTo>
                    <a:pt x="140" y="22"/>
                  </a:lnTo>
                  <a:lnTo>
                    <a:pt x="137" y="22"/>
                  </a:lnTo>
                  <a:lnTo>
                    <a:pt x="136" y="19"/>
                  </a:lnTo>
                  <a:lnTo>
                    <a:pt x="133" y="16"/>
                  </a:lnTo>
                  <a:lnTo>
                    <a:pt x="131" y="13"/>
                  </a:lnTo>
                  <a:lnTo>
                    <a:pt x="128" y="11"/>
                  </a:lnTo>
                  <a:lnTo>
                    <a:pt x="125" y="12"/>
                  </a:lnTo>
                  <a:lnTo>
                    <a:pt x="124" y="12"/>
                  </a:lnTo>
                  <a:lnTo>
                    <a:pt x="123" y="11"/>
                  </a:lnTo>
                  <a:lnTo>
                    <a:pt x="121" y="7"/>
                  </a:lnTo>
                  <a:lnTo>
                    <a:pt x="128" y="3"/>
                  </a:lnTo>
                  <a:lnTo>
                    <a:pt x="127" y="1"/>
                  </a:lnTo>
                  <a:lnTo>
                    <a:pt x="124" y="1"/>
                  </a:lnTo>
                  <a:lnTo>
                    <a:pt x="121" y="0"/>
                  </a:lnTo>
                  <a:lnTo>
                    <a:pt x="117" y="1"/>
                  </a:lnTo>
                  <a:lnTo>
                    <a:pt x="114" y="4"/>
                  </a:lnTo>
                  <a:lnTo>
                    <a:pt x="110" y="4"/>
                  </a:lnTo>
                  <a:lnTo>
                    <a:pt x="109" y="7"/>
                  </a:lnTo>
                  <a:lnTo>
                    <a:pt x="106" y="9"/>
                  </a:lnTo>
                  <a:lnTo>
                    <a:pt x="112" y="16"/>
                  </a:lnTo>
                  <a:lnTo>
                    <a:pt x="112" y="22"/>
                  </a:lnTo>
                  <a:lnTo>
                    <a:pt x="106" y="30"/>
                  </a:lnTo>
                  <a:lnTo>
                    <a:pt x="109" y="32"/>
                  </a:lnTo>
                  <a:lnTo>
                    <a:pt x="109" y="35"/>
                  </a:lnTo>
                  <a:lnTo>
                    <a:pt x="106" y="39"/>
                  </a:lnTo>
                  <a:lnTo>
                    <a:pt x="102" y="39"/>
                  </a:lnTo>
                  <a:lnTo>
                    <a:pt x="98" y="38"/>
                  </a:lnTo>
                  <a:lnTo>
                    <a:pt x="95" y="39"/>
                  </a:lnTo>
                  <a:lnTo>
                    <a:pt x="97" y="43"/>
                  </a:lnTo>
                  <a:lnTo>
                    <a:pt x="98" y="45"/>
                  </a:lnTo>
                  <a:lnTo>
                    <a:pt x="99" y="47"/>
                  </a:lnTo>
                  <a:lnTo>
                    <a:pt x="99" y="49"/>
                  </a:lnTo>
                  <a:lnTo>
                    <a:pt x="97" y="52"/>
                  </a:lnTo>
                  <a:lnTo>
                    <a:pt x="94" y="52"/>
                  </a:lnTo>
                  <a:lnTo>
                    <a:pt x="93" y="53"/>
                  </a:lnTo>
                  <a:lnTo>
                    <a:pt x="93" y="57"/>
                  </a:lnTo>
                  <a:lnTo>
                    <a:pt x="93" y="60"/>
                  </a:lnTo>
                  <a:lnTo>
                    <a:pt x="91" y="61"/>
                  </a:lnTo>
                  <a:lnTo>
                    <a:pt x="91" y="62"/>
                  </a:lnTo>
                  <a:lnTo>
                    <a:pt x="91" y="68"/>
                  </a:lnTo>
                  <a:lnTo>
                    <a:pt x="90" y="72"/>
                  </a:lnTo>
                  <a:lnTo>
                    <a:pt x="87" y="68"/>
                  </a:lnTo>
                  <a:lnTo>
                    <a:pt x="86" y="68"/>
                  </a:lnTo>
                  <a:lnTo>
                    <a:pt x="86" y="71"/>
                  </a:lnTo>
                  <a:lnTo>
                    <a:pt x="83" y="69"/>
                  </a:lnTo>
                  <a:lnTo>
                    <a:pt x="82" y="69"/>
                  </a:lnTo>
                  <a:lnTo>
                    <a:pt x="79" y="69"/>
                  </a:lnTo>
                  <a:lnTo>
                    <a:pt x="78" y="71"/>
                  </a:lnTo>
                  <a:lnTo>
                    <a:pt x="74" y="75"/>
                  </a:lnTo>
                  <a:lnTo>
                    <a:pt x="75" y="75"/>
                  </a:lnTo>
                  <a:lnTo>
                    <a:pt x="74" y="76"/>
                  </a:lnTo>
                  <a:lnTo>
                    <a:pt x="69" y="79"/>
                  </a:lnTo>
                  <a:lnTo>
                    <a:pt x="68" y="77"/>
                  </a:lnTo>
                  <a:lnTo>
                    <a:pt x="65" y="77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61" y="83"/>
                  </a:lnTo>
                  <a:lnTo>
                    <a:pt x="60" y="84"/>
                  </a:lnTo>
                  <a:lnTo>
                    <a:pt x="60" y="87"/>
                  </a:lnTo>
                  <a:lnTo>
                    <a:pt x="61" y="91"/>
                  </a:lnTo>
                  <a:lnTo>
                    <a:pt x="61" y="94"/>
                  </a:lnTo>
                  <a:lnTo>
                    <a:pt x="63" y="96"/>
                  </a:lnTo>
                  <a:lnTo>
                    <a:pt x="61" y="98"/>
                  </a:lnTo>
                  <a:lnTo>
                    <a:pt x="57" y="100"/>
                  </a:lnTo>
                  <a:lnTo>
                    <a:pt x="53" y="100"/>
                  </a:lnTo>
                  <a:lnTo>
                    <a:pt x="49" y="100"/>
                  </a:lnTo>
                  <a:lnTo>
                    <a:pt x="44" y="100"/>
                  </a:lnTo>
                  <a:lnTo>
                    <a:pt x="40" y="102"/>
                  </a:lnTo>
                  <a:lnTo>
                    <a:pt x="37" y="103"/>
                  </a:lnTo>
                  <a:lnTo>
                    <a:pt x="34" y="103"/>
                  </a:lnTo>
                  <a:lnTo>
                    <a:pt x="30" y="105"/>
                  </a:lnTo>
                  <a:lnTo>
                    <a:pt x="16" y="105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7" y="109"/>
                  </a:lnTo>
                  <a:lnTo>
                    <a:pt x="8" y="111"/>
                  </a:lnTo>
                  <a:lnTo>
                    <a:pt x="11" y="114"/>
                  </a:lnTo>
                  <a:lnTo>
                    <a:pt x="14" y="115"/>
                  </a:lnTo>
                  <a:lnTo>
                    <a:pt x="15" y="117"/>
                  </a:lnTo>
                  <a:lnTo>
                    <a:pt x="19" y="117"/>
                  </a:lnTo>
                  <a:lnTo>
                    <a:pt x="21" y="118"/>
                  </a:lnTo>
                  <a:lnTo>
                    <a:pt x="21" y="119"/>
                  </a:lnTo>
                  <a:lnTo>
                    <a:pt x="25" y="119"/>
                  </a:lnTo>
                  <a:lnTo>
                    <a:pt x="25" y="124"/>
                  </a:lnTo>
                  <a:lnTo>
                    <a:pt x="25" y="126"/>
                  </a:lnTo>
                  <a:lnTo>
                    <a:pt x="26" y="129"/>
                  </a:lnTo>
                  <a:lnTo>
                    <a:pt x="26" y="132"/>
                  </a:lnTo>
                  <a:lnTo>
                    <a:pt x="29" y="132"/>
                  </a:lnTo>
                  <a:lnTo>
                    <a:pt x="31" y="133"/>
                  </a:lnTo>
                  <a:lnTo>
                    <a:pt x="33" y="139"/>
                  </a:lnTo>
                  <a:lnTo>
                    <a:pt x="30" y="140"/>
                  </a:lnTo>
                  <a:lnTo>
                    <a:pt x="27" y="139"/>
                  </a:lnTo>
                  <a:lnTo>
                    <a:pt x="22" y="140"/>
                  </a:lnTo>
                  <a:lnTo>
                    <a:pt x="21" y="141"/>
                  </a:lnTo>
                  <a:lnTo>
                    <a:pt x="18" y="143"/>
                  </a:lnTo>
                  <a:lnTo>
                    <a:pt x="16" y="145"/>
                  </a:lnTo>
                  <a:lnTo>
                    <a:pt x="16" y="147"/>
                  </a:lnTo>
                  <a:lnTo>
                    <a:pt x="15" y="149"/>
                  </a:lnTo>
                  <a:lnTo>
                    <a:pt x="16" y="152"/>
                  </a:lnTo>
                  <a:lnTo>
                    <a:pt x="15" y="156"/>
                  </a:lnTo>
                  <a:lnTo>
                    <a:pt x="15" y="159"/>
                  </a:lnTo>
                  <a:lnTo>
                    <a:pt x="16" y="159"/>
                  </a:lnTo>
                  <a:lnTo>
                    <a:pt x="16" y="160"/>
                  </a:lnTo>
                  <a:lnTo>
                    <a:pt x="18" y="160"/>
                  </a:lnTo>
                  <a:lnTo>
                    <a:pt x="21" y="159"/>
                  </a:lnTo>
                  <a:lnTo>
                    <a:pt x="23" y="158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26" y="158"/>
                  </a:lnTo>
                  <a:lnTo>
                    <a:pt x="29" y="158"/>
                  </a:lnTo>
                  <a:lnTo>
                    <a:pt x="30" y="158"/>
                  </a:lnTo>
                  <a:lnTo>
                    <a:pt x="33" y="158"/>
                  </a:lnTo>
                  <a:lnTo>
                    <a:pt x="34" y="158"/>
                  </a:lnTo>
                  <a:lnTo>
                    <a:pt x="35" y="158"/>
                  </a:lnTo>
                  <a:lnTo>
                    <a:pt x="35" y="156"/>
                  </a:lnTo>
                  <a:lnTo>
                    <a:pt x="37" y="155"/>
                  </a:lnTo>
                  <a:lnTo>
                    <a:pt x="38" y="156"/>
                  </a:lnTo>
                  <a:lnTo>
                    <a:pt x="40" y="156"/>
                  </a:lnTo>
                  <a:lnTo>
                    <a:pt x="41" y="156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44" y="158"/>
                  </a:lnTo>
                  <a:lnTo>
                    <a:pt x="46" y="159"/>
                  </a:lnTo>
                  <a:lnTo>
                    <a:pt x="48" y="159"/>
                  </a:lnTo>
                  <a:lnTo>
                    <a:pt x="50" y="156"/>
                  </a:lnTo>
                  <a:lnTo>
                    <a:pt x="53" y="156"/>
                  </a:lnTo>
                  <a:lnTo>
                    <a:pt x="56" y="156"/>
                  </a:lnTo>
                  <a:lnTo>
                    <a:pt x="57" y="155"/>
                  </a:lnTo>
                  <a:lnTo>
                    <a:pt x="59" y="155"/>
                  </a:lnTo>
                  <a:lnTo>
                    <a:pt x="60" y="155"/>
                  </a:lnTo>
                  <a:lnTo>
                    <a:pt x="60" y="155"/>
                  </a:lnTo>
                  <a:lnTo>
                    <a:pt x="64" y="156"/>
                  </a:lnTo>
                  <a:lnTo>
                    <a:pt x="67" y="155"/>
                  </a:lnTo>
                  <a:lnTo>
                    <a:pt x="69" y="155"/>
                  </a:lnTo>
                  <a:lnTo>
                    <a:pt x="72" y="156"/>
                  </a:lnTo>
                  <a:lnTo>
                    <a:pt x="74" y="159"/>
                  </a:lnTo>
                  <a:lnTo>
                    <a:pt x="74" y="160"/>
                  </a:lnTo>
                  <a:lnTo>
                    <a:pt x="74" y="162"/>
                  </a:lnTo>
                  <a:lnTo>
                    <a:pt x="72" y="162"/>
                  </a:lnTo>
                  <a:lnTo>
                    <a:pt x="72" y="163"/>
                  </a:lnTo>
                  <a:lnTo>
                    <a:pt x="75" y="163"/>
                  </a:lnTo>
                  <a:lnTo>
                    <a:pt x="78" y="160"/>
                  </a:lnTo>
                  <a:lnTo>
                    <a:pt x="78" y="163"/>
                  </a:lnTo>
                  <a:lnTo>
                    <a:pt x="80" y="166"/>
                  </a:lnTo>
                  <a:lnTo>
                    <a:pt x="82" y="170"/>
                  </a:lnTo>
                  <a:lnTo>
                    <a:pt x="82" y="171"/>
                  </a:lnTo>
                  <a:lnTo>
                    <a:pt x="82" y="173"/>
                  </a:lnTo>
                  <a:lnTo>
                    <a:pt x="80" y="173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5"/>
                  </a:lnTo>
                  <a:lnTo>
                    <a:pt x="86" y="175"/>
                  </a:lnTo>
                  <a:lnTo>
                    <a:pt x="89" y="175"/>
                  </a:lnTo>
                  <a:lnTo>
                    <a:pt x="93" y="178"/>
                  </a:lnTo>
                  <a:lnTo>
                    <a:pt x="93" y="179"/>
                  </a:lnTo>
                  <a:lnTo>
                    <a:pt x="94" y="17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0" name="Freeform 30"/>
            <p:cNvSpPr>
              <a:spLocks/>
            </p:cNvSpPr>
            <p:nvPr/>
          </p:nvSpPr>
          <p:spPr bwMode="auto">
            <a:xfrm>
              <a:off x="2787" y="1550"/>
              <a:ext cx="86" cy="71"/>
            </a:xfrm>
            <a:custGeom>
              <a:avLst/>
              <a:gdLst>
                <a:gd name="T0" fmla="*/ 44 w 86"/>
                <a:gd name="T1" fmla="*/ 71 h 71"/>
                <a:gd name="T2" fmla="*/ 50 w 86"/>
                <a:gd name="T3" fmla="*/ 62 h 71"/>
                <a:gd name="T4" fmla="*/ 55 w 86"/>
                <a:gd name="T5" fmla="*/ 59 h 71"/>
                <a:gd name="T6" fmla="*/ 64 w 86"/>
                <a:gd name="T7" fmla="*/ 63 h 71"/>
                <a:gd name="T8" fmla="*/ 71 w 86"/>
                <a:gd name="T9" fmla="*/ 63 h 71"/>
                <a:gd name="T10" fmla="*/ 75 w 86"/>
                <a:gd name="T11" fmla="*/ 66 h 71"/>
                <a:gd name="T12" fmla="*/ 83 w 86"/>
                <a:gd name="T13" fmla="*/ 64 h 71"/>
                <a:gd name="T14" fmla="*/ 84 w 86"/>
                <a:gd name="T15" fmla="*/ 67 h 71"/>
                <a:gd name="T16" fmla="*/ 86 w 86"/>
                <a:gd name="T17" fmla="*/ 60 h 71"/>
                <a:gd name="T18" fmla="*/ 82 w 86"/>
                <a:gd name="T19" fmla="*/ 55 h 71"/>
                <a:gd name="T20" fmla="*/ 79 w 86"/>
                <a:gd name="T21" fmla="*/ 44 h 71"/>
                <a:gd name="T22" fmla="*/ 74 w 86"/>
                <a:gd name="T23" fmla="*/ 38 h 71"/>
                <a:gd name="T24" fmla="*/ 68 w 86"/>
                <a:gd name="T25" fmla="*/ 29 h 71"/>
                <a:gd name="T26" fmla="*/ 60 w 86"/>
                <a:gd name="T27" fmla="*/ 26 h 71"/>
                <a:gd name="T28" fmla="*/ 57 w 86"/>
                <a:gd name="T29" fmla="*/ 22 h 71"/>
                <a:gd name="T30" fmla="*/ 48 w 86"/>
                <a:gd name="T31" fmla="*/ 22 h 71"/>
                <a:gd name="T32" fmla="*/ 45 w 86"/>
                <a:gd name="T33" fmla="*/ 19 h 71"/>
                <a:gd name="T34" fmla="*/ 42 w 86"/>
                <a:gd name="T35" fmla="*/ 14 h 71"/>
                <a:gd name="T36" fmla="*/ 36 w 86"/>
                <a:gd name="T37" fmla="*/ 3 h 71"/>
                <a:gd name="T38" fmla="*/ 31 w 86"/>
                <a:gd name="T39" fmla="*/ 0 h 71"/>
                <a:gd name="T40" fmla="*/ 30 w 86"/>
                <a:gd name="T41" fmla="*/ 3 h 71"/>
                <a:gd name="T42" fmla="*/ 26 w 86"/>
                <a:gd name="T43" fmla="*/ 3 h 71"/>
                <a:gd name="T44" fmla="*/ 22 w 86"/>
                <a:gd name="T45" fmla="*/ 2 h 71"/>
                <a:gd name="T46" fmla="*/ 22 w 86"/>
                <a:gd name="T47" fmla="*/ 3 h 71"/>
                <a:gd name="T48" fmla="*/ 14 w 86"/>
                <a:gd name="T49" fmla="*/ 9 h 71"/>
                <a:gd name="T50" fmla="*/ 7 w 86"/>
                <a:gd name="T51" fmla="*/ 13 h 71"/>
                <a:gd name="T52" fmla="*/ 2 w 86"/>
                <a:gd name="T53" fmla="*/ 21 h 71"/>
                <a:gd name="T54" fmla="*/ 4 w 86"/>
                <a:gd name="T55" fmla="*/ 22 h 71"/>
                <a:gd name="T56" fmla="*/ 10 w 86"/>
                <a:gd name="T57" fmla="*/ 23 h 71"/>
                <a:gd name="T58" fmla="*/ 15 w 86"/>
                <a:gd name="T59" fmla="*/ 29 h 71"/>
                <a:gd name="T60" fmla="*/ 19 w 86"/>
                <a:gd name="T61" fmla="*/ 32 h 71"/>
                <a:gd name="T62" fmla="*/ 16 w 86"/>
                <a:gd name="T63" fmla="*/ 37 h 71"/>
                <a:gd name="T64" fmla="*/ 14 w 86"/>
                <a:gd name="T65" fmla="*/ 40 h 71"/>
                <a:gd name="T66" fmla="*/ 16 w 86"/>
                <a:gd name="T67" fmla="*/ 48 h 71"/>
                <a:gd name="T68" fmla="*/ 19 w 86"/>
                <a:gd name="T69" fmla="*/ 59 h 71"/>
                <a:gd name="T70" fmla="*/ 27 w 86"/>
                <a:gd name="T71" fmla="*/ 64 h 71"/>
                <a:gd name="T72" fmla="*/ 33 w 86"/>
                <a:gd name="T73" fmla="*/ 68 h 71"/>
                <a:gd name="T74" fmla="*/ 40 w 86"/>
                <a:gd name="T75" fmla="*/ 68 h 71"/>
                <a:gd name="T76" fmla="*/ 42 w 86"/>
                <a:gd name="T7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6" h="71">
                  <a:moveTo>
                    <a:pt x="42" y="71"/>
                  </a:moveTo>
                  <a:lnTo>
                    <a:pt x="44" y="71"/>
                  </a:lnTo>
                  <a:lnTo>
                    <a:pt x="46" y="64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5" y="59"/>
                  </a:lnTo>
                  <a:lnTo>
                    <a:pt x="57" y="59"/>
                  </a:lnTo>
                  <a:lnTo>
                    <a:pt x="64" y="63"/>
                  </a:lnTo>
                  <a:lnTo>
                    <a:pt x="67" y="62"/>
                  </a:lnTo>
                  <a:lnTo>
                    <a:pt x="71" y="63"/>
                  </a:lnTo>
                  <a:lnTo>
                    <a:pt x="71" y="66"/>
                  </a:lnTo>
                  <a:lnTo>
                    <a:pt x="75" y="66"/>
                  </a:lnTo>
                  <a:lnTo>
                    <a:pt x="79" y="68"/>
                  </a:lnTo>
                  <a:lnTo>
                    <a:pt x="83" y="64"/>
                  </a:lnTo>
                  <a:lnTo>
                    <a:pt x="84" y="66"/>
                  </a:lnTo>
                  <a:lnTo>
                    <a:pt x="84" y="67"/>
                  </a:lnTo>
                  <a:lnTo>
                    <a:pt x="86" y="64"/>
                  </a:lnTo>
                  <a:lnTo>
                    <a:pt x="86" y="60"/>
                  </a:lnTo>
                  <a:lnTo>
                    <a:pt x="84" y="55"/>
                  </a:lnTo>
                  <a:lnTo>
                    <a:pt x="82" y="55"/>
                  </a:lnTo>
                  <a:lnTo>
                    <a:pt x="79" y="49"/>
                  </a:lnTo>
                  <a:lnTo>
                    <a:pt x="79" y="44"/>
                  </a:lnTo>
                  <a:lnTo>
                    <a:pt x="78" y="41"/>
                  </a:lnTo>
                  <a:lnTo>
                    <a:pt x="74" y="38"/>
                  </a:lnTo>
                  <a:lnTo>
                    <a:pt x="71" y="36"/>
                  </a:lnTo>
                  <a:lnTo>
                    <a:pt x="68" y="29"/>
                  </a:lnTo>
                  <a:lnTo>
                    <a:pt x="65" y="28"/>
                  </a:lnTo>
                  <a:lnTo>
                    <a:pt x="60" y="26"/>
                  </a:lnTo>
                  <a:lnTo>
                    <a:pt x="60" y="23"/>
                  </a:lnTo>
                  <a:lnTo>
                    <a:pt x="57" y="22"/>
                  </a:lnTo>
                  <a:lnTo>
                    <a:pt x="53" y="22"/>
                  </a:lnTo>
                  <a:lnTo>
                    <a:pt x="48" y="22"/>
                  </a:lnTo>
                  <a:lnTo>
                    <a:pt x="46" y="21"/>
                  </a:lnTo>
                  <a:lnTo>
                    <a:pt x="45" y="19"/>
                  </a:lnTo>
                  <a:lnTo>
                    <a:pt x="45" y="15"/>
                  </a:lnTo>
                  <a:lnTo>
                    <a:pt x="42" y="14"/>
                  </a:lnTo>
                  <a:lnTo>
                    <a:pt x="37" y="6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0" y="3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5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19" y="7"/>
                  </a:lnTo>
                  <a:lnTo>
                    <a:pt x="14" y="9"/>
                  </a:lnTo>
                  <a:lnTo>
                    <a:pt x="6" y="11"/>
                  </a:lnTo>
                  <a:lnTo>
                    <a:pt x="7" y="13"/>
                  </a:lnTo>
                  <a:lnTo>
                    <a:pt x="0" y="17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7" y="21"/>
                  </a:lnTo>
                  <a:lnTo>
                    <a:pt x="10" y="23"/>
                  </a:lnTo>
                  <a:lnTo>
                    <a:pt x="12" y="26"/>
                  </a:lnTo>
                  <a:lnTo>
                    <a:pt x="15" y="29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19" y="34"/>
                  </a:lnTo>
                  <a:lnTo>
                    <a:pt x="16" y="37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6" y="48"/>
                  </a:lnTo>
                  <a:lnTo>
                    <a:pt x="18" y="55"/>
                  </a:lnTo>
                  <a:lnTo>
                    <a:pt x="19" y="59"/>
                  </a:lnTo>
                  <a:lnTo>
                    <a:pt x="23" y="63"/>
                  </a:lnTo>
                  <a:lnTo>
                    <a:pt x="27" y="64"/>
                  </a:lnTo>
                  <a:lnTo>
                    <a:pt x="31" y="66"/>
                  </a:lnTo>
                  <a:lnTo>
                    <a:pt x="33" y="68"/>
                  </a:lnTo>
                  <a:lnTo>
                    <a:pt x="37" y="70"/>
                  </a:lnTo>
                  <a:lnTo>
                    <a:pt x="40" y="68"/>
                  </a:lnTo>
                  <a:lnTo>
                    <a:pt x="42" y="68"/>
                  </a:lnTo>
                  <a:lnTo>
                    <a:pt x="42" y="71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1" name="Freeform 31"/>
            <p:cNvSpPr>
              <a:spLocks/>
            </p:cNvSpPr>
            <p:nvPr/>
          </p:nvSpPr>
          <p:spPr bwMode="auto">
            <a:xfrm>
              <a:off x="2658" y="1514"/>
              <a:ext cx="155" cy="130"/>
            </a:xfrm>
            <a:custGeom>
              <a:avLst/>
              <a:gdLst>
                <a:gd name="T0" fmla="*/ 143 w 155"/>
                <a:gd name="T1" fmla="*/ 13 h 130"/>
                <a:gd name="T2" fmla="*/ 150 w 155"/>
                <a:gd name="T3" fmla="*/ 13 h 130"/>
                <a:gd name="T4" fmla="*/ 151 w 155"/>
                <a:gd name="T5" fmla="*/ 17 h 130"/>
                <a:gd name="T6" fmla="*/ 146 w 155"/>
                <a:gd name="T7" fmla="*/ 24 h 130"/>
                <a:gd name="T8" fmla="*/ 128 w 155"/>
                <a:gd name="T9" fmla="*/ 26 h 130"/>
                <a:gd name="T10" fmla="*/ 120 w 155"/>
                <a:gd name="T11" fmla="*/ 32 h 130"/>
                <a:gd name="T12" fmla="*/ 123 w 155"/>
                <a:gd name="T13" fmla="*/ 47 h 130"/>
                <a:gd name="T14" fmla="*/ 120 w 155"/>
                <a:gd name="T15" fmla="*/ 60 h 130"/>
                <a:gd name="T16" fmla="*/ 109 w 155"/>
                <a:gd name="T17" fmla="*/ 63 h 130"/>
                <a:gd name="T18" fmla="*/ 109 w 155"/>
                <a:gd name="T19" fmla="*/ 70 h 130"/>
                <a:gd name="T20" fmla="*/ 108 w 155"/>
                <a:gd name="T21" fmla="*/ 77 h 130"/>
                <a:gd name="T22" fmla="*/ 104 w 155"/>
                <a:gd name="T23" fmla="*/ 82 h 130"/>
                <a:gd name="T24" fmla="*/ 102 w 155"/>
                <a:gd name="T25" fmla="*/ 87 h 130"/>
                <a:gd name="T26" fmla="*/ 98 w 155"/>
                <a:gd name="T27" fmla="*/ 93 h 130"/>
                <a:gd name="T28" fmla="*/ 94 w 155"/>
                <a:gd name="T29" fmla="*/ 94 h 130"/>
                <a:gd name="T30" fmla="*/ 89 w 155"/>
                <a:gd name="T31" fmla="*/ 96 h 130"/>
                <a:gd name="T32" fmla="*/ 85 w 155"/>
                <a:gd name="T33" fmla="*/ 101 h 130"/>
                <a:gd name="T34" fmla="*/ 76 w 155"/>
                <a:gd name="T35" fmla="*/ 102 h 130"/>
                <a:gd name="T36" fmla="*/ 72 w 155"/>
                <a:gd name="T37" fmla="*/ 108 h 130"/>
                <a:gd name="T38" fmla="*/ 72 w 155"/>
                <a:gd name="T39" fmla="*/ 116 h 130"/>
                <a:gd name="T40" fmla="*/ 72 w 155"/>
                <a:gd name="T41" fmla="*/ 123 h 130"/>
                <a:gd name="T42" fmla="*/ 60 w 155"/>
                <a:gd name="T43" fmla="*/ 125 h 130"/>
                <a:gd name="T44" fmla="*/ 48 w 155"/>
                <a:gd name="T45" fmla="*/ 128 h 130"/>
                <a:gd name="T46" fmla="*/ 27 w 155"/>
                <a:gd name="T47" fmla="*/ 130 h 130"/>
                <a:gd name="T48" fmla="*/ 21 w 155"/>
                <a:gd name="T49" fmla="*/ 112 h 130"/>
                <a:gd name="T50" fmla="*/ 18 w 155"/>
                <a:gd name="T51" fmla="*/ 100 h 130"/>
                <a:gd name="T52" fmla="*/ 7 w 155"/>
                <a:gd name="T53" fmla="*/ 93 h 130"/>
                <a:gd name="T54" fmla="*/ 3 w 155"/>
                <a:gd name="T55" fmla="*/ 79 h 130"/>
                <a:gd name="T56" fmla="*/ 6 w 155"/>
                <a:gd name="T57" fmla="*/ 72 h 130"/>
                <a:gd name="T58" fmla="*/ 2 w 155"/>
                <a:gd name="T59" fmla="*/ 64 h 130"/>
                <a:gd name="T60" fmla="*/ 0 w 155"/>
                <a:gd name="T61" fmla="*/ 60 h 130"/>
                <a:gd name="T62" fmla="*/ 6 w 155"/>
                <a:gd name="T63" fmla="*/ 56 h 130"/>
                <a:gd name="T64" fmla="*/ 4 w 155"/>
                <a:gd name="T65" fmla="*/ 51 h 130"/>
                <a:gd name="T66" fmla="*/ 4 w 155"/>
                <a:gd name="T67" fmla="*/ 45 h 130"/>
                <a:gd name="T68" fmla="*/ 8 w 155"/>
                <a:gd name="T69" fmla="*/ 45 h 130"/>
                <a:gd name="T70" fmla="*/ 14 w 155"/>
                <a:gd name="T71" fmla="*/ 45 h 130"/>
                <a:gd name="T72" fmla="*/ 19 w 155"/>
                <a:gd name="T73" fmla="*/ 48 h 130"/>
                <a:gd name="T74" fmla="*/ 25 w 155"/>
                <a:gd name="T75" fmla="*/ 48 h 130"/>
                <a:gd name="T76" fmla="*/ 29 w 155"/>
                <a:gd name="T77" fmla="*/ 43 h 130"/>
                <a:gd name="T78" fmla="*/ 36 w 155"/>
                <a:gd name="T79" fmla="*/ 38 h 130"/>
                <a:gd name="T80" fmla="*/ 40 w 155"/>
                <a:gd name="T81" fmla="*/ 36 h 130"/>
                <a:gd name="T82" fmla="*/ 44 w 155"/>
                <a:gd name="T83" fmla="*/ 26 h 130"/>
                <a:gd name="T84" fmla="*/ 42 w 155"/>
                <a:gd name="T85" fmla="*/ 21 h 130"/>
                <a:gd name="T86" fmla="*/ 48 w 155"/>
                <a:gd name="T87" fmla="*/ 19 h 130"/>
                <a:gd name="T88" fmla="*/ 55 w 155"/>
                <a:gd name="T89" fmla="*/ 15 h 130"/>
                <a:gd name="T90" fmla="*/ 61 w 155"/>
                <a:gd name="T91" fmla="*/ 18 h 130"/>
                <a:gd name="T92" fmla="*/ 68 w 155"/>
                <a:gd name="T93" fmla="*/ 19 h 130"/>
                <a:gd name="T94" fmla="*/ 74 w 155"/>
                <a:gd name="T95" fmla="*/ 18 h 130"/>
                <a:gd name="T96" fmla="*/ 82 w 155"/>
                <a:gd name="T97" fmla="*/ 21 h 130"/>
                <a:gd name="T98" fmla="*/ 87 w 155"/>
                <a:gd name="T99" fmla="*/ 18 h 130"/>
                <a:gd name="T100" fmla="*/ 91 w 155"/>
                <a:gd name="T101" fmla="*/ 19 h 130"/>
                <a:gd name="T102" fmla="*/ 94 w 155"/>
                <a:gd name="T103" fmla="*/ 17 h 130"/>
                <a:gd name="T104" fmla="*/ 98 w 155"/>
                <a:gd name="T105" fmla="*/ 13 h 130"/>
                <a:gd name="T106" fmla="*/ 102 w 155"/>
                <a:gd name="T107" fmla="*/ 14 h 130"/>
                <a:gd name="T108" fmla="*/ 104 w 155"/>
                <a:gd name="T109" fmla="*/ 7 h 130"/>
                <a:gd name="T110" fmla="*/ 108 w 155"/>
                <a:gd name="T111" fmla="*/ 0 h 130"/>
                <a:gd name="T112" fmla="*/ 114 w 155"/>
                <a:gd name="T113" fmla="*/ 3 h 130"/>
                <a:gd name="T114" fmla="*/ 114 w 155"/>
                <a:gd name="T115" fmla="*/ 9 h 130"/>
                <a:gd name="T116" fmla="*/ 117 w 155"/>
                <a:gd name="T117" fmla="*/ 14 h 130"/>
                <a:gd name="T118" fmla="*/ 119 w 155"/>
                <a:gd name="T119" fmla="*/ 24 h 130"/>
                <a:gd name="T120" fmla="*/ 124 w 155"/>
                <a:gd name="T121" fmla="*/ 26 h 130"/>
                <a:gd name="T122" fmla="*/ 131 w 155"/>
                <a:gd name="T123" fmla="*/ 21 h 130"/>
                <a:gd name="T124" fmla="*/ 135 w 155"/>
                <a:gd name="T125" fmla="*/ 1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5" h="130">
                  <a:moveTo>
                    <a:pt x="135" y="17"/>
                  </a:moveTo>
                  <a:lnTo>
                    <a:pt x="140" y="13"/>
                  </a:lnTo>
                  <a:lnTo>
                    <a:pt x="143" y="13"/>
                  </a:lnTo>
                  <a:lnTo>
                    <a:pt x="144" y="14"/>
                  </a:lnTo>
                  <a:lnTo>
                    <a:pt x="148" y="14"/>
                  </a:lnTo>
                  <a:lnTo>
                    <a:pt x="150" y="13"/>
                  </a:lnTo>
                  <a:lnTo>
                    <a:pt x="155" y="13"/>
                  </a:lnTo>
                  <a:lnTo>
                    <a:pt x="155" y="14"/>
                  </a:lnTo>
                  <a:lnTo>
                    <a:pt x="151" y="17"/>
                  </a:lnTo>
                  <a:lnTo>
                    <a:pt x="154" y="18"/>
                  </a:lnTo>
                  <a:lnTo>
                    <a:pt x="151" y="22"/>
                  </a:lnTo>
                  <a:lnTo>
                    <a:pt x="146" y="24"/>
                  </a:lnTo>
                  <a:lnTo>
                    <a:pt x="135" y="26"/>
                  </a:lnTo>
                  <a:lnTo>
                    <a:pt x="132" y="25"/>
                  </a:lnTo>
                  <a:lnTo>
                    <a:pt x="128" y="26"/>
                  </a:lnTo>
                  <a:lnTo>
                    <a:pt x="125" y="29"/>
                  </a:lnTo>
                  <a:lnTo>
                    <a:pt x="121" y="29"/>
                  </a:lnTo>
                  <a:lnTo>
                    <a:pt x="120" y="32"/>
                  </a:lnTo>
                  <a:lnTo>
                    <a:pt x="117" y="34"/>
                  </a:lnTo>
                  <a:lnTo>
                    <a:pt x="123" y="41"/>
                  </a:lnTo>
                  <a:lnTo>
                    <a:pt x="123" y="47"/>
                  </a:lnTo>
                  <a:lnTo>
                    <a:pt x="117" y="55"/>
                  </a:lnTo>
                  <a:lnTo>
                    <a:pt x="120" y="57"/>
                  </a:lnTo>
                  <a:lnTo>
                    <a:pt x="120" y="60"/>
                  </a:lnTo>
                  <a:lnTo>
                    <a:pt x="117" y="64"/>
                  </a:lnTo>
                  <a:lnTo>
                    <a:pt x="113" y="64"/>
                  </a:lnTo>
                  <a:lnTo>
                    <a:pt x="109" y="63"/>
                  </a:lnTo>
                  <a:lnTo>
                    <a:pt x="106" y="64"/>
                  </a:lnTo>
                  <a:lnTo>
                    <a:pt x="108" y="68"/>
                  </a:lnTo>
                  <a:lnTo>
                    <a:pt x="109" y="70"/>
                  </a:lnTo>
                  <a:lnTo>
                    <a:pt x="110" y="72"/>
                  </a:lnTo>
                  <a:lnTo>
                    <a:pt x="110" y="74"/>
                  </a:lnTo>
                  <a:lnTo>
                    <a:pt x="108" y="77"/>
                  </a:lnTo>
                  <a:lnTo>
                    <a:pt x="105" y="77"/>
                  </a:lnTo>
                  <a:lnTo>
                    <a:pt x="104" y="78"/>
                  </a:lnTo>
                  <a:lnTo>
                    <a:pt x="104" y="82"/>
                  </a:lnTo>
                  <a:lnTo>
                    <a:pt x="104" y="85"/>
                  </a:lnTo>
                  <a:lnTo>
                    <a:pt x="102" y="86"/>
                  </a:lnTo>
                  <a:lnTo>
                    <a:pt x="102" y="87"/>
                  </a:lnTo>
                  <a:lnTo>
                    <a:pt x="102" y="93"/>
                  </a:lnTo>
                  <a:lnTo>
                    <a:pt x="101" y="97"/>
                  </a:lnTo>
                  <a:lnTo>
                    <a:pt x="98" y="93"/>
                  </a:lnTo>
                  <a:lnTo>
                    <a:pt x="97" y="93"/>
                  </a:lnTo>
                  <a:lnTo>
                    <a:pt x="97" y="96"/>
                  </a:lnTo>
                  <a:lnTo>
                    <a:pt x="94" y="94"/>
                  </a:lnTo>
                  <a:lnTo>
                    <a:pt x="93" y="94"/>
                  </a:lnTo>
                  <a:lnTo>
                    <a:pt x="90" y="94"/>
                  </a:lnTo>
                  <a:lnTo>
                    <a:pt x="89" y="96"/>
                  </a:lnTo>
                  <a:lnTo>
                    <a:pt x="85" y="100"/>
                  </a:lnTo>
                  <a:lnTo>
                    <a:pt x="86" y="100"/>
                  </a:lnTo>
                  <a:lnTo>
                    <a:pt x="85" y="101"/>
                  </a:lnTo>
                  <a:lnTo>
                    <a:pt x="80" y="104"/>
                  </a:lnTo>
                  <a:lnTo>
                    <a:pt x="79" y="102"/>
                  </a:lnTo>
                  <a:lnTo>
                    <a:pt x="76" y="102"/>
                  </a:lnTo>
                  <a:lnTo>
                    <a:pt x="75" y="105"/>
                  </a:lnTo>
                  <a:lnTo>
                    <a:pt x="75" y="106"/>
                  </a:lnTo>
                  <a:lnTo>
                    <a:pt x="72" y="108"/>
                  </a:lnTo>
                  <a:lnTo>
                    <a:pt x="71" y="109"/>
                  </a:lnTo>
                  <a:lnTo>
                    <a:pt x="71" y="112"/>
                  </a:lnTo>
                  <a:lnTo>
                    <a:pt x="72" y="116"/>
                  </a:lnTo>
                  <a:lnTo>
                    <a:pt x="72" y="119"/>
                  </a:lnTo>
                  <a:lnTo>
                    <a:pt x="74" y="121"/>
                  </a:lnTo>
                  <a:lnTo>
                    <a:pt x="72" y="123"/>
                  </a:lnTo>
                  <a:lnTo>
                    <a:pt x="68" y="125"/>
                  </a:lnTo>
                  <a:lnTo>
                    <a:pt x="64" y="125"/>
                  </a:lnTo>
                  <a:lnTo>
                    <a:pt x="60" y="125"/>
                  </a:lnTo>
                  <a:lnTo>
                    <a:pt x="55" y="125"/>
                  </a:lnTo>
                  <a:lnTo>
                    <a:pt x="51" y="127"/>
                  </a:lnTo>
                  <a:lnTo>
                    <a:pt x="48" y="128"/>
                  </a:lnTo>
                  <a:lnTo>
                    <a:pt x="45" y="128"/>
                  </a:lnTo>
                  <a:lnTo>
                    <a:pt x="41" y="130"/>
                  </a:lnTo>
                  <a:lnTo>
                    <a:pt x="27" y="130"/>
                  </a:lnTo>
                  <a:lnTo>
                    <a:pt x="11" y="125"/>
                  </a:lnTo>
                  <a:lnTo>
                    <a:pt x="21" y="113"/>
                  </a:lnTo>
                  <a:lnTo>
                    <a:pt x="21" y="112"/>
                  </a:lnTo>
                  <a:lnTo>
                    <a:pt x="19" y="106"/>
                  </a:lnTo>
                  <a:lnTo>
                    <a:pt x="21" y="104"/>
                  </a:lnTo>
                  <a:lnTo>
                    <a:pt x="18" y="100"/>
                  </a:lnTo>
                  <a:lnTo>
                    <a:pt x="8" y="100"/>
                  </a:lnTo>
                  <a:lnTo>
                    <a:pt x="7" y="96"/>
                  </a:lnTo>
                  <a:lnTo>
                    <a:pt x="7" y="93"/>
                  </a:lnTo>
                  <a:lnTo>
                    <a:pt x="7" y="91"/>
                  </a:lnTo>
                  <a:lnTo>
                    <a:pt x="6" y="86"/>
                  </a:lnTo>
                  <a:lnTo>
                    <a:pt x="3" y="79"/>
                  </a:lnTo>
                  <a:lnTo>
                    <a:pt x="3" y="77"/>
                  </a:lnTo>
                  <a:lnTo>
                    <a:pt x="7" y="72"/>
                  </a:lnTo>
                  <a:lnTo>
                    <a:pt x="6" y="72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2" y="64"/>
                  </a:lnTo>
                  <a:lnTo>
                    <a:pt x="0" y="64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6" y="56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4" y="51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5"/>
                  </a:lnTo>
                  <a:lnTo>
                    <a:pt x="10" y="47"/>
                  </a:lnTo>
                  <a:lnTo>
                    <a:pt x="13" y="47"/>
                  </a:lnTo>
                  <a:lnTo>
                    <a:pt x="14" y="45"/>
                  </a:lnTo>
                  <a:lnTo>
                    <a:pt x="15" y="45"/>
                  </a:lnTo>
                  <a:lnTo>
                    <a:pt x="18" y="47"/>
                  </a:lnTo>
                  <a:lnTo>
                    <a:pt x="19" y="48"/>
                  </a:lnTo>
                  <a:lnTo>
                    <a:pt x="21" y="49"/>
                  </a:lnTo>
                  <a:lnTo>
                    <a:pt x="21" y="48"/>
                  </a:lnTo>
                  <a:lnTo>
                    <a:pt x="25" y="48"/>
                  </a:lnTo>
                  <a:lnTo>
                    <a:pt x="26" y="45"/>
                  </a:lnTo>
                  <a:lnTo>
                    <a:pt x="26" y="44"/>
                  </a:lnTo>
                  <a:lnTo>
                    <a:pt x="29" y="43"/>
                  </a:lnTo>
                  <a:lnTo>
                    <a:pt x="27" y="41"/>
                  </a:lnTo>
                  <a:lnTo>
                    <a:pt x="32" y="38"/>
                  </a:lnTo>
                  <a:lnTo>
                    <a:pt x="36" y="38"/>
                  </a:lnTo>
                  <a:lnTo>
                    <a:pt x="36" y="37"/>
                  </a:lnTo>
                  <a:lnTo>
                    <a:pt x="38" y="36"/>
                  </a:lnTo>
                  <a:lnTo>
                    <a:pt x="40" y="36"/>
                  </a:lnTo>
                  <a:lnTo>
                    <a:pt x="41" y="32"/>
                  </a:lnTo>
                  <a:lnTo>
                    <a:pt x="41" y="29"/>
                  </a:lnTo>
                  <a:lnTo>
                    <a:pt x="44" y="26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2" y="21"/>
                  </a:lnTo>
                  <a:lnTo>
                    <a:pt x="44" y="21"/>
                  </a:lnTo>
                  <a:lnTo>
                    <a:pt x="45" y="19"/>
                  </a:lnTo>
                  <a:lnTo>
                    <a:pt x="48" y="19"/>
                  </a:lnTo>
                  <a:lnTo>
                    <a:pt x="49" y="19"/>
                  </a:lnTo>
                  <a:lnTo>
                    <a:pt x="52" y="17"/>
                  </a:lnTo>
                  <a:lnTo>
                    <a:pt x="55" y="15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1" y="18"/>
                  </a:lnTo>
                  <a:lnTo>
                    <a:pt x="64" y="17"/>
                  </a:lnTo>
                  <a:lnTo>
                    <a:pt x="67" y="18"/>
                  </a:lnTo>
                  <a:lnTo>
                    <a:pt x="68" y="19"/>
                  </a:lnTo>
                  <a:lnTo>
                    <a:pt x="71" y="19"/>
                  </a:lnTo>
                  <a:lnTo>
                    <a:pt x="72" y="18"/>
                  </a:lnTo>
                  <a:lnTo>
                    <a:pt x="74" y="18"/>
                  </a:lnTo>
                  <a:lnTo>
                    <a:pt x="76" y="22"/>
                  </a:lnTo>
                  <a:lnTo>
                    <a:pt x="79" y="22"/>
                  </a:lnTo>
                  <a:lnTo>
                    <a:pt x="82" y="21"/>
                  </a:lnTo>
                  <a:lnTo>
                    <a:pt x="85" y="19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9" y="17"/>
                  </a:lnTo>
                  <a:lnTo>
                    <a:pt x="90" y="18"/>
                  </a:lnTo>
                  <a:lnTo>
                    <a:pt x="91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4" y="17"/>
                  </a:lnTo>
                  <a:lnTo>
                    <a:pt x="94" y="15"/>
                  </a:lnTo>
                  <a:lnTo>
                    <a:pt x="97" y="14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4" y="11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5" y="6"/>
                  </a:lnTo>
                  <a:lnTo>
                    <a:pt x="106" y="2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2"/>
                  </a:lnTo>
                  <a:lnTo>
                    <a:pt x="114" y="3"/>
                  </a:lnTo>
                  <a:lnTo>
                    <a:pt x="114" y="4"/>
                  </a:lnTo>
                  <a:lnTo>
                    <a:pt x="113" y="7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7" y="11"/>
                  </a:lnTo>
                  <a:lnTo>
                    <a:pt x="117" y="14"/>
                  </a:lnTo>
                  <a:lnTo>
                    <a:pt x="117" y="17"/>
                  </a:lnTo>
                  <a:lnTo>
                    <a:pt x="117" y="21"/>
                  </a:lnTo>
                  <a:lnTo>
                    <a:pt x="119" y="24"/>
                  </a:lnTo>
                  <a:lnTo>
                    <a:pt x="119" y="25"/>
                  </a:lnTo>
                  <a:lnTo>
                    <a:pt x="121" y="26"/>
                  </a:lnTo>
                  <a:lnTo>
                    <a:pt x="124" y="26"/>
                  </a:lnTo>
                  <a:lnTo>
                    <a:pt x="127" y="25"/>
                  </a:lnTo>
                  <a:lnTo>
                    <a:pt x="127" y="24"/>
                  </a:lnTo>
                  <a:lnTo>
                    <a:pt x="131" y="21"/>
                  </a:lnTo>
                  <a:lnTo>
                    <a:pt x="132" y="19"/>
                  </a:lnTo>
                  <a:lnTo>
                    <a:pt x="134" y="18"/>
                  </a:lnTo>
                  <a:lnTo>
                    <a:pt x="135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2" name="Freeform 32"/>
            <p:cNvSpPr>
              <a:spLocks/>
            </p:cNvSpPr>
            <p:nvPr/>
          </p:nvSpPr>
          <p:spPr bwMode="auto">
            <a:xfrm>
              <a:off x="2047" y="1248"/>
              <a:ext cx="30" cy="34"/>
            </a:xfrm>
            <a:custGeom>
              <a:avLst/>
              <a:gdLst>
                <a:gd name="T0" fmla="*/ 17 w 30"/>
                <a:gd name="T1" fmla="*/ 34 h 34"/>
                <a:gd name="T2" fmla="*/ 15 w 30"/>
                <a:gd name="T3" fmla="*/ 30 h 34"/>
                <a:gd name="T4" fmla="*/ 15 w 30"/>
                <a:gd name="T5" fmla="*/ 28 h 34"/>
                <a:gd name="T6" fmla="*/ 17 w 30"/>
                <a:gd name="T7" fmla="*/ 26 h 34"/>
                <a:gd name="T8" fmla="*/ 15 w 30"/>
                <a:gd name="T9" fmla="*/ 23 h 34"/>
                <a:gd name="T10" fmla="*/ 19 w 30"/>
                <a:gd name="T11" fmla="*/ 20 h 34"/>
                <a:gd name="T12" fmla="*/ 22 w 30"/>
                <a:gd name="T13" fmla="*/ 19 h 34"/>
                <a:gd name="T14" fmla="*/ 24 w 30"/>
                <a:gd name="T15" fmla="*/ 15 h 34"/>
                <a:gd name="T16" fmla="*/ 24 w 30"/>
                <a:gd name="T17" fmla="*/ 12 h 34"/>
                <a:gd name="T18" fmla="*/ 28 w 30"/>
                <a:gd name="T19" fmla="*/ 13 h 34"/>
                <a:gd name="T20" fmla="*/ 29 w 30"/>
                <a:gd name="T21" fmla="*/ 12 h 34"/>
                <a:gd name="T22" fmla="*/ 30 w 30"/>
                <a:gd name="T23" fmla="*/ 9 h 34"/>
                <a:gd name="T24" fmla="*/ 28 w 30"/>
                <a:gd name="T25" fmla="*/ 8 h 34"/>
                <a:gd name="T26" fmla="*/ 24 w 30"/>
                <a:gd name="T27" fmla="*/ 6 h 34"/>
                <a:gd name="T28" fmla="*/ 21 w 30"/>
                <a:gd name="T29" fmla="*/ 4 h 34"/>
                <a:gd name="T30" fmla="*/ 22 w 30"/>
                <a:gd name="T31" fmla="*/ 1 h 34"/>
                <a:gd name="T32" fmla="*/ 17 w 30"/>
                <a:gd name="T33" fmla="*/ 0 h 34"/>
                <a:gd name="T34" fmla="*/ 13 w 30"/>
                <a:gd name="T35" fmla="*/ 0 h 34"/>
                <a:gd name="T36" fmla="*/ 14 w 30"/>
                <a:gd name="T37" fmla="*/ 4 h 34"/>
                <a:gd name="T38" fmla="*/ 15 w 30"/>
                <a:gd name="T39" fmla="*/ 6 h 34"/>
                <a:gd name="T40" fmla="*/ 14 w 30"/>
                <a:gd name="T41" fmla="*/ 6 h 34"/>
                <a:gd name="T42" fmla="*/ 11 w 30"/>
                <a:gd name="T43" fmla="*/ 6 h 34"/>
                <a:gd name="T44" fmla="*/ 11 w 30"/>
                <a:gd name="T45" fmla="*/ 2 h 34"/>
                <a:gd name="T46" fmla="*/ 9 w 30"/>
                <a:gd name="T47" fmla="*/ 5 h 34"/>
                <a:gd name="T48" fmla="*/ 7 w 30"/>
                <a:gd name="T49" fmla="*/ 8 h 34"/>
                <a:gd name="T50" fmla="*/ 5 w 30"/>
                <a:gd name="T51" fmla="*/ 6 h 34"/>
                <a:gd name="T52" fmla="*/ 2 w 30"/>
                <a:gd name="T53" fmla="*/ 8 h 34"/>
                <a:gd name="T54" fmla="*/ 3 w 30"/>
                <a:gd name="T55" fmla="*/ 12 h 34"/>
                <a:gd name="T56" fmla="*/ 2 w 30"/>
                <a:gd name="T57" fmla="*/ 11 h 34"/>
                <a:gd name="T58" fmla="*/ 3 w 30"/>
                <a:gd name="T59" fmla="*/ 15 h 34"/>
                <a:gd name="T60" fmla="*/ 5 w 30"/>
                <a:gd name="T61" fmla="*/ 19 h 34"/>
                <a:gd name="T62" fmla="*/ 0 w 30"/>
                <a:gd name="T63" fmla="*/ 24 h 34"/>
                <a:gd name="T64" fmla="*/ 3 w 30"/>
                <a:gd name="T65" fmla="*/ 24 h 34"/>
                <a:gd name="T66" fmla="*/ 7 w 30"/>
                <a:gd name="T67" fmla="*/ 30 h 34"/>
                <a:gd name="T68" fmla="*/ 6 w 30"/>
                <a:gd name="T69" fmla="*/ 32 h 34"/>
                <a:gd name="T70" fmla="*/ 14 w 30"/>
                <a:gd name="T71" fmla="*/ 32 h 34"/>
                <a:gd name="T72" fmla="*/ 17 w 30"/>
                <a:gd name="T7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" h="34">
                  <a:moveTo>
                    <a:pt x="17" y="34"/>
                  </a:moveTo>
                  <a:lnTo>
                    <a:pt x="17" y="34"/>
                  </a:lnTo>
                  <a:lnTo>
                    <a:pt x="17" y="31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5" y="28"/>
                  </a:lnTo>
                  <a:lnTo>
                    <a:pt x="17" y="27"/>
                  </a:lnTo>
                  <a:lnTo>
                    <a:pt x="17" y="26"/>
                  </a:lnTo>
                  <a:lnTo>
                    <a:pt x="15" y="26"/>
                  </a:lnTo>
                  <a:lnTo>
                    <a:pt x="15" y="23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2" y="13"/>
                  </a:lnTo>
                  <a:lnTo>
                    <a:pt x="24" y="12"/>
                  </a:lnTo>
                  <a:lnTo>
                    <a:pt x="26" y="11"/>
                  </a:lnTo>
                  <a:lnTo>
                    <a:pt x="28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9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5" y="8"/>
                  </a:lnTo>
                  <a:lnTo>
                    <a:pt x="24" y="6"/>
                  </a:lnTo>
                  <a:lnTo>
                    <a:pt x="22" y="5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6"/>
                  </a:lnTo>
                  <a:lnTo>
                    <a:pt x="15" y="8"/>
                  </a:lnTo>
                  <a:lnTo>
                    <a:pt x="14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9" y="5"/>
                  </a:lnTo>
                  <a:lnTo>
                    <a:pt x="10" y="6"/>
                  </a:lnTo>
                  <a:lnTo>
                    <a:pt x="7" y="8"/>
                  </a:lnTo>
                  <a:lnTo>
                    <a:pt x="6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2" y="8"/>
                  </a:lnTo>
                  <a:lnTo>
                    <a:pt x="3" y="9"/>
                  </a:lnTo>
                  <a:lnTo>
                    <a:pt x="3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3" y="15"/>
                  </a:lnTo>
                  <a:lnTo>
                    <a:pt x="3" y="17"/>
                  </a:lnTo>
                  <a:lnTo>
                    <a:pt x="5" y="19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6" y="26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2"/>
                  </a:lnTo>
                  <a:lnTo>
                    <a:pt x="9" y="32"/>
                  </a:lnTo>
                  <a:lnTo>
                    <a:pt x="14" y="32"/>
                  </a:lnTo>
                  <a:lnTo>
                    <a:pt x="15" y="34"/>
                  </a:lnTo>
                  <a:lnTo>
                    <a:pt x="17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3" name="Freeform 33"/>
            <p:cNvSpPr>
              <a:spLocks/>
            </p:cNvSpPr>
            <p:nvPr/>
          </p:nvSpPr>
          <p:spPr bwMode="auto">
            <a:xfrm>
              <a:off x="2012" y="957"/>
              <a:ext cx="237" cy="273"/>
            </a:xfrm>
            <a:custGeom>
              <a:avLst/>
              <a:gdLst>
                <a:gd name="T0" fmla="*/ 230 w 237"/>
                <a:gd name="T1" fmla="*/ 31 h 273"/>
                <a:gd name="T2" fmla="*/ 219 w 237"/>
                <a:gd name="T3" fmla="*/ 26 h 273"/>
                <a:gd name="T4" fmla="*/ 235 w 237"/>
                <a:gd name="T5" fmla="*/ 16 h 273"/>
                <a:gd name="T6" fmla="*/ 219 w 237"/>
                <a:gd name="T7" fmla="*/ 12 h 273"/>
                <a:gd name="T8" fmla="*/ 210 w 237"/>
                <a:gd name="T9" fmla="*/ 17 h 273"/>
                <a:gd name="T10" fmla="*/ 204 w 237"/>
                <a:gd name="T11" fmla="*/ 11 h 273"/>
                <a:gd name="T12" fmla="*/ 200 w 237"/>
                <a:gd name="T13" fmla="*/ 0 h 273"/>
                <a:gd name="T14" fmla="*/ 195 w 237"/>
                <a:gd name="T15" fmla="*/ 12 h 273"/>
                <a:gd name="T16" fmla="*/ 190 w 237"/>
                <a:gd name="T17" fmla="*/ 7 h 273"/>
                <a:gd name="T18" fmla="*/ 180 w 237"/>
                <a:gd name="T19" fmla="*/ 17 h 273"/>
                <a:gd name="T20" fmla="*/ 171 w 237"/>
                <a:gd name="T21" fmla="*/ 9 h 273"/>
                <a:gd name="T22" fmla="*/ 165 w 237"/>
                <a:gd name="T23" fmla="*/ 16 h 273"/>
                <a:gd name="T24" fmla="*/ 159 w 237"/>
                <a:gd name="T25" fmla="*/ 26 h 273"/>
                <a:gd name="T26" fmla="*/ 148 w 237"/>
                <a:gd name="T27" fmla="*/ 31 h 273"/>
                <a:gd name="T28" fmla="*/ 140 w 237"/>
                <a:gd name="T29" fmla="*/ 39 h 273"/>
                <a:gd name="T30" fmla="*/ 131 w 237"/>
                <a:gd name="T31" fmla="*/ 41 h 273"/>
                <a:gd name="T32" fmla="*/ 124 w 237"/>
                <a:gd name="T33" fmla="*/ 42 h 273"/>
                <a:gd name="T34" fmla="*/ 116 w 237"/>
                <a:gd name="T35" fmla="*/ 47 h 273"/>
                <a:gd name="T36" fmla="*/ 110 w 237"/>
                <a:gd name="T37" fmla="*/ 60 h 273"/>
                <a:gd name="T38" fmla="*/ 112 w 237"/>
                <a:gd name="T39" fmla="*/ 68 h 273"/>
                <a:gd name="T40" fmla="*/ 102 w 237"/>
                <a:gd name="T41" fmla="*/ 75 h 273"/>
                <a:gd name="T42" fmla="*/ 98 w 237"/>
                <a:gd name="T43" fmla="*/ 77 h 273"/>
                <a:gd name="T44" fmla="*/ 97 w 237"/>
                <a:gd name="T45" fmla="*/ 89 h 273"/>
                <a:gd name="T46" fmla="*/ 97 w 237"/>
                <a:gd name="T47" fmla="*/ 95 h 273"/>
                <a:gd name="T48" fmla="*/ 79 w 237"/>
                <a:gd name="T49" fmla="*/ 103 h 273"/>
                <a:gd name="T50" fmla="*/ 75 w 237"/>
                <a:gd name="T51" fmla="*/ 111 h 273"/>
                <a:gd name="T52" fmla="*/ 78 w 237"/>
                <a:gd name="T53" fmla="*/ 121 h 273"/>
                <a:gd name="T54" fmla="*/ 74 w 237"/>
                <a:gd name="T55" fmla="*/ 132 h 273"/>
                <a:gd name="T56" fmla="*/ 67 w 237"/>
                <a:gd name="T57" fmla="*/ 141 h 273"/>
                <a:gd name="T58" fmla="*/ 54 w 237"/>
                <a:gd name="T59" fmla="*/ 151 h 273"/>
                <a:gd name="T60" fmla="*/ 49 w 237"/>
                <a:gd name="T61" fmla="*/ 166 h 273"/>
                <a:gd name="T62" fmla="*/ 63 w 237"/>
                <a:gd name="T63" fmla="*/ 159 h 273"/>
                <a:gd name="T64" fmla="*/ 48 w 237"/>
                <a:gd name="T65" fmla="*/ 176 h 273"/>
                <a:gd name="T66" fmla="*/ 35 w 237"/>
                <a:gd name="T67" fmla="*/ 175 h 273"/>
                <a:gd name="T68" fmla="*/ 35 w 237"/>
                <a:gd name="T69" fmla="*/ 182 h 273"/>
                <a:gd name="T70" fmla="*/ 23 w 237"/>
                <a:gd name="T71" fmla="*/ 181 h 273"/>
                <a:gd name="T72" fmla="*/ 22 w 237"/>
                <a:gd name="T73" fmla="*/ 190 h 273"/>
                <a:gd name="T74" fmla="*/ 19 w 237"/>
                <a:gd name="T75" fmla="*/ 196 h 273"/>
                <a:gd name="T76" fmla="*/ 4 w 237"/>
                <a:gd name="T77" fmla="*/ 197 h 273"/>
                <a:gd name="T78" fmla="*/ 12 w 237"/>
                <a:gd name="T79" fmla="*/ 204 h 273"/>
                <a:gd name="T80" fmla="*/ 1 w 237"/>
                <a:gd name="T81" fmla="*/ 209 h 273"/>
                <a:gd name="T82" fmla="*/ 16 w 237"/>
                <a:gd name="T83" fmla="*/ 212 h 273"/>
                <a:gd name="T84" fmla="*/ 23 w 237"/>
                <a:gd name="T85" fmla="*/ 216 h 273"/>
                <a:gd name="T86" fmla="*/ 4 w 237"/>
                <a:gd name="T87" fmla="*/ 217 h 273"/>
                <a:gd name="T88" fmla="*/ 4 w 237"/>
                <a:gd name="T89" fmla="*/ 227 h 273"/>
                <a:gd name="T90" fmla="*/ 16 w 237"/>
                <a:gd name="T91" fmla="*/ 227 h 273"/>
                <a:gd name="T92" fmla="*/ 10 w 237"/>
                <a:gd name="T93" fmla="*/ 238 h 273"/>
                <a:gd name="T94" fmla="*/ 8 w 237"/>
                <a:gd name="T95" fmla="*/ 249 h 273"/>
                <a:gd name="T96" fmla="*/ 15 w 237"/>
                <a:gd name="T97" fmla="*/ 257 h 273"/>
                <a:gd name="T98" fmla="*/ 20 w 237"/>
                <a:gd name="T99" fmla="*/ 272 h 273"/>
                <a:gd name="T100" fmla="*/ 37 w 237"/>
                <a:gd name="T101" fmla="*/ 270 h 273"/>
                <a:gd name="T102" fmla="*/ 45 w 237"/>
                <a:gd name="T103" fmla="*/ 249 h 273"/>
                <a:gd name="T104" fmla="*/ 59 w 237"/>
                <a:gd name="T105" fmla="*/ 251 h 273"/>
                <a:gd name="T106" fmla="*/ 60 w 237"/>
                <a:gd name="T107" fmla="*/ 246 h 273"/>
                <a:gd name="T108" fmla="*/ 71 w 237"/>
                <a:gd name="T109" fmla="*/ 238 h 273"/>
                <a:gd name="T110" fmla="*/ 72 w 237"/>
                <a:gd name="T111" fmla="*/ 191 h 273"/>
                <a:gd name="T112" fmla="*/ 87 w 237"/>
                <a:gd name="T113" fmla="*/ 136 h 273"/>
                <a:gd name="T114" fmla="*/ 103 w 237"/>
                <a:gd name="T115" fmla="*/ 91 h 273"/>
                <a:gd name="T116" fmla="*/ 120 w 237"/>
                <a:gd name="T117" fmla="*/ 66 h 273"/>
                <a:gd name="T118" fmla="*/ 139 w 237"/>
                <a:gd name="T119" fmla="*/ 54 h 273"/>
                <a:gd name="T120" fmla="*/ 155 w 237"/>
                <a:gd name="T121" fmla="*/ 53 h 273"/>
                <a:gd name="T122" fmla="*/ 189 w 237"/>
                <a:gd name="T123" fmla="*/ 50 h 273"/>
                <a:gd name="T124" fmla="*/ 207 w 237"/>
                <a:gd name="T125" fmla="*/ 2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7" h="273">
                  <a:moveTo>
                    <a:pt x="219" y="49"/>
                  </a:moveTo>
                  <a:lnTo>
                    <a:pt x="220" y="49"/>
                  </a:lnTo>
                  <a:lnTo>
                    <a:pt x="220" y="45"/>
                  </a:lnTo>
                  <a:lnTo>
                    <a:pt x="223" y="41"/>
                  </a:lnTo>
                  <a:lnTo>
                    <a:pt x="227" y="41"/>
                  </a:lnTo>
                  <a:lnTo>
                    <a:pt x="229" y="38"/>
                  </a:lnTo>
                  <a:lnTo>
                    <a:pt x="229" y="35"/>
                  </a:lnTo>
                  <a:lnTo>
                    <a:pt x="230" y="35"/>
                  </a:lnTo>
                  <a:lnTo>
                    <a:pt x="233" y="36"/>
                  </a:lnTo>
                  <a:lnTo>
                    <a:pt x="234" y="34"/>
                  </a:lnTo>
                  <a:lnTo>
                    <a:pt x="234" y="31"/>
                  </a:lnTo>
                  <a:lnTo>
                    <a:pt x="233" y="31"/>
                  </a:lnTo>
                  <a:lnTo>
                    <a:pt x="231" y="30"/>
                  </a:lnTo>
                  <a:lnTo>
                    <a:pt x="230" y="30"/>
                  </a:lnTo>
                  <a:lnTo>
                    <a:pt x="230" y="31"/>
                  </a:lnTo>
                  <a:lnTo>
                    <a:pt x="230" y="32"/>
                  </a:lnTo>
                  <a:lnTo>
                    <a:pt x="229" y="31"/>
                  </a:lnTo>
                  <a:lnTo>
                    <a:pt x="229" y="30"/>
                  </a:lnTo>
                  <a:lnTo>
                    <a:pt x="227" y="30"/>
                  </a:lnTo>
                  <a:lnTo>
                    <a:pt x="227" y="31"/>
                  </a:lnTo>
                  <a:lnTo>
                    <a:pt x="227" y="34"/>
                  </a:lnTo>
                  <a:lnTo>
                    <a:pt x="226" y="32"/>
                  </a:lnTo>
                  <a:lnTo>
                    <a:pt x="224" y="31"/>
                  </a:lnTo>
                  <a:lnTo>
                    <a:pt x="223" y="32"/>
                  </a:lnTo>
                  <a:lnTo>
                    <a:pt x="223" y="34"/>
                  </a:lnTo>
                  <a:lnTo>
                    <a:pt x="222" y="32"/>
                  </a:lnTo>
                  <a:lnTo>
                    <a:pt x="222" y="30"/>
                  </a:lnTo>
                  <a:lnTo>
                    <a:pt x="220" y="30"/>
                  </a:lnTo>
                  <a:lnTo>
                    <a:pt x="219" y="27"/>
                  </a:lnTo>
                  <a:lnTo>
                    <a:pt x="219" y="26"/>
                  </a:lnTo>
                  <a:lnTo>
                    <a:pt x="216" y="27"/>
                  </a:lnTo>
                  <a:lnTo>
                    <a:pt x="215" y="26"/>
                  </a:lnTo>
                  <a:lnTo>
                    <a:pt x="212" y="26"/>
                  </a:lnTo>
                  <a:lnTo>
                    <a:pt x="211" y="24"/>
                  </a:lnTo>
                  <a:lnTo>
                    <a:pt x="211" y="23"/>
                  </a:lnTo>
                  <a:lnTo>
                    <a:pt x="215" y="24"/>
                  </a:lnTo>
                  <a:lnTo>
                    <a:pt x="218" y="24"/>
                  </a:lnTo>
                  <a:lnTo>
                    <a:pt x="220" y="24"/>
                  </a:lnTo>
                  <a:lnTo>
                    <a:pt x="224" y="24"/>
                  </a:lnTo>
                  <a:lnTo>
                    <a:pt x="229" y="24"/>
                  </a:lnTo>
                  <a:lnTo>
                    <a:pt x="230" y="20"/>
                  </a:lnTo>
                  <a:lnTo>
                    <a:pt x="234" y="19"/>
                  </a:lnTo>
                  <a:lnTo>
                    <a:pt x="237" y="17"/>
                  </a:lnTo>
                  <a:lnTo>
                    <a:pt x="237" y="16"/>
                  </a:lnTo>
                  <a:lnTo>
                    <a:pt x="235" y="16"/>
                  </a:lnTo>
                  <a:lnTo>
                    <a:pt x="234" y="15"/>
                  </a:lnTo>
                  <a:lnTo>
                    <a:pt x="233" y="15"/>
                  </a:lnTo>
                  <a:lnTo>
                    <a:pt x="231" y="15"/>
                  </a:lnTo>
                  <a:lnTo>
                    <a:pt x="229" y="12"/>
                  </a:lnTo>
                  <a:lnTo>
                    <a:pt x="226" y="12"/>
                  </a:lnTo>
                  <a:lnTo>
                    <a:pt x="224" y="15"/>
                  </a:lnTo>
                  <a:lnTo>
                    <a:pt x="223" y="15"/>
                  </a:lnTo>
                  <a:lnTo>
                    <a:pt x="223" y="13"/>
                  </a:lnTo>
                  <a:lnTo>
                    <a:pt x="224" y="12"/>
                  </a:lnTo>
                  <a:lnTo>
                    <a:pt x="226" y="11"/>
                  </a:lnTo>
                  <a:lnTo>
                    <a:pt x="223" y="9"/>
                  </a:lnTo>
                  <a:lnTo>
                    <a:pt x="223" y="9"/>
                  </a:lnTo>
                  <a:lnTo>
                    <a:pt x="220" y="9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19" y="11"/>
                  </a:lnTo>
                  <a:lnTo>
                    <a:pt x="218" y="11"/>
                  </a:lnTo>
                  <a:lnTo>
                    <a:pt x="216" y="12"/>
                  </a:lnTo>
                  <a:lnTo>
                    <a:pt x="216" y="12"/>
                  </a:lnTo>
                  <a:lnTo>
                    <a:pt x="215" y="11"/>
                  </a:lnTo>
                  <a:lnTo>
                    <a:pt x="216" y="9"/>
                  </a:lnTo>
                  <a:lnTo>
                    <a:pt x="216" y="8"/>
                  </a:lnTo>
                  <a:lnTo>
                    <a:pt x="215" y="7"/>
                  </a:lnTo>
                  <a:lnTo>
                    <a:pt x="212" y="7"/>
                  </a:lnTo>
                  <a:lnTo>
                    <a:pt x="211" y="8"/>
                  </a:lnTo>
                  <a:lnTo>
                    <a:pt x="211" y="11"/>
                  </a:lnTo>
                  <a:lnTo>
                    <a:pt x="210" y="11"/>
                  </a:lnTo>
                  <a:lnTo>
                    <a:pt x="210" y="12"/>
                  </a:lnTo>
                  <a:lnTo>
                    <a:pt x="211" y="16"/>
                  </a:lnTo>
                  <a:lnTo>
                    <a:pt x="210" y="17"/>
                  </a:lnTo>
                  <a:lnTo>
                    <a:pt x="210" y="17"/>
                  </a:lnTo>
                  <a:lnTo>
                    <a:pt x="208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4" y="16"/>
                  </a:lnTo>
                  <a:lnTo>
                    <a:pt x="201" y="17"/>
                  </a:lnTo>
                  <a:lnTo>
                    <a:pt x="204" y="15"/>
                  </a:lnTo>
                  <a:lnTo>
                    <a:pt x="205" y="15"/>
                  </a:lnTo>
                  <a:lnTo>
                    <a:pt x="207" y="12"/>
                  </a:lnTo>
                  <a:lnTo>
                    <a:pt x="207" y="11"/>
                  </a:lnTo>
                  <a:lnTo>
                    <a:pt x="205" y="11"/>
                  </a:lnTo>
                  <a:lnTo>
                    <a:pt x="203" y="12"/>
                  </a:lnTo>
                  <a:lnTo>
                    <a:pt x="201" y="12"/>
                  </a:lnTo>
                  <a:lnTo>
                    <a:pt x="203" y="11"/>
                  </a:lnTo>
                  <a:lnTo>
                    <a:pt x="204" y="11"/>
                  </a:lnTo>
                  <a:lnTo>
                    <a:pt x="204" y="9"/>
                  </a:lnTo>
                  <a:lnTo>
                    <a:pt x="201" y="8"/>
                  </a:lnTo>
                  <a:lnTo>
                    <a:pt x="201" y="8"/>
                  </a:lnTo>
                  <a:lnTo>
                    <a:pt x="203" y="7"/>
                  </a:lnTo>
                  <a:lnTo>
                    <a:pt x="204" y="8"/>
                  </a:lnTo>
                  <a:lnTo>
                    <a:pt x="207" y="8"/>
                  </a:lnTo>
                  <a:lnTo>
                    <a:pt x="208" y="4"/>
                  </a:lnTo>
                  <a:lnTo>
                    <a:pt x="207" y="2"/>
                  </a:lnTo>
                  <a:lnTo>
                    <a:pt x="205" y="4"/>
                  </a:lnTo>
                  <a:lnTo>
                    <a:pt x="204" y="2"/>
                  </a:lnTo>
                  <a:lnTo>
                    <a:pt x="204" y="1"/>
                  </a:lnTo>
                  <a:lnTo>
                    <a:pt x="204" y="0"/>
                  </a:lnTo>
                  <a:lnTo>
                    <a:pt x="203" y="1"/>
                  </a:lnTo>
                  <a:lnTo>
                    <a:pt x="201" y="1"/>
                  </a:lnTo>
                  <a:lnTo>
                    <a:pt x="200" y="0"/>
                  </a:lnTo>
                  <a:lnTo>
                    <a:pt x="197" y="1"/>
                  </a:lnTo>
                  <a:lnTo>
                    <a:pt x="197" y="2"/>
                  </a:lnTo>
                  <a:lnTo>
                    <a:pt x="199" y="4"/>
                  </a:lnTo>
                  <a:lnTo>
                    <a:pt x="199" y="5"/>
                  </a:lnTo>
                  <a:lnTo>
                    <a:pt x="197" y="5"/>
                  </a:lnTo>
                  <a:lnTo>
                    <a:pt x="196" y="2"/>
                  </a:lnTo>
                  <a:lnTo>
                    <a:pt x="195" y="4"/>
                  </a:lnTo>
                  <a:lnTo>
                    <a:pt x="195" y="5"/>
                  </a:lnTo>
                  <a:lnTo>
                    <a:pt x="195" y="7"/>
                  </a:lnTo>
                  <a:lnTo>
                    <a:pt x="196" y="7"/>
                  </a:lnTo>
                  <a:lnTo>
                    <a:pt x="197" y="8"/>
                  </a:lnTo>
                  <a:lnTo>
                    <a:pt x="197" y="8"/>
                  </a:lnTo>
                  <a:lnTo>
                    <a:pt x="196" y="9"/>
                  </a:lnTo>
                  <a:lnTo>
                    <a:pt x="196" y="11"/>
                  </a:lnTo>
                  <a:lnTo>
                    <a:pt x="195" y="12"/>
                  </a:lnTo>
                  <a:lnTo>
                    <a:pt x="195" y="13"/>
                  </a:lnTo>
                  <a:lnTo>
                    <a:pt x="195" y="13"/>
                  </a:lnTo>
                  <a:lnTo>
                    <a:pt x="193" y="15"/>
                  </a:lnTo>
                  <a:lnTo>
                    <a:pt x="195" y="17"/>
                  </a:lnTo>
                  <a:lnTo>
                    <a:pt x="193" y="17"/>
                  </a:lnTo>
                  <a:lnTo>
                    <a:pt x="192" y="16"/>
                  </a:lnTo>
                  <a:lnTo>
                    <a:pt x="190" y="17"/>
                  </a:lnTo>
                  <a:lnTo>
                    <a:pt x="190" y="19"/>
                  </a:lnTo>
                  <a:lnTo>
                    <a:pt x="189" y="20"/>
                  </a:lnTo>
                  <a:lnTo>
                    <a:pt x="189" y="17"/>
                  </a:lnTo>
                  <a:lnTo>
                    <a:pt x="190" y="13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90" y="11"/>
                  </a:lnTo>
                  <a:lnTo>
                    <a:pt x="190" y="7"/>
                  </a:lnTo>
                  <a:lnTo>
                    <a:pt x="189" y="5"/>
                  </a:lnTo>
                  <a:lnTo>
                    <a:pt x="188" y="5"/>
                  </a:lnTo>
                  <a:lnTo>
                    <a:pt x="185" y="11"/>
                  </a:lnTo>
                  <a:lnTo>
                    <a:pt x="185" y="13"/>
                  </a:lnTo>
                  <a:lnTo>
                    <a:pt x="182" y="17"/>
                  </a:lnTo>
                  <a:lnTo>
                    <a:pt x="181" y="20"/>
                  </a:lnTo>
                  <a:lnTo>
                    <a:pt x="182" y="22"/>
                  </a:lnTo>
                  <a:lnTo>
                    <a:pt x="182" y="23"/>
                  </a:lnTo>
                  <a:lnTo>
                    <a:pt x="178" y="27"/>
                  </a:lnTo>
                  <a:lnTo>
                    <a:pt x="177" y="27"/>
                  </a:lnTo>
                  <a:lnTo>
                    <a:pt x="177" y="26"/>
                  </a:lnTo>
                  <a:lnTo>
                    <a:pt x="177" y="24"/>
                  </a:lnTo>
                  <a:lnTo>
                    <a:pt x="178" y="22"/>
                  </a:lnTo>
                  <a:lnTo>
                    <a:pt x="178" y="19"/>
                  </a:lnTo>
                  <a:lnTo>
                    <a:pt x="180" y="17"/>
                  </a:lnTo>
                  <a:lnTo>
                    <a:pt x="178" y="15"/>
                  </a:lnTo>
                  <a:lnTo>
                    <a:pt x="181" y="12"/>
                  </a:lnTo>
                  <a:lnTo>
                    <a:pt x="182" y="9"/>
                  </a:lnTo>
                  <a:lnTo>
                    <a:pt x="182" y="9"/>
                  </a:lnTo>
                  <a:lnTo>
                    <a:pt x="182" y="8"/>
                  </a:lnTo>
                  <a:lnTo>
                    <a:pt x="181" y="8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78" y="8"/>
                  </a:lnTo>
                  <a:lnTo>
                    <a:pt x="177" y="9"/>
                  </a:lnTo>
                  <a:lnTo>
                    <a:pt x="177" y="8"/>
                  </a:lnTo>
                  <a:lnTo>
                    <a:pt x="176" y="7"/>
                  </a:lnTo>
                  <a:lnTo>
                    <a:pt x="173" y="5"/>
                  </a:lnTo>
                  <a:lnTo>
                    <a:pt x="171" y="7"/>
                  </a:lnTo>
                  <a:lnTo>
                    <a:pt x="171" y="9"/>
                  </a:lnTo>
                  <a:lnTo>
                    <a:pt x="171" y="11"/>
                  </a:lnTo>
                  <a:lnTo>
                    <a:pt x="170" y="9"/>
                  </a:lnTo>
                  <a:lnTo>
                    <a:pt x="169" y="8"/>
                  </a:lnTo>
                  <a:lnTo>
                    <a:pt x="169" y="9"/>
                  </a:lnTo>
                  <a:lnTo>
                    <a:pt x="169" y="11"/>
                  </a:lnTo>
                  <a:lnTo>
                    <a:pt x="171" y="12"/>
                  </a:lnTo>
                  <a:lnTo>
                    <a:pt x="171" y="15"/>
                  </a:lnTo>
                  <a:lnTo>
                    <a:pt x="171" y="15"/>
                  </a:lnTo>
                  <a:lnTo>
                    <a:pt x="170" y="13"/>
                  </a:lnTo>
                  <a:lnTo>
                    <a:pt x="169" y="15"/>
                  </a:lnTo>
                  <a:lnTo>
                    <a:pt x="169" y="16"/>
                  </a:lnTo>
                  <a:lnTo>
                    <a:pt x="169" y="17"/>
                  </a:lnTo>
                  <a:lnTo>
                    <a:pt x="169" y="17"/>
                  </a:lnTo>
                  <a:lnTo>
                    <a:pt x="166" y="16"/>
                  </a:lnTo>
                  <a:lnTo>
                    <a:pt x="165" y="16"/>
                  </a:lnTo>
                  <a:lnTo>
                    <a:pt x="165" y="19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3" y="22"/>
                  </a:lnTo>
                  <a:lnTo>
                    <a:pt x="162" y="23"/>
                  </a:lnTo>
                  <a:lnTo>
                    <a:pt x="161" y="24"/>
                  </a:lnTo>
                  <a:lnTo>
                    <a:pt x="162" y="26"/>
                  </a:lnTo>
                  <a:lnTo>
                    <a:pt x="161" y="27"/>
                  </a:lnTo>
                  <a:lnTo>
                    <a:pt x="163" y="28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61" y="30"/>
                  </a:lnTo>
                  <a:lnTo>
                    <a:pt x="159" y="27"/>
                  </a:lnTo>
                  <a:lnTo>
                    <a:pt x="158" y="27"/>
                  </a:lnTo>
                  <a:lnTo>
                    <a:pt x="159" y="26"/>
                  </a:lnTo>
                  <a:lnTo>
                    <a:pt x="158" y="24"/>
                  </a:lnTo>
                  <a:lnTo>
                    <a:pt x="155" y="24"/>
                  </a:lnTo>
                  <a:lnTo>
                    <a:pt x="152" y="24"/>
                  </a:lnTo>
                  <a:lnTo>
                    <a:pt x="150" y="22"/>
                  </a:lnTo>
                  <a:lnTo>
                    <a:pt x="148" y="22"/>
                  </a:lnTo>
                  <a:lnTo>
                    <a:pt x="147" y="23"/>
                  </a:lnTo>
                  <a:lnTo>
                    <a:pt x="146" y="22"/>
                  </a:lnTo>
                  <a:lnTo>
                    <a:pt x="144" y="23"/>
                  </a:lnTo>
                  <a:lnTo>
                    <a:pt x="142" y="23"/>
                  </a:lnTo>
                  <a:lnTo>
                    <a:pt x="142" y="24"/>
                  </a:lnTo>
                  <a:lnTo>
                    <a:pt x="144" y="27"/>
                  </a:lnTo>
                  <a:lnTo>
                    <a:pt x="147" y="27"/>
                  </a:lnTo>
                  <a:lnTo>
                    <a:pt x="147" y="28"/>
                  </a:lnTo>
                  <a:lnTo>
                    <a:pt x="150" y="28"/>
                  </a:lnTo>
                  <a:lnTo>
                    <a:pt x="148" y="31"/>
                  </a:lnTo>
                  <a:lnTo>
                    <a:pt x="150" y="32"/>
                  </a:lnTo>
                  <a:lnTo>
                    <a:pt x="151" y="35"/>
                  </a:lnTo>
                  <a:lnTo>
                    <a:pt x="151" y="36"/>
                  </a:lnTo>
                  <a:lnTo>
                    <a:pt x="150" y="35"/>
                  </a:lnTo>
                  <a:lnTo>
                    <a:pt x="147" y="32"/>
                  </a:lnTo>
                  <a:lnTo>
                    <a:pt x="146" y="32"/>
                  </a:lnTo>
                  <a:lnTo>
                    <a:pt x="144" y="31"/>
                  </a:lnTo>
                  <a:lnTo>
                    <a:pt x="144" y="32"/>
                  </a:lnTo>
                  <a:lnTo>
                    <a:pt x="142" y="34"/>
                  </a:lnTo>
                  <a:lnTo>
                    <a:pt x="142" y="31"/>
                  </a:lnTo>
                  <a:lnTo>
                    <a:pt x="140" y="32"/>
                  </a:lnTo>
                  <a:lnTo>
                    <a:pt x="140" y="34"/>
                  </a:lnTo>
                  <a:lnTo>
                    <a:pt x="137" y="36"/>
                  </a:lnTo>
                  <a:lnTo>
                    <a:pt x="137" y="38"/>
                  </a:lnTo>
                  <a:lnTo>
                    <a:pt x="140" y="39"/>
                  </a:lnTo>
                  <a:lnTo>
                    <a:pt x="142" y="41"/>
                  </a:lnTo>
                  <a:lnTo>
                    <a:pt x="139" y="41"/>
                  </a:lnTo>
                  <a:lnTo>
                    <a:pt x="139" y="39"/>
                  </a:lnTo>
                  <a:lnTo>
                    <a:pt x="137" y="42"/>
                  </a:lnTo>
                  <a:lnTo>
                    <a:pt x="136" y="43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6" y="43"/>
                  </a:lnTo>
                  <a:lnTo>
                    <a:pt x="135" y="42"/>
                  </a:lnTo>
                  <a:lnTo>
                    <a:pt x="136" y="38"/>
                  </a:lnTo>
                  <a:lnTo>
                    <a:pt x="135" y="32"/>
                  </a:lnTo>
                  <a:lnTo>
                    <a:pt x="133" y="32"/>
                  </a:lnTo>
                  <a:lnTo>
                    <a:pt x="131" y="36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9" y="43"/>
                  </a:lnTo>
                  <a:lnTo>
                    <a:pt x="129" y="41"/>
                  </a:lnTo>
                  <a:lnTo>
                    <a:pt x="131" y="39"/>
                  </a:lnTo>
                  <a:lnTo>
                    <a:pt x="129" y="35"/>
                  </a:lnTo>
                  <a:lnTo>
                    <a:pt x="128" y="35"/>
                  </a:lnTo>
                  <a:lnTo>
                    <a:pt x="127" y="36"/>
                  </a:lnTo>
                  <a:lnTo>
                    <a:pt x="124" y="39"/>
                  </a:lnTo>
                  <a:lnTo>
                    <a:pt x="125" y="42"/>
                  </a:lnTo>
                  <a:lnTo>
                    <a:pt x="125" y="45"/>
                  </a:lnTo>
                  <a:lnTo>
                    <a:pt x="128" y="46"/>
                  </a:lnTo>
                  <a:lnTo>
                    <a:pt x="129" y="47"/>
                  </a:lnTo>
                  <a:lnTo>
                    <a:pt x="128" y="50"/>
                  </a:lnTo>
                  <a:lnTo>
                    <a:pt x="127" y="47"/>
                  </a:lnTo>
                  <a:lnTo>
                    <a:pt x="125" y="46"/>
                  </a:lnTo>
                  <a:lnTo>
                    <a:pt x="124" y="42"/>
                  </a:lnTo>
                  <a:lnTo>
                    <a:pt x="122" y="42"/>
                  </a:lnTo>
                  <a:lnTo>
                    <a:pt x="120" y="43"/>
                  </a:lnTo>
                  <a:lnTo>
                    <a:pt x="120" y="45"/>
                  </a:lnTo>
                  <a:lnTo>
                    <a:pt x="122" y="46"/>
                  </a:lnTo>
                  <a:lnTo>
                    <a:pt x="124" y="46"/>
                  </a:lnTo>
                  <a:lnTo>
                    <a:pt x="124" y="47"/>
                  </a:lnTo>
                  <a:lnTo>
                    <a:pt x="122" y="47"/>
                  </a:lnTo>
                  <a:lnTo>
                    <a:pt x="120" y="47"/>
                  </a:lnTo>
                  <a:lnTo>
                    <a:pt x="121" y="50"/>
                  </a:lnTo>
                  <a:lnTo>
                    <a:pt x="120" y="49"/>
                  </a:lnTo>
                  <a:lnTo>
                    <a:pt x="120" y="46"/>
                  </a:lnTo>
                  <a:lnTo>
                    <a:pt x="118" y="45"/>
                  </a:lnTo>
                  <a:lnTo>
                    <a:pt x="118" y="43"/>
                  </a:lnTo>
                  <a:lnTo>
                    <a:pt x="117" y="45"/>
                  </a:lnTo>
                  <a:lnTo>
                    <a:pt x="116" y="47"/>
                  </a:lnTo>
                  <a:lnTo>
                    <a:pt x="117" y="49"/>
                  </a:lnTo>
                  <a:lnTo>
                    <a:pt x="117" y="51"/>
                  </a:lnTo>
                  <a:lnTo>
                    <a:pt x="114" y="50"/>
                  </a:lnTo>
                  <a:lnTo>
                    <a:pt x="113" y="51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3" y="54"/>
                  </a:lnTo>
                  <a:lnTo>
                    <a:pt x="114" y="56"/>
                  </a:lnTo>
                  <a:lnTo>
                    <a:pt x="113" y="56"/>
                  </a:lnTo>
                  <a:lnTo>
                    <a:pt x="112" y="57"/>
                  </a:lnTo>
                  <a:lnTo>
                    <a:pt x="113" y="57"/>
                  </a:lnTo>
                  <a:lnTo>
                    <a:pt x="112" y="58"/>
                  </a:lnTo>
                  <a:lnTo>
                    <a:pt x="110" y="58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09" y="61"/>
                  </a:lnTo>
                  <a:lnTo>
                    <a:pt x="108" y="60"/>
                  </a:lnTo>
                  <a:lnTo>
                    <a:pt x="106" y="60"/>
                  </a:lnTo>
                  <a:lnTo>
                    <a:pt x="105" y="62"/>
                  </a:lnTo>
                  <a:lnTo>
                    <a:pt x="105" y="62"/>
                  </a:lnTo>
                  <a:lnTo>
                    <a:pt x="105" y="64"/>
                  </a:lnTo>
                  <a:lnTo>
                    <a:pt x="102" y="64"/>
                  </a:lnTo>
                  <a:lnTo>
                    <a:pt x="101" y="66"/>
                  </a:lnTo>
                  <a:lnTo>
                    <a:pt x="103" y="66"/>
                  </a:lnTo>
                  <a:lnTo>
                    <a:pt x="109" y="65"/>
                  </a:lnTo>
                  <a:lnTo>
                    <a:pt x="109" y="66"/>
                  </a:lnTo>
                  <a:lnTo>
                    <a:pt x="112" y="65"/>
                  </a:lnTo>
                  <a:lnTo>
                    <a:pt x="113" y="65"/>
                  </a:lnTo>
                  <a:lnTo>
                    <a:pt x="113" y="66"/>
                  </a:lnTo>
                  <a:lnTo>
                    <a:pt x="112" y="68"/>
                  </a:lnTo>
                  <a:lnTo>
                    <a:pt x="112" y="70"/>
                  </a:lnTo>
                  <a:lnTo>
                    <a:pt x="110" y="72"/>
                  </a:lnTo>
                  <a:lnTo>
                    <a:pt x="110" y="70"/>
                  </a:lnTo>
                  <a:lnTo>
                    <a:pt x="109" y="69"/>
                  </a:lnTo>
                  <a:lnTo>
                    <a:pt x="108" y="69"/>
                  </a:lnTo>
                  <a:lnTo>
                    <a:pt x="106" y="68"/>
                  </a:lnTo>
                  <a:lnTo>
                    <a:pt x="105" y="68"/>
                  </a:lnTo>
                  <a:lnTo>
                    <a:pt x="105" y="69"/>
                  </a:lnTo>
                  <a:lnTo>
                    <a:pt x="105" y="70"/>
                  </a:lnTo>
                  <a:lnTo>
                    <a:pt x="102" y="69"/>
                  </a:lnTo>
                  <a:lnTo>
                    <a:pt x="101" y="69"/>
                  </a:lnTo>
                  <a:lnTo>
                    <a:pt x="103" y="70"/>
                  </a:lnTo>
                  <a:lnTo>
                    <a:pt x="103" y="73"/>
                  </a:lnTo>
                  <a:lnTo>
                    <a:pt x="102" y="73"/>
                  </a:lnTo>
                  <a:lnTo>
                    <a:pt x="102" y="75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1" y="76"/>
                  </a:lnTo>
                  <a:lnTo>
                    <a:pt x="101" y="73"/>
                  </a:lnTo>
                  <a:lnTo>
                    <a:pt x="99" y="72"/>
                  </a:lnTo>
                  <a:lnTo>
                    <a:pt x="98" y="73"/>
                  </a:lnTo>
                  <a:lnTo>
                    <a:pt x="97" y="73"/>
                  </a:lnTo>
                  <a:lnTo>
                    <a:pt x="95" y="72"/>
                  </a:lnTo>
                  <a:lnTo>
                    <a:pt x="95" y="70"/>
                  </a:lnTo>
                  <a:lnTo>
                    <a:pt x="94" y="70"/>
                  </a:lnTo>
                  <a:lnTo>
                    <a:pt x="93" y="73"/>
                  </a:lnTo>
                  <a:lnTo>
                    <a:pt x="94" y="75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98" y="77"/>
                  </a:lnTo>
                  <a:lnTo>
                    <a:pt x="94" y="79"/>
                  </a:lnTo>
                  <a:lnTo>
                    <a:pt x="93" y="77"/>
                  </a:lnTo>
                  <a:lnTo>
                    <a:pt x="91" y="77"/>
                  </a:lnTo>
                  <a:lnTo>
                    <a:pt x="90" y="80"/>
                  </a:lnTo>
                  <a:lnTo>
                    <a:pt x="91" y="81"/>
                  </a:lnTo>
                  <a:lnTo>
                    <a:pt x="90" y="83"/>
                  </a:lnTo>
                  <a:lnTo>
                    <a:pt x="91" y="83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7" y="81"/>
                  </a:lnTo>
                  <a:lnTo>
                    <a:pt x="94" y="81"/>
                  </a:lnTo>
                  <a:lnTo>
                    <a:pt x="93" y="84"/>
                  </a:lnTo>
                  <a:lnTo>
                    <a:pt x="94" y="85"/>
                  </a:lnTo>
                  <a:lnTo>
                    <a:pt x="97" y="87"/>
                  </a:lnTo>
                  <a:lnTo>
                    <a:pt x="97" y="89"/>
                  </a:lnTo>
                  <a:lnTo>
                    <a:pt x="95" y="88"/>
                  </a:lnTo>
                  <a:lnTo>
                    <a:pt x="94" y="88"/>
                  </a:lnTo>
                  <a:lnTo>
                    <a:pt x="91" y="85"/>
                  </a:lnTo>
                  <a:lnTo>
                    <a:pt x="91" y="85"/>
                  </a:lnTo>
                  <a:lnTo>
                    <a:pt x="90" y="87"/>
                  </a:lnTo>
                  <a:lnTo>
                    <a:pt x="91" y="88"/>
                  </a:lnTo>
                  <a:lnTo>
                    <a:pt x="88" y="89"/>
                  </a:lnTo>
                  <a:lnTo>
                    <a:pt x="87" y="91"/>
                  </a:lnTo>
                  <a:lnTo>
                    <a:pt x="87" y="92"/>
                  </a:lnTo>
                  <a:lnTo>
                    <a:pt x="88" y="92"/>
                  </a:lnTo>
                  <a:lnTo>
                    <a:pt x="91" y="91"/>
                  </a:lnTo>
                  <a:lnTo>
                    <a:pt x="93" y="92"/>
                  </a:lnTo>
                  <a:lnTo>
                    <a:pt x="94" y="92"/>
                  </a:lnTo>
                  <a:lnTo>
                    <a:pt x="95" y="94"/>
                  </a:lnTo>
                  <a:lnTo>
                    <a:pt x="97" y="95"/>
                  </a:lnTo>
                  <a:lnTo>
                    <a:pt x="97" y="96"/>
                  </a:lnTo>
                  <a:lnTo>
                    <a:pt x="93" y="94"/>
                  </a:lnTo>
                  <a:lnTo>
                    <a:pt x="91" y="94"/>
                  </a:lnTo>
                  <a:lnTo>
                    <a:pt x="90" y="95"/>
                  </a:lnTo>
                  <a:lnTo>
                    <a:pt x="86" y="95"/>
                  </a:lnTo>
                  <a:lnTo>
                    <a:pt x="86" y="98"/>
                  </a:lnTo>
                  <a:lnTo>
                    <a:pt x="84" y="98"/>
                  </a:lnTo>
                  <a:lnTo>
                    <a:pt x="83" y="98"/>
                  </a:lnTo>
                  <a:lnTo>
                    <a:pt x="80" y="99"/>
                  </a:lnTo>
                  <a:lnTo>
                    <a:pt x="79" y="99"/>
                  </a:lnTo>
                  <a:lnTo>
                    <a:pt x="79" y="100"/>
                  </a:lnTo>
                  <a:lnTo>
                    <a:pt x="80" y="100"/>
                  </a:lnTo>
                  <a:lnTo>
                    <a:pt x="82" y="103"/>
                  </a:lnTo>
                  <a:lnTo>
                    <a:pt x="80" y="103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80" y="104"/>
                  </a:lnTo>
                  <a:lnTo>
                    <a:pt x="80" y="106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76" y="104"/>
                  </a:lnTo>
                  <a:lnTo>
                    <a:pt x="78" y="106"/>
                  </a:lnTo>
                  <a:lnTo>
                    <a:pt x="78" y="107"/>
                  </a:lnTo>
                  <a:lnTo>
                    <a:pt x="78" y="109"/>
                  </a:lnTo>
                  <a:lnTo>
                    <a:pt x="79" y="109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5" y="109"/>
                  </a:lnTo>
                  <a:lnTo>
                    <a:pt x="75" y="110"/>
                  </a:lnTo>
                  <a:lnTo>
                    <a:pt x="75" y="111"/>
                  </a:lnTo>
                  <a:lnTo>
                    <a:pt x="76" y="111"/>
                  </a:lnTo>
                  <a:lnTo>
                    <a:pt x="79" y="113"/>
                  </a:lnTo>
                  <a:lnTo>
                    <a:pt x="79" y="114"/>
                  </a:lnTo>
                  <a:lnTo>
                    <a:pt x="80" y="115"/>
                  </a:lnTo>
                  <a:lnTo>
                    <a:pt x="82" y="114"/>
                  </a:lnTo>
                  <a:lnTo>
                    <a:pt x="80" y="115"/>
                  </a:lnTo>
                  <a:lnTo>
                    <a:pt x="80" y="117"/>
                  </a:lnTo>
                  <a:lnTo>
                    <a:pt x="79" y="117"/>
                  </a:lnTo>
                  <a:lnTo>
                    <a:pt x="78" y="115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74" y="118"/>
                  </a:lnTo>
                  <a:lnTo>
                    <a:pt x="76" y="118"/>
                  </a:lnTo>
                  <a:lnTo>
                    <a:pt x="76" y="119"/>
                  </a:lnTo>
                  <a:lnTo>
                    <a:pt x="78" y="121"/>
                  </a:lnTo>
                  <a:lnTo>
                    <a:pt x="78" y="122"/>
                  </a:lnTo>
                  <a:lnTo>
                    <a:pt x="76" y="121"/>
                  </a:lnTo>
                  <a:lnTo>
                    <a:pt x="75" y="121"/>
                  </a:lnTo>
                  <a:lnTo>
                    <a:pt x="74" y="122"/>
                  </a:lnTo>
                  <a:lnTo>
                    <a:pt x="74" y="123"/>
                  </a:lnTo>
                  <a:lnTo>
                    <a:pt x="74" y="125"/>
                  </a:lnTo>
                  <a:lnTo>
                    <a:pt x="74" y="126"/>
                  </a:lnTo>
                  <a:lnTo>
                    <a:pt x="75" y="128"/>
                  </a:lnTo>
                  <a:lnTo>
                    <a:pt x="74" y="128"/>
                  </a:lnTo>
                  <a:lnTo>
                    <a:pt x="72" y="126"/>
                  </a:lnTo>
                  <a:lnTo>
                    <a:pt x="71" y="126"/>
                  </a:lnTo>
                  <a:lnTo>
                    <a:pt x="71" y="129"/>
                  </a:lnTo>
                  <a:lnTo>
                    <a:pt x="74" y="129"/>
                  </a:lnTo>
                  <a:lnTo>
                    <a:pt x="74" y="130"/>
                  </a:lnTo>
                  <a:lnTo>
                    <a:pt x="74" y="132"/>
                  </a:lnTo>
                  <a:lnTo>
                    <a:pt x="71" y="129"/>
                  </a:lnTo>
                  <a:lnTo>
                    <a:pt x="69" y="130"/>
                  </a:lnTo>
                  <a:lnTo>
                    <a:pt x="69" y="132"/>
                  </a:lnTo>
                  <a:lnTo>
                    <a:pt x="71" y="132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2" y="136"/>
                  </a:lnTo>
                  <a:lnTo>
                    <a:pt x="74" y="134"/>
                  </a:lnTo>
                  <a:lnTo>
                    <a:pt x="75" y="134"/>
                  </a:lnTo>
                  <a:lnTo>
                    <a:pt x="74" y="137"/>
                  </a:lnTo>
                  <a:lnTo>
                    <a:pt x="72" y="137"/>
                  </a:lnTo>
                  <a:lnTo>
                    <a:pt x="71" y="140"/>
                  </a:lnTo>
                  <a:lnTo>
                    <a:pt x="68" y="140"/>
                  </a:lnTo>
                  <a:lnTo>
                    <a:pt x="67" y="140"/>
                  </a:lnTo>
                  <a:lnTo>
                    <a:pt x="67" y="141"/>
                  </a:lnTo>
                  <a:lnTo>
                    <a:pt x="65" y="143"/>
                  </a:lnTo>
                  <a:lnTo>
                    <a:pt x="64" y="143"/>
                  </a:lnTo>
                  <a:lnTo>
                    <a:pt x="65" y="144"/>
                  </a:lnTo>
                  <a:lnTo>
                    <a:pt x="65" y="145"/>
                  </a:lnTo>
                  <a:lnTo>
                    <a:pt x="61" y="145"/>
                  </a:lnTo>
                  <a:lnTo>
                    <a:pt x="60" y="147"/>
                  </a:lnTo>
                  <a:lnTo>
                    <a:pt x="61" y="148"/>
                  </a:lnTo>
                  <a:lnTo>
                    <a:pt x="63" y="149"/>
                  </a:lnTo>
                  <a:lnTo>
                    <a:pt x="61" y="149"/>
                  </a:lnTo>
                  <a:lnTo>
                    <a:pt x="60" y="152"/>
                  </a:lnTo>
                  <a:lnTo>
                    <a:pt x="59" y="152"/>
                  </a:lnTo>
                  <a:lnTo>
                    <a:pt x="59" y="149"/>
                  </a:lnTo>
                  <a:lnTo>
                    <a:pt x="57" y="149"/>
                  </a:lnTo>
                  <a:lnTo>
                    <a:pt x="56" y="151"/>
                  </a:lnTo>
                  <a:lnTo>
                    <a:pt x="54" y="151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3"/>
                  </a:lnTo>
                  <a:lnTo>
                    <a:pt x="54" y="155"/>
                  </a:lnTo>
                  <a:lnTo>
                    <a:pt x="52" y="155"/>
                  </a:lnTo>
                  <a:lnTo>
                    <a:pt x="50" y="156"/>
                  </a:lnTo>
                  <a:lnTo>
                    <a:pt x="50" y="157"/>
                  </a:lnTo>
                  <a:lnTo>
                    <a:pt x="49" y="159"/>
                  </a:lnTo>
                  <a:lnTo>
                    <a:pt x="49" y="160"/>
                  </a:lnTo>
                  <a:lnTo>
                    <a:pt x="49" y="163"/>
                  </a:lnTo>
                  <a:lnTo>
                    <a:pt x="48" y="164"/>
                  </a:lnTo>
                  <a:lnTo>
                    <a:pt x="45" y="166"/>
                  </a:lnTo>
                  <a:lnTo>
                    <a:pt x="46" y="167"/>
                  </a:lnTo>
                  <a:lnTo>
                    <a:pt x="48" y="166"/>
                  </a:lnTo>
                  <a:lnTo>
                    <a:pt x="49" y="166"/>
                  </a:lnTo>
                  <a:lnTo>
                    <a:pt x="49" y="167"/>
                  </a:lnTo>
                  <a:lnTo>
                    <a:pt x="48" y="167"/>
                  </a:lnTo>
                  <a:lnTo>
                    <a:pt x="48" y="170"/>
                  </a:lnTo>
                  <a:lnTo>
                    <a:pt x="49" y="171"/>
                  </a:lnTo>
                  <a:lnTo>
                    <a:pt x="52" y="170"/>
                  </a:lnTo>
                  <a:lnTo>
                    <a:pt x="54" y="170"/>
                  </a:lnTo>
                  <a:lnTo>
                    <a:pt x="57" y="166"/>
                  </a:lnTo>
                  <a:lnTo>
                    <a:pt x="57" y="164"/>
                  </a:lnTo>
                  <a:lnTo>
                    <a:pt x="56" y="164"/>
                  </a:lnTo>
                  <a:lnTo>
                    <a:pt x="57" y="163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60" y="159"/>
                  </a:lnTo>
                  <a:lnTo>
                    <a:pt x="61" y="159"/>
                  </a:lnTo>
                  <a:lnTo>
                    <a:pt x="63" y="159"/>
                  </a:lnTo>
                  <a:lnTo>
                    <a:pt x="60" y="162"/>
                  </a:lnTo>
                  <a:lnTo>
                    <a:pt x="60" y="163"/>
                  </a:lnTo>
                  <a:lnTo>
                    <a:pt x="63" y="164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7" y="170"/>
                  </a:lnTo>
                  <a:lnTo>
                    <a:pt x="59" y="170"/>
                  </a:lnTo>
                  <a:lnTo>
                    <a:pt x="57" y="171"/>
                  </a:lnTo>
                  <a:lnTo>
                    <a:pt x="57" y="174"/>
                  </a:lnTo>
                  <a:lnTo>
                    <a:pt x="56" y="174"/>
                  </a:lnTo>
                  <a:lnTo>
                    <a:pt x="54" y="172"/>
                  </a:lnTo>
                  <a:lnTo>
                    <a:pt x="52" y="172"/>
                  </a:lnTo>
                  <a:lnTo>
                    <a:pt x="50" y="174"/>
                  </a:lnTo>
                  <a:lnTo>
                    <a:pt x="50" y="175"/>
                  </a:lnTo>
                  <a:lnTo>
                    <a:pt x="48" y="176"/>
                  </a:lnTo>
                  <a:lnTo>
                    <a:pt x="46" y="176"/>
                  </a:lnTo>
                  <a:lnTo>
                    <a:pt x="48" y="175"/>
                  </a:lnTo>
                  <a:lnTo>
                    <a:pt x="49" y="175"/>
                  </a:lnTo>
                  <a:lnTo>
                    <a:pt x="48" y="172"/>
                  </a:lnTo>
                  <a:lnTo>
                    <a:pt x="48" y="171"/>
                  </a:lnTo>
                  <a:lnTo>
                    <a:pt x="46" y="168"/>
                  </a:lnTo>
                  <a:lnTo>
                    <a:pt x="44" y="168"/>
                  </a:lnTo>
                  <a:lnTo>
                    <a:pt x="44" y="170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4" y="171"/>
                  </a:lnTo>
                  <a:lnTo>
                    <a:pt x="41" y="174"/>
                  </a:lnTo>
                  <a:lnTo>
                    <a:pt x="40" y="174"/>
                  </a:lnTo>
                  <a:lnTo>
                    <a:pt x="37" y="174"/>
                  </a:lnTo>
                  <a:lnTo>
                    <a:pt x="35" y="175"/>
                  </a:lnTo>
                  <a:lnTo>
                    <a:pt x="37" y="176"/>
                  </a:lnTo>
                  <a:lnTo>
                    <a:pt x="38" y="175"/>
                  </a:lnTo>
                  <a:lnTo>
                    <a:pt x="38" y="176"/>
                  </a:lnTo>
                  <a:lnTo>
                    <a:pt x="35" y="178"/>
                  </a:lnTo>
                  <a:lnTo>
                    <a:pt x="35" y="179"/>
                  </a:lnTo>
                  <a:lnTo>
                    <a:pt x="34" y="178"/>
                  </a:lnTo>
                  <a:lnTo>
                    <a:pt x="33" y="178"/>
                  </a:lnTo>
                  <a:lnTo>
                    <a:pt x="31" y="179"/>
                  </a:lnTo>
                  <a:lnTo>
                    <a:pt x="34" y="181"/>
                  </a:lnTo>
                  <a:lnTo>
                    <a:pt x="37" y="181"/>
                  </a:lnTo>
                  <a:lnTo>
                    <a:pt x="37" y="182"/>
                  </a:lnTo>
                  <a:lnTo>
                    <a:pt x="38" y="182"/>
                  </a:lnTo>
                  <a:lnTo>
                    <a:pt x="38" y="183"/>
                  </a:lnTo>
                  <a:lnTo>
                    <a:pt x="35" y="183"/>
                  </a:lnTo>
                  <a:lnTo>
                    <a:pt x="35" y="182"/>
                  </a:lnTo>
                  <a:lnTo>
                    <a:pt x="33" y="182"/>
                  </a:lnTo>
                  <a:lnTo>
                    <a:pt x="31" y="179"/>
                  </a:lnTo>
                  <a:lnTo>
                    <a:pt x="30" y="178"/>
                  </a:lnTo>
                  <a:lnTo>
                    <a:pt x="30" y="178"/>
                  </a:lnTo>
                  <a:lnTo>
                    <a:pt x="29" y="181"/>
                  </a:lnTo>
                  <a:lnTo>
                    <a:pt x="31" y="183"/>
                  </a:lnTo>
                  <a:lnTo>
                    <a:pt x="34" y="185"/>
                  </a:lnTo>
                  <a:lnTo>
                    <a:pt x="35" y="185"/>
                  </a:lnTo>
                  <a:lnTo>
                    <a:pt x="37" y="186"/>
                  </a:lnTo>
                  <a:lnTo>
                    <a:pt x="34" y="186"/>
                  </a:lnTo>
                  <a:lnTo>
                    <a:pt x="31" y="185"/>
                  </a:lnTo>
                  <a:lnTo>
                    <a:pt x="29" y="182"/>
                  </a:lnTo>
                  <a:lnTo>
                    <a:pt x="27" y="182"/>
                  </a:lnTo>
                  <a:lnTo>
                    <a:pt x="25" y="181"/>
                  </a:lnTo>
                  <a:lnTo>
                    <a:pt x="23" y="181"/>
                  </a:lnTo>
                  <a:lnTo>
                    <a:pt x="22" y="179"/>
                  </a:lnTo>
                  <a:lnTo>
                    <a:pt x="20" y="181"/>
                  </a:lnTo>
                  <a:lnTo>
                    <a:pt x="20" y="182"/>
                  </a:lnTo>
                  <a:lnTo>
                    <a:pt x="19" y="183"/>
                  </a:lnTo>
                  <a:lnTo>
                    <a:pt x="22" y="186"/>
                  </a:lnTo>
                  <a:lnTo>
                    <a:pt x="25" y="185"/>
                  </a:lnTo>
                  <a:lnTo>
                    <a:pt x="26" y="185"/>
                  </a:lnTo>
                  <a:lnTo>
                    <a:pt x="25" y="186"/>
                  </a:lnTo>
                  <a:lnTo>
                    <a:pt x="25" y="187"/>
                  </a:lnTo>
                  <a:lnTo>
                    <a:pt x="27" y="186"/>
                  </a:lnTo>
                  <a:lnTo>
                    <a:pt x="29" y="186"/>
                  </a:lnTo>
                  <a:lnTo>
                    <a:pt x="29" y="187"/>
                  </a:lnTo>
                  <a:lnTo>
                    <a:pt x="25" y="189"/>
                  </a:lnTo>
                  <a:lnTo>
                    <a:pt x="23" y="190"/>
                  </a:lnTo>
                  <a:lnTo>
                    <a:pt x="22" y="190"/>
                  </a:lnTo>
                  <a:lnTo>
                    <a:pt x="19" y="187"/>
                  </a:lnTo>
                  <a:lnTo>
                    <a:pt x="19" y="187"/>
                  </a:lnTo>
                  <a:lnTo>
                    <a:pt x="18" y="187"/>
                  </a:lnTo>
                  <a:lnTo>
                    <a:pt x="16" y="186"/>
                  </a:lnTo>
                  <a:lnTo>
                    <a:pt x="15" y="187"/>
                  </a:lnTo>
                  <a:lnTo>
                    <a:pt x="14" y="186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6" y="189"/>
                  </a:lnTo>
                  <a:lnTo>
                    <a:pt x="18" y="190"/>
                  </a:lnTo>
                  <a:lnTo>
                    <a:pt x="20" y="193"/>
                  </a:lnTo>
                  <a:lnTo>
                    <a:pt x="20" y="194"/>
                  </a:lnTo>
                  <a:lnTo>
                    <a:pt x="20" y="196"/>
                  </a:lnTo>
                  <a:lnTo>
                    <a:pt x="19" y="197"/>
                  </a:lnTo>
                  <a:lnTo>
                    <a:pt x="19" y="196"/>
                  </a:lnTo>
                  <a:lnTo>
                    <a:pt x="19" y="193"/>
                  </a:lnTo>
                  <a:lnTo>
                    <a:pt x="16" y="191"/>
                  </a:lnTo>
                  <a:lnTo>
                    <a:pt x="15" y="193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12" y="193"/>
                  </a:lnTo>
                  <a:lnTo>
                    <a:pt x="10" y="196"/>
                  </a:lnTo>
                  <a:lnTo>
                    <a:pt x="12" y="197"/>
                  </a:lnTo>
                  <a:lnTo>
                    <a:pt x="11" y="197"/>
                  </a:lnTo>
                  <a:lnTo>
                    <a:pt x="10" y="198"/>
                  </a:lnTo>
                  <a:lnTo>
                    <a:pt x="8" y="196"/>
                  </a:lnTo>
                  <a:lnTo>
                    <a:pt x="6" y="196"/>
                  </a:lnTo>
                  <a:lnTo>
                    <a:pt x="7" y="198"/>
                  </a:lnTo>
                  <a:lnTo>
                    <a:pt x="6" y="198"/>
                  </a:lnTo>
                  <a:lnTo>
                    <a:pt x="4" y="197"/>
                  </a:lnTo>
                  <a:lnTo>
                    <a:pt x="3" y="194"/>
                  </a:lnTo>
                  <a:lnTo>
                    <a:pt x="1" y="196"/>
                  </a:lnTo>
                  <a:lnTo>
                    <a:pt x="1" y="197"/>
                  </a:lnTo>
                  <a:lnTo>
                    <a:pt x="4" y="198"/>
                  </a:lnTo>
                  <a:lnTo>
                    <a:pt x="3" y="200"/>
                  </a:lnTo>
                  <a:lnTo>
                    <a:pt x="4" y="201"/>
                  </a:lnTo>
                  <a:lnTo>
                    <a:pt x="7" y="200"/>
                  </a:lnTo>
                  <a:lnTo>
                    <a:pt x="10" y="201"/>
                  </a:lnTo>
                  <a:lnTo>
                    <a:pt x="12" y="202"/>
                  </a:lnTo>
                  <a:lnTo>
                    <a:pt x="15" y="202"/>
                  </a:lnTo>
                  <a:lnTo>
                    <a:pt x="16" y="201"/>
                  </a:lnTo>
                  <a:lnTo>
                    <a:pt x="18" y="201"/>
                  </a:lnTo>
                  <a:lnTo>
                    <a:pt x="16" y="204"/>
                  </a:lnTo>
                  <a:lnTo>
                    <a:pt x="14" y="202"/>
                  </a:lnTo>
                  <a:lnTo>
                    <a:pt x="12" y="204"/>
                  </a:lnTo>
                  <a:lnTo>
                    <a:pt x="8" y="202"/>
                  </a:lnTo>
                  <a:lnTo>
                    <a:pt x="6" y="202"/>
                  </a:lnTo>
                  <a:lnTo>
                    <a:pt x="6" y="202"/>
                  </a:lnTo>
                  <a:lnTo>
                    <a:pt x="3" y="204"/>
                  </a:lnTo>
                  <a:lnTo>
                    <a:pt x="0" y="204"/>
                  </a:lnTo>
                  <a:lnTo>
                    <a:pt x="0" y="205"/>
                  </a:lnTo>
                  <a:lnTo>
                    <a:pt x="4" y="206"/>
                  </a:lnTo>
                  <a:lnTo>
                    <a:pt x="3" y="208"/>
                  </a:lnTo>
                  <a:lnTo>
                    <a:pt x="4" y="208"/>
                  </a:lnTo>
                  <a:lnTo>
                    <a:pt x="6" y="208"/>
                  </a:lnTo>
                  <a:lnTo>
                    <a:pt x="10" y="208"/>
                  </a:lnTo>
                  <a:lnTo>
                    <a:pt x="7" y="209"/>
                  </a:lnTo>
                  <a:lnTo>
                    <a:pt x="4" y="209"/>
                  </a:lnTo>
                  <a:lnTo>
                    <a:pt x="3" y="209"/>
                  </a:lnTo>
                  <a:lnTo>
                    <a:pt x="1" y="209"/>
                  </a:lnTo>
                  <a:lnTo>
                    <a:pt x="1" y="210"/>
                  </a:lnTo>
                  <a:lnTo>
                    <a:pt x="3" y="210"/>
                  </a:lnTo>
                  <a:lnTo>
                    <a:pt x="4" y="210"/>
                  </a:lnTo>
                  <a:lnTo>
                    <a:pt x="3" y="212"/>
                  </a:lnTo>
                  <a:lnTo>
                    <a:pt x="1" y="212"/>
                  </a:lnTo>
                  <a:lnTo>
                    <a:pt x="1" y="213"/>
                  </a:lnTo>
                  <a:lnTo>
                    <a:pt x="3" y="215"/>
                  </a:lnTo>
                  <a:lnTo>
                    <a:pt x="4" y="216"/>
                  </a:lnTo>
                  <a:lnTo>
                    <a:pt x="7" y="215"/>
                  </a:lnTo>
                  <a:lnTo>
                    <a:pt x="8" y="215"/>
                  </a:lnTo>
                  <a:lnTo>
                    <a:pt x="11" y="213"/>
                  </a:lnTo>
                  <a:lnTo>
                    <a:pt x="14" y="215"/>
                  </a:lnTo>
                  <a:lnTo>
                    <a:pt x="15" y="215"/>
                  </a:lnTo>
                  <a:lnTo>
                    <a:pt x="16" y="213"/>
                  </a:lnTo>
                  <a:lnTo>
                    <a:pt x="16" y="212"/>
                  </a:lnTo>
                  <a:lnTo>
                    <a:pt x="18" y="212"/>
                  </a:lnTo>
                  <a:lnTo>
                    <a:pt x="18" y="213"/>
                  </a:lnTo>
                  <a:lnTo>
                    <a:pt x="20" y="213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3"/>
                  </a:lnTo>
                  <a:lnTo>
                    <a:pt x="22" y="213"/>
                  </a:lnTo>
                  <a:lnTo>
                    <a:pt x="25" y="215"/>
                  </a:lnTo>
                  <a:lnTo>
                    <a:pt x="26" y="213"/>
                  </a:lnTo>
                  <a:lnTo>
                    <a:pt x="25" y="212"/>
                  </a:lnTo>
                  <a:lnTo>
                    <a:pt x="26" y="209"/>
                  </a:lnTo>
                  <a:lnTo>
                    <a:pt x="26" y="212"/>
                  </a:lnTo>
                  <a:lnTo>
                    <a:pt x="27" y="213"/>
                  </a:lnTo>
                  <a:lnTo>
                    <a:pt x="26" y="215"/>
                  </a:lnTo>
                  <a:lnTo>
                    <a:pt x="23" y="216"/>
                  </a:lnTo>
                  <a:lnTo>
                    <a:pt x="22" y="217"/>
                  </a:lnTo>
                  <a:lnTo>
                    <a:pt x="23" y="217"/>
                  </a:lnTo>
                  <a:lnTo>
                    <a:pt x="22" y="220"/>
                  </a:lnTo>
                  <a:lnTo>
                    <a:pt x="19" y="220"/>
                  </a:lnTo>
                  <a:lnTo>
                    <a:pt x="19" y="219"/>
                  </a:lnTo>
                  <a:lnTo>
                    <a:pt x="20" y="217"/>
                  </a:lnTo>
                  <a:lnTo>
                    <a:pt x="20" y="216"/>
                  </a:lnTo>
                  <a:lnTo>
                    <a:pt x="18" y="215"/>
                  </a:lnTo>
                  <a:lnTo>
                    <a:pt x="15" y="217"/>
                  </a:lnTo>
                  <a:lnTo>
                    <a:pt x="15" y="219"/>
                  </a:lnTo>
                  <a:lnTo>
                    <a:pt x="14" y="216"/>
                  </a:lnTo>
                  <a:lnTo>
                    <a:pt x="11" y="216"/>
                  </a:lnTo>
                  <a:lnTo>
                    <a:pt x="10" y="216"/>
                  </a:lnTo>
                  <a:lnTo>
                    <a:pt x="7" y="216"/>
                  </a:lnTo>
                  <a:lnTo>
                    <a:pt x="4" y="217"/>
                  </a:lnTo>
                  <a:lnTo>
                    <a:pt x="3" y="217"/>
                  </a:lnTo>
                  <a:lnTo>
                    <a:pt x="1" y="216"/>
                  </a:lnTo>
                  <a:lnTo>
                    <a:pt x="1" y="216"/>
                  </a:lnTo>
                  <a:lnTo>
                    <a:pt x="1" y="219"/>
                  </a:lnTo>
                  <a:lnTo>
                    <a:pt x="1" y="220"/>
                  </a:lnTo>
                  <a:lnTo>
                    <a:pt x="3" y="221"/>
                  </a:lnTo>
                  <a:lnTo>
                    <a:pt x="4" y="220"/>
                  </a:lnTo>
                  <a:lnTo>
                    <a:pt x="6" y="219"/>
                  </a:lnTo>
                  <a:lnTo>
                    <a:pt x="7" y="219"/>
                  </a:lnTo>
                  <a:lnTo>
                    <a:pt x="4" y="221"/>
                  </a:lnTo>
                  <a:lnTo>
                    <a:pt x="6" y="223"/>
                  </a:lnTo>
                  <a:lnTo>
                    <a:pt x="4" y="224"/>
                  </a:lnTo>
                  <a:lnTo>
                    <a:pt x="3" y="223"/>
                  </a:lnTo>
                  <a:lnTo>
                    <a:pt x="3" y="225"/>
                  </a:lnTo>
                  <a:lnTo>
                    <a:pt x="4" y="227"/>
                  </a:lnTo>
                  <a:lnTo>
                    <a:pt x="8" y="223"/>
                  </a:lnTo>
                  <a:lnTo>
                    <a:pt x="10" y="224"/>
                  </a:lnTo>
                  <a:lnTo>
                    <a:pt x="10" y="224"/>
                  </a:lnTo>
                  <a:lnTo>
                    <a:pt x="10" y="227"/>
                  </a:lnTo>
                  <a:lnTo>
                    <a:pt x="7" y="228"/>
                  </a:lnTo>
                  <a:lnTo>
                    <a:pt x="7" y="230"/>
                  </a:lnTo>
                  <a:lnTo>
                    <a:pt x="8" y="230"/>
                  </a:lnTo>
                  <a:lnTo>
                    <a:pt x="8" y="231"/>
                  </a:lnTo>
                  <a:lnTo>
                    <a:pt x="10" y="232"/>
                  </a:lnTo>
                  <a:lnTo>
                    <a:pt x="8" y="235"/>
                  </a:lnTo>
                  <a:lnTo>
                    <a:pt x="10" y="235"/>
                  </a:lnTo>
                  <a:lnTo>
                    <a:pt x="11" y="232"/>
                  </a:lnTo>
                  <a:lnTo>
                    <a:pt x="12" y="231"/>
                  </a:lnTo>
                  <a:lnTo>
                    <a:pt x="12" y="228"/>
                  </a:lnTo>
                  <a:lnTo>
                    <a:pt x="16" y="227"/>
                  </a:lnTo>
                  <a:lnTo>
                    <a:pt x="19" y="227"/>
                  </a:lnTo>
                  <a:lnTo>
                    <a:pt x="20" y="227"/>
                  </a:lnTo>
                  <a:lnTo>
                    <a:pt x="19" y="228"/>
                  </a:lnTo>
                  <a:lnTo>
                    <a:pt x="18" y="230"/>
                  </a:lnTo>
                  <a:lnTo>
                    <a:pt x="18" y="232"/>
                  </a:lnTo>
                  <a:lnTo>
                    <a:pt x="18" y="234"/>
                  </a:lnTo>
                  <a:lnTo>
                    <a:pt x="16" y="232"/>
                  </a:lnTo>
                  <a:lnTo>
                    <a:pt x="16" y="230"/>
                  </a:lnTo>
                  <a:lnTo>
                    <a:pt x="15" y="230"/>
                  </a:lnTo>
                  <a:lnTo>
                    <a:pt x="14" y="232"/>
                  </a:lnTo>
                  <a:lnTo>
                    <a:pt x="12" y="232"/>
                  </a:lnTo>
                  <a:lnTo>
                    <a:pt x="14" y="234"/>
                  </a:lnTo>
                  <a:lnTo>
                    <a:pt x="12" y="236"/>
                  </a:lnTo>
                  <a:lnTo>
                    <a:pt x="11" y="236"/>
                  </a:lnTo>
                  <a:lnTo>
                    <a:pt x="10" y="238"/>
                  </a:lnTo>
                  <a:lnTo>
                    <a:pt x="11" y="238"/>
                  </a:lnTo>
                  <a:lnTo>
                    <a:pt x="15" y="238"/>
                  </a:lnTo>
                  <a:lnTo>
                    <a:pt x="15" y="239"/>
                  </a:lnTo>
                  <a:lnTo>
                    <a:pt x="12" y="239"/>
                  </a:lnTo>
                  <a:lnTo>
                    <a:pt x="12" y="240"/>
                  </a:lnTo>
                  <a:lnTo>
                    <a:pt x="12" y="243"/>
                  </a:lnTo>
                  <a:lnTo>
                    <a:pt x="10" y="240"/>
                  </a:lnTo>
                  <a:lnTo>
                    <a:pt x="8" y="242"/>
                  </a:lnTo>
                  <a:lnTo>
                    <a:pt x="8" y="243"/>
                  </a:lnTo>
                  <a:lnTo>
                    <a:pt x="7" y="242"/>
                  </a:lnTo>
                  <a:lnTo>
                    <a:pt x="6" y="242"/>
                  </a:lnTo>
                  <a:lnTo>
                    <a:pt x="4" y="244"/>
                  </a:lnTo>
                  <a:lnTo>
                    <a:pt x="4" y="247"/>
                  </a:lnTo>
                  <a:lnTo>
                    <a:pt x="8" y="250"/>
                  </a:lnTo>
                  <a:lnTo>
                    <a:pt x="8" y="249"/>
                  </a:lnTo>
                  <a:lnTo>
                    <a:pt x="10" y="249"/>
                  </a:lnTo>
                  <a:lnTo>
                    <a:pt x="11" y="249"/>
                  </a:lnTo>
                  <a:lnTo>
                    <a:pt x="11" y="247"/>
                  </a:lnTo>
                  <a:lnTo>
                    <a:pt x="11" y="244"/>
                  </a:lnTo>
                  <a:lnTo>
                    <a:pt x="14" y="247"/>
                  </a:lnTo>
                  <a:lnTo>
                    <a:pt x="12" y="247"/>
                  </a:lnTo>
                  <a:lnTo>
                    <a:pt x="14" y="249"/>
                  </a:lnTo>
                  <a:lnTo>
                    <a:pt x="14" y="251"/>
                  </a:lnTo>
                  <a:lnTo>
                    <a:pt x="12" y="253"/>
                  </a:lnTo>
                  <a:lnTo>
                    <a:pt x="14" y="255"/>
                  </a:lnTo>
                  <a:lnTo>
                    <a:pt x="15" y="254"/>
                  </a:lnTo>
                  <a:lnTo>
                    <a:pt x="18" y="254"/>
                  </a:lnTo>
                  <a:lnTo>
                    <a:pt x="19" y="255"/>
                  </a:lnTo>
                  <a:lnTo>
                    <a:pt x="16" y="255"/>
                  </a:lnTo>
                  <a:lnTo>
                    <a:pt x="15" y="257"/>
                  </a:lnTo>
                  <a:lnTo>
                    <a:pt x="16" y="258"/>
                  </a:lnTo>
                  <a:lnTo>
                    <a:pt x="16" y="259"/>
                  </a:lnTo>
                  <a:lnTo>
                    <a:pt x="12" y="255"/>
                  </a:lnTo>
                  <a:lnTo>
                    <a:pt x="11" y="257"/>
                  </a:lnTo>
                  <a:lnTo>
                    <a:pt x="10" y="255"/>
                  </a:lnTo>
                  <a:lnTo>
                    <a:pt x="7" y="255"/>
                  </a:lnTo>
                  <a:lnTo>
                    <a:pt x="7" y="257"/>
                  </a:lnTo>
                  <a:lnTo>
                    <a:pt x="6" y="258"/>
                  </a:lnTo>
                  <a:lnTo>
                    <a:pt x="8" y="263"/>
                  </a:lnTo>
                  <a:lnTo>
                    <a:pt x="11" y="263"/>
                  </a:lnTo>
                  <a:lnTo>
                    <a:pt x="15" y="266"/>
                  </a:lnTo>
                  <a:lnTo>
                    <a:pt x="19" y="269"/>
                  </a:lnTo>
                  <a:lnTo>
                    <a:pt x="19" y="270"/>
                  </a:lnTo>
                  <a:lnTo>
                    <a:pt x="18" y="270"/>
                  </a:lnTo>
                  <a:lnTo>
                    <a:pt x="20" y="272"/>
                  </a:lnTo>
                  <a:lnTo>
                    <a:pt x="22" y="272"/>
                  </a:lnTo>
                  <a:lnTo>
                    <a:pt x="20" y="269"/>
                  </a:lnTo>
                  <a:lnTo>
                    <a:pt x="22" y="269"/>
                  </a:lnTo>
                  <a:lnTo>
                    <a:pt x="23" y="270"/>
                  </a:lnTo>
                  <a:lnTo>
                    <a:pt x="23" y="270"/>
                  </a:lnTo>
                  <a:lnTo>
                    <a:pt x="26" y="273"/>
                  </a:lnTo>
                  <a:lnTo>
                    <a:pt x="27" y="272"/>
                  </a:lnTo>
                  <a:lnTo>
                    <a:pt x="27" y="273"/>
                  </a:lnTo>
                  <a:lnTo>
                    <a:pt x="30" y="272"/>
                  </a:lnTo>
                  <a:lnTo>
                    <a:pt x="33" y="269"/>
                  </a:lnTo>
                  <a:lnTo>
                    <a:pt x="33" y="269"/>
                  </a:lnTo>
                  <a:lnTo>
                    <a:pt x="34" y="268"/>
                  </a:lnTo>
                  <a:lnTo>
                    <a:pt x="35" y="269"/>
                  </a:lnTo>
                  <a:lnTo>
                    <a:pt x="35" y="270"/>
                  </a:lnTo>
                  <a:lnTo>
                    <a:pt x="37" y="270"/>
                  </a:lnTo>
                  <a:lnTo>
                    <a:pt x="41" y="266"/>
                  </a:lnTo>
                  <a:lnTo>
                    <a:pt x="41" y="265"/>
                  </a:lnTo>
                  <a:lnTo>
                    <a:pt x="40" y="262"/>
                  </a:lnTo>
                  <a:lnTo>
                    <a:pt x="42" y="265"/>
                  </a:lnTo>
                  <a:lnTo>
                    <a:pt x="45" y="262"/>
                  </a:lnTo>
                  <a:lnTo>
                    <a:pt x="44" y="261"/>
                  </a:lnTo>
                  <a:lnTo>
                    <a:pt x="45" y="259"/>
                  </a:lnTo>
                  <a:lnTo>
                    <a:pt x="45" y="258"/>
                  </a:lnTo>
                  <a:lnTo>
                    <a:pt x="46" y="257"/>
                  </a:lnTo>
                  <a:lnTo>
                    <a:pt x="49" y="257"/>
                  </a:lnTo>
                  <a:lnTo>
                    <a:pt x="49" y="255"/>
                  </a:lnTo>
                  <a:lnTo>
                    <a:pt x="48" y="253"/>
                  </a:lnTo>
                  <a:lnTo>
                    <a:pt x="48" y="251"/>
                  </a:lnTo>
                  <a:lnTo>
                    <a:pt x="46" y="250"/>
                  </a:lnTo>
                  <a:lnTo>
                    <a:pt x="45" y="249"/>
                  </a:lnTo>
                  <a:lnTo>
                    <a:pt x="45" y="246"/>
                  </a:lnTo>
                  <a:lnTo>
                    <a:pt x="46" y="247"/>
                  </a:lnTo>
                  <a:lnTo>
                    <a:pt x="48" y="249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50" y="254"/>
                  </a:lnTo>
                  <a:lnTo>
                    <a:pt x="50" y="255"/>
                  </a:lnTo>
                  <a:lnTo>
                    <a:pt x="52" y="257"/>
                  </a:lnTo>
                  <a:lnTo>
                    <a:pt x="54" y="255"/>
                  </a:lnTo>
                  <a:lnTo>
                    <a:pt x="53" y="254"/>
                  </a:lnTo>
                  <a:lnTo>
                    <a:pt x="52" y="253"/>
                  </a:lnTo>
                  <a:lnTo>
                    <a:pt x="53" y="251"/>
                  </a:lnTo>
                  <a:lnTo>
                    <a:pt x="54" y="254"/>
                  </a:lnTo>
                  <a:lnTo>
                    <a:pt x="54" y="254"/>
                  </a:lnTo>
                  <a:lnTo>
                    <a:pt x="59" y="251"/>
                  </a:lnTo>
                  <a:lnTo>
                    <a:pt x="59" y="249"/>
                  </a:lnTo>
                  <a:lnTo>
                    <a:pt x="59" y="247"/>
                  </a:lnTo>
                  <a:lnTo>
                    <a:pt x="57" y="246"/>
                  </a:lnTo>
                  <a:lnTo>
                    <a:pt x="56" y="244"/>
                  </a:lnTo>
                  <a:lnTo>
                    <a:pt x="57" y="244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2"/>
                  </a:lnTo>
                  <a:lnTo>
                    <a:pt x="57" y="240"/>
                  </a:lnTo>
                  <a:lnTo>
                    <a:pt x="59" y="238"/>
                  </a:lnTo>
                  <a:lnTo>
                    <a:pt x="60" y="236"/>
                  </a:lnTo>
                  <a:lnTo>
                    <a:pt x="61" y="239"/>
                  </a:lnTo>
                  <a:lnTo>
                    <a:pt x="60" y="240"/>
                  </a:lnTo>
                  <a:lnTo>
                    <a:pt x="60" y="243"/>
                  </a:lnTo>
                  <a:lnTo>
                    <a:pt x="60" y="246"/>
                  </a:lnTo>
                  <a:lnTo>
                    <a:pt x="61" y="247"/>
                  </a:lnTo>
                  <a:lnTo>
                    <a:pt x="61" y="249"/>
                  </a:lnTo>
                  <a:lnTo>
                    <a:pt x="64" y="251"/>
                  </a:lnTo>
                  <a:lnTo>
                    <a:pt x="67" y="251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8" y="254"/>
                  </a:lnTo>
                  <a:lnTo>
                    <a:pt x="69" y="257"/>
                  </a:lnTo>
                  <a:lnTo>
                    <a:pt x="71" y="254"/>
                  </a:lnTo>
                  <a:lnTo>
                    <a:pt x="71" y="247"/>
                  </a:lnTo>
                  <a:lnTo>
                    <a:pt x="69" y="243"/>
                  </a:lnTo>
                  <a:lnTo>
                    <a:pt x="69" y="242"/>
                  </a:lnTo>
                  <a:lnTo>
                    <a:pt x="72" y="240"/>
                  </a:lnTo>
                  <a:lnTo>
                    <a:pt x="71" y="239"/>
                  </a:lnTo>
                  <a:lnTo>
                    <a:pt x="71" y="238"/>
                  </a:lnTo>
                  <a:lnTo>
                    <a:pt x="75" y="236"/>
                  </a:lnTo>
                  <a:lnTo>
                    <a:pt x="76" y="235"/>
                  </a:lnTo>
                  <a:lnTo>
                    <a:pt x="76" y="232"/>
                  </a:lnTo>
                  <a:lnTo>
                    <a:pt x="78" y="230"/>
                  </a:lnTo>
                  <a:lnTo>
                    <a:pt x="76" y="227"/>
                  </a:lnTo>
                  <a:lnTo>
                    <a:pt x="75" y="221"/>
                  </a:lnTo>
                  <a:lnTo>
                    <a:pt x="72" y="217"/>
                  </a:lnTo>
                  <a:lnTo>
                    <a:pt x="72" y="215"/>
                  </a:lnTo>
                  <a:lnTo>
                    <a:pt x="78" y="213"/>
                  </a:lnTo>
                  <a:lnTo>
                    <a:pt x="78" y="209"/>
                  </a:lnTo>
                  <a:lnTo>
                    <a:pt x="79" y="206"/>
                  </a:lnTo>
                  <a:lnTo>
                    <a:pt x="75" y="202"/>
                  </a:lnTo>
                  <a:lnTo>
                    <a:pt x="72" y="201"/>
                  </a:lnTo>
                  <a:lnTo>
                    <a:pt x="72" y="197"/>
                  </a:lnTo>
                  <a:lnTo>
                    <a:pt x="72" y="191"/>
                  </a:lnTo>
                  <a:lnTo>
                    <a:pt x="72" y="187"/>
                  </a:lnTo>
                  <a:lnTo>
                    <a:pt x="71" y="185"/>
                  </a:lnTo>
                  <a:lnTo>
                    <a:pt x="72" y="181"/>
                  </a:lnTo>
                  <a:lnTo>
                    <a:pt x="71" y="174"/>
                  </a:lnTo>
                  <a:lnTo>
                    <a:pt x="69" y="168"/>
                  </a:lnTo>
                  <a:lnTo>
                    <a:pt x="71" y="163"/>
                  </a:lnTo>
                  <a:lnTo>
                    <a:pt x="74" y="159"/>
                  </a:lnTo>
                  <a:lnTo>
                    <a:pt x="76" y="157"/>
                  </a:lnTo>
                  <a:lnTo>
                    <a:pt x="79" y="157"/>
                  </a:lnTo>
                  <a:lnTo>
                    <a:pt x="83" y="157"/>
                  </a:lnTo>
                  <a:lnTo>
                    <a:pt x="84" y="155"/>
                  </a:lnTo>
                  <a:lnTo>
                    <a:pt x="84" y="151"/>
                  </a:lnTo>
                  <a:lnTo>
                    <a:pt x="83" y="149"/>
                  </a:lnTo>
                  <a:lnTo>
                    <a:pt x="83" y="147"/>
                  </a:lnTo>
                  <a:lnTo>
                    <a:pt x="87" y="136"/>
                  </a:lnTo>
                  <a:lnTo>
                    <a:pt x="88" y="130"/>
                  </a:lnTo>
                  <a:lnTo>
                    <a:pt x="88" y="125"/>
                  </a:lnTo>
                  <a:lnTo>
                    <a:pt x="90" y="122"/>
                  </a:lnTo>
                  <a:lnTo>
                    <a:pt x="90" y="119"/>
                  </a:lnTo>
                  <a:lnTo>
                    <a:pt x="88" y="118"/>
                  </a:lnTo>
                  <a:lnTo>
                    <a:pt x="88" y="115"/>
                  </a:lnTo>
                  <a:lnTo>
                    <a:pt x="93" y="113"/>
                  </a:lnTo>
                  <a:lnTo>
                    <a:pt x="97" y="113"/>
                  </a:lnTo>
                  <a:lnTo>
                    <a:pt x="98" y="110"/>
                  </a:lnTo>
                  <a:lnTo>
                    <a:pt x="98" y="109"/>
                  </a:lnTo>
                  <a:lnTo>
                    <a:pt x="102" y="103"/>
                  </a:lnTo>
                  <a:lnTo>
                    <a:pt x="105" y="98"/>
                  </a:lnTo>
                  <a:lnTo>
                    <a:pt x="106" y="95"/>
                  </a:lnTo>
                  <a:lnTo>
                    <a:pt x="105" y="92"/>
                  </a:lnTo>
                  <a:lnTo>
                    <a:pt x="103" y="91"/>
                  </a:lnTo>
                  <a:lnTo>
                    <a:pt x="103" y="85"/>
                  </a:lnTo>
                  <a:lnTo>
                    <a:pt x="105" y="84"/>
                  </a:lnTo>
                  <a:lnTo>
                    <a:pt x="106" y="83"/>
                  </a:lnTo>
                  <a:lnTo>
                    <a:pt x="106" y="79"/>
                  </a:lnTo>
                  <a:lnTo>
                    <a:pt x="109" y="79"/>
                  </a:lnTo>
                  <a:lnTo>
                    <a:pt x="110" y="75"/>
                  </a:lnTo>
                  <a:lnTo>
                    <a:pt x="113" y="73"/>
                  </a:lnTo>
                  <a:lnTo>
                    <a:pt x="116" y="75"/>
                  </a:lnTo>
                  <a:lnTo>
                    <a:pt x="116" y="75"/>
                  </a:lnTo>
                  <a:lnTo>
                    <a:pt x="118" y="75"/>
                  </a:lnTo>
                  <a:lnTo>
                    <a:pt x="120" y="73"/>
                  </a:lnTo>
                  <a:lnTo>
                    <a:pt x="118" y="70"/>
                  </a:lnTo>
                  <a:lnTo>
                    <a:pt x="120" y="69"/>
                  </a:lnTo>
                  <a:lnTo>
                    <a:pt x="120" y="68"/>
                  </a:lnTo>
                  <a:lnTo>
                    <a:pt x="120" y="66"/>
                  </a:lnTo>
                  <a:lnTo>
                    <a:pt x="118" y="64"/>
                  </a:lnTo>
                  <a:lnTo>
                    <a:pt x="120" y="64"/>
                  </a:lnTo>
                  <a:lnTo>
                    <a:pt x="122" y="64"/>
                  </a:lnTo>
                  <a:lnTo>
                    <a:pt x="125" y="62"/>
                  </a:lnTo>
                  <a:lnTo>
                    <a:pt x="129" y="64"/>
                  </a:lnTo>
                  <a:lnTo>
                    <a:pt x="132" y="65"/>
                  </a:lnTo>
                  <a:lnTo>
                    <a:pt x="135" y="65"/>
                  </a:lnTo>
                  <a:lnTo>
                    <a:pt x="136" y="66"/>
                  </a:lnTo>
                  <a:lnTo>
                    <a:pt x="137" y="66"/>
                  </a:lnTo>
                  <a:lnTo>
                    <a:pt x="137" y="66"/>
                  </a:lnTo>
                  <a:lnTo>
                    <a:pt x="137" y="64"/>
                  </a:lnTo>
                  <a:lnTo>
                    <a:pt x="137" y="62"/>
                  </a:lnTo>
                  <a:lnTo>
                    <a:pt x="137" y="58"/>
                  </a:lnTo>
                  <a:lnTo>
                    <a:pt x="139" y="57"/>
                  </a:lnTo>
                  <a:lnTo>
                    <a:pt x="139" y="54"/>
                  </a:lnTo>
                  <a:lnTo>
                    <a:pt x="136" y="54"/>
                  </a:lnTo>
                  <a:lnTo>
                    <a:pt x="136" y="51"/>
                  </a:lnTo>
                  <a:lnTo>
                    <a:pt x="139" y="51"/>
                  </a:lnTo>
                  <a:lnTo>
                    <a:pt x="142" y="51"/>
                  </a:lnTo>
                  <a:lnTo>
                    <a:pt x="143" y="51"/>
                  </a:lnTo>
                  <a:lnTo>
                    <a:pt x="143" y="51"/>
                  </a:lnTo>
                  <a:lnTo>
                    <a:pt x="143" y="50"/>
                  </a:lnTo>
                  <a:lnTo>
                    <a:pt x="144" y="51"/>
                  </a:lnTo>
                  <a:lnTo>
                    <a:pt x="144" y="50"/>
                  </a:lnTo>
                  <a:lnTo>
                    <a:pt x="144" y="49"/>
                  </a:lnTo>
                  <a:lnTo>
                    <a:pt x="144" y="46"/>
                  </a:lnTo>
                  <a:lnTo>
                    <a:pt x="146" y="45"/>
                  </a:lnTo>
                  <a:lnTo>
                    <a:pt x="148" y="46"/>
                  </a:lnTo>
                  <a:lnTo>
                    <a:pt x="150" y="49"/>
                  </a:lnTo>
                  <a:lnTo>
                    <a:pt x="155" y="53"/>
                  </a:lnTo>
                  <a:lnTo>
                    <a:pt x="156" y="54"/>
                  </a:lnTo>
                  <a:lnTo>
                    <a:pt x="158" y="57"/>
                  </a:lnTo>
                  <a:lnTo>
                    <a:pt x="161" y="58"/>
                  </a:lnTo>
                  <a:lnTo>
                    <a:pt x="166" y="58"/>
                  </a:lnTo>
                  <a:lnTo>
                    <a:pt x="170" y="56"/>
                  </a:lnTo>
                  <a:lnTo>
                    <a:pt x="171" y="54"/>
                  </a:lnTo>
                  <a:lnTo>
                    <a:pt x="174" y="54"/>
                  </a:lnTo>
                  <a:lnTo>
                    <a:pt x="177" y="57"/>
                  </a:lnTo>
                  <a:lnTo>
                    <a:pt x="180" y="57"/>
                  </a:lnTo>
                  <a:lnTo>
                    <a:pt x="181" y="56"/>
                  </a:lnTo>
                  <a:lnTo>
                    <a:pt x="182" y="54"/>
                  </a:lnTo>
                  <a:lnTo>
                    <a:pt x="185" y="53"/>
                  </a:lnTo>
                  <a:lnTo>
                    <a:pt x="186" y="53"/>
                  </a:lnTo>
                  <a:lnTo>
                    <a:pt x="189" y="51"/>
                  </a:lnTo>
                  <a:lnTo>
                    <a:pt x="189" y="50"/>
                  </a:lnTo>
                  <a:lnTo>
                    <a:pt x="189" y="47"/>
                  </a:lnTo>
                  <a:lnTo>
                    <a:pt x="188" y="45"/>
                  </a:lnTo>
                  <a:lnTo>
                    <a:pt x="188" y="38"/>
                  </a:lnTo>
                  <a:lnTo>
                    <a:pt x="189" y="36"/>
                  </a:lnTo>
                  <a:lnTo>
                    <a:pt x="188" y="35"/>
                  </a:lnTo>
                  <a:lnTo>
                    <a:pt x="189" y="34"/>
                  </a:lnTo>
                  <a:lnTo>
                    <a:pt x="192" y="31"/>
                  </a:lnTo>
                  <a:lnTo>
                    <a:pt x="190" y="30"/>
                  </a:lnTo>
                  <a:lnTo>
                    <a:pt x="193" y="28"/>
                  </a:lnTo>
                  <a:lnTo>
                    <a:pt x="196" y="30"/>
                  </a:lnTo>
                  <a:lnTo>
                    <a:pt x="199" y="28"/>
                  </a:lnTo>
                  <a:lnTo>
                    <a:pt x="199" y="28"/>
                  </a:lnTo>
                  <a:lnTo>
                    <a:pt x="200" y="26"/>
                  </a:lnTo>
                  <a:lnTo>
                    <a:pt x="205" y="26"/>
                  </a:lnTo>
                  <a:lnTo>
                    <a:pt x="207" y="27"/>
                  </a:lnTo>
                  <a:lnTo>
                    <a:pt x="210" y="31"/>
                  </a:lnTo>
                  <a:lnTo>
                    <a:pt x="212" y="32"/>
                  </a:lnTo>
                  <a:lnTo>
                    <a:pt x="214" y="34"/>
                  </a:lnTo>
                  <a:lnTo>
                    <a:pt x="218" y="34"/>
                  </a:lnTo>
                  <a:lnTo>
                    <a:pt x="219" y="35"/>
                  </a:lnTo>
                  <a:lnTo>
                    <a:pt x="222" y="38"/>
                  </a:lnTo>
                  <a:lnTo>
                    <a:pt x="220" y="41"/>
                  </a:lnTo>
                  <a:lnTo>
                    <a:pt x="219" y="43"/>
                  </a:lnTo>
                  <a:lnTo>
                    <a:pt x="219" y="49"/>
                  </a:lnTo>
                  <a:lnTo>
                    <a:pt x="219" y="4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4" name="Freeform 34"/>
            <p:cNvSpPr>
              <a:spLocks/>
            </p:cNvSpPr>
            <p:nvPr/>
          </p:nvSpPr>
          <p:spPr bwMode="auto">
            <a:xfrm>
              <a:off x="2077" y="1008"/>
              <a:ext cx="117" cy="264"/>
            </a:xfrm>
            <a:custGeom>
              <a:avLst/>
              <a:gdLst>
                <a:gd name="T0" fmla="*/ 4 w 117"/>
                <a:gd name="T1" fmla="*/ 192 h 264"/>
                <a:gd name="T2" fmla="*/ 11 w 117"/>
                <a:gd name="T3" fmla="*/ 184 h 264"/>
                <a:gd name="T4" fmla="*/ 7 w 117"/>
                <a:gd name="T5" fmla="*/ 164 h 264"/>
                <a:gd name="T6" fmla="*/ 7 w 117"/>
                <a:gd name="T7" fmla="*/ 146 h 264"/>
                <a:gd name="T8" fmla="*/ 4 w 117"/>
                <a:gd name="T9" fmla="*/ 117 h 264"/>
                <a:gd name="T10" fmla="*/ 19 w 117"/>
                <a:gd name="T11" fmla="*/ 104 h 264"/>
                <a:gd name="T12" fmla="*/ 23 w 117"/>
                <a:gd name="T13" fmla="*/ 74 h 264"/>
                <a:gd name="T14" fmla="*/ 32 w 117"/>
                <a:gd name="T15" fmla="*/ 62 h 264"/>
                <a:gd name="T16" fmla="*/ 40 w 117"/>
                <a:gd name="T17" fmla="*/ 41 h 264"/>
                <a:gd name="T18" fmla="*/ 44 w 117"/>
                <a:gd name="T19" fmla="*/ 28 h 264"/>
                <a:gd name="T20" fmla="*/ 55 w 117"/>
                <a:gd name="T21" fmla="*/ 22 h 264"/>
                <a:gd name="T22" fmla="*/ 55 w 117"/>
                <a:gd name="T23" fmla="*/ 13 h 264"/>
                <a:gd name="T24" fmla="*/ 71 w 117"/>
                <a:gd name="T25" fmla="*/ 15 h 264"/>
                <a:gd name="T26" fmla="*/ 74 w 117"/>
                <a:gd name="T27" fmla="*/ 6 h 264"/>
                <a:gd name="T28" fmla="*/ 78 w 117"/>
                <a:gd name="T29" fmla="*/ 0 h 264"/>
                <a:gd name="T30" fmla="*/ 96 w 117"/>
                <a:gd name="T31" fmla="*/ 13 h 264"/>
                <a:gd name="T32" fmla="*/ 105 w 117"/>
                <a:gd name="T33" fmla="*/ 21 h 264"/>
                <a:gd name="T34" fmla="*/ 106 w 117"/>
                <a:gd name="T35" fmla="*/ 33 h 264"/>
                <a:gd name="T36" fmla="*/ 112 w 117"/>
                <a:gd name="T37" fmla="*/ 47 h 264"/>
                <a:gd name="T38" fmla="*/ 115 w 117"/>
                <a:gd name="T39" fmla="*/ 60 h 264"/>
                <a:gd name="T40" fmla="*/ 113 w 117"/>
                <a:gd name="T41" fmla="*/ 70 h 264"/>
                <a:gd name="T42" fmla="*/ 104 w 117"/>
                <a:gd name="T43" fmla="*/ 68 h 264"/>
                <a:gd name="T44" fmla="*/ 97 w 117"/>
                <a:gd name="T45" fmla="*/ 74 h 264"/>
                <a:gd name="T46" fmla="*/ 93 w 117"/>
                <a:gd name="T47" fmla="*/ 77 h 264"/>
                <a:gd name="T48" fmla="*/ 90 w 117"/>
                <a:gd name="T49" fmla="*/ 79 h 264"/>
                <a:gd name="T50" fmla="*/ 91 w 117"/>
                <a:gd name="T51" fmla="*/ 89 h 264"/>
                <a:gd name="T52" fmla="*/ 91 w 117"/>
                <a:gd name="T53" fmla="*/ 96 h 264"/>
                <a:gd name="T54" fmla="*/ 90 w 117"/>
                <a:gd name="T55" fmla="*/ 105 h 264"/>
                <a:gd name="T56" fmla="*/ 83 w 117"/>
                <a:gd name="T57" fmla="*/ 115 h 264"/>
                <a:gd name="T58" fmla="*/ 75 w 117"/>
                <a:gd name="T59" fmla="*/ 119 h 264"/>
                <a:gd name="T60" fmla="*/ 70 w 117"/>
                <a:gd name="T61" fmla="*/ 124 h 264"/>
                <a:gd name="T62" fmla="*/ 64 w 117"/>
                <a:gd name="T63" fmla="*/ 131 h 264"/>
                <a:gd name="T64" fmla="*/ 55 w 117"/>
                <a:gd name="T65" fmla="*/ 136 h 264"/>
                <a:gd name="T66" fmla="*/ 59 w 117"/>
                <a:gd name="T67" fmla="*/ 151 h 264"/>
                <a:gd name="T68" fmla="*/ 57 w 117"/>
                <a:gd name="T69" fmla="*/ 159 h 264"/>
                <a:gd name="T70" fmla="*/ 59 w 117"/>
                <a:gd name="T71" fmla="*/ 169 h 264"/>
                <a:gd name="T72" fmla="*/ 67 w 117"/>
                <a:gd name="T73" fmla="*/ 172 h 264"/>
                <a:gd name="T74" fmla="*/ 77 w 117"/>
                <a:gd name="T75" fmla="*/ 185 h 264"/>
                <a:gd name="T76" fmla="*/ 66 w 117"/>
                <a:gd name="T77" fmla="*/ 192 h 264"/>
                <a:gd name="T78" fmla="*/ 57 w 117"/>
                <a:gd name="T79" fmla="*/ 191 h 264"/>
                <a:gd name="T80" fmla="*/ 49 w 117"/>
                <a:gd name="T81" fmla="*/ 193 h 264"/>
                <a:gd name="T82" fmla="*/ 59 w 117"/>
                <a:gd name="T83" fmla="*/ 195 h 264"/>
                <a:gd name="T84" fmla="*/ 70 w 117"/>
                <a:gd name="T85" fmla="*/ 196 h 264"/>
                <a:gd name="T86" fmla="*/ 66 w 117"/>
                <a:gd name="T87" fmla="*/ 204 h 264"/>
                <a:gd name="T88" fmla="*/ 62 w 117"/>
                <a:gd name="T89" fmla="*/ 206 h 264"/>
                <a:gd name="T90" fmla="*/ 56 w 117"/>
                <a:gd name="T91" fmla="*/ 208 h 264"/>
                <a:gd name="T92" fmla="*/ 59 w 117"/>
                <a:gd name="T93" fmla="*/ 215 h 264"/>
                <a:gd name="T94" fmla="*/ 55 w 117"/>
                <a:gd name="T95" fmla="*/ 225 h 264"/>
                <a:gd name="T96" fmla="*/ 57 w 117"/>
                <a:gd name="T97" fmla="*/ 237 h 264"/>
                <a:gd name="T98" fmla="*/ 49 w 117"/>
                <a:gd name="T99" fmla="*/ 252 h 264"/>
                <a:gd name="T100" fmla="*/ 34 w 117"/>
                <a:gd name="T101" fmla="*/ 255 h 264"/>
                <a:gd name="T102" fmla="*/ 23 w 117"/>
                <a:gd name="T103" fmla="*/ 264 h 264"/>
                <a:gd name="T104" fmla="*/ 18 w 117"/>
                <a:gd name="T105" fmla="*/ 253 h 264"/>
                <a:gd name="T106" fmla="*/ 18 w 117"/>
                <a:gd name="T107" fmla="*/ 245 h 264"/>
                <a:gd name="T108" fmla="*/ 10 w 117"/>
                <a:gd name="T109" fmla="*/ 232 h 264"/>
                <a:gd name="T110" fmla="*/ 6 w 117"/>
                <a:gd name="T111" fmla="*/ 221 h 264"/>
                <a:gd name="T112" fmla="*/ 4 w 117"/>
                <a:gd name="T113" fmla="*/ 214 h 264"/>
                <a:gd name="T114" fmla="*/ 2 w 117"/>
                <a:gd name="T115" fmla="*/ 214 h 264"/>
                <a:gd name="T116" fmla="*/ 2 w 117"/>
                <a:gd name="T117" fmla="*/ 20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7" h="264">
                  <a:moveTo>
                    <a:pt x="2" y="202"/>
                  </a:moveTo>
                  <a:lnTo>
                    <a:pt x="3" y="203"/>
                  </a:lnTo>
                  <a:lnTo>
                    <a:pt x="4" y="206"/>
                  </a:lnTo>
                  <a:lnTo>
                    <a:pt x="6" y="203"/>
                  </a:lnTo>
                  <a:lnTo>
                    <a:pt x="6" y="196"/>
                  </a:lnTo>
                  <a:lnTo>
                    <a:pt x="4" y="192"/>
                  </a:lnTo>
                  <a:lnTo>
                    <a:pt x="4" y="191"/>
                  </a:lnTo>
                  <a:lnTo>
                    <a:pt x="7" y="189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10" y="185"/>
                  </a:lnTo>
                  <a:lnTo>
                    <a:pt x="11" y="184"/>
                  </a:lnTo>
                  <a:lnTo>
                    <a:pt x="11" y="181"/>
                  </a:lnTo>
                  <a:lnTo>
                    <a:pt x="13" y="179"/>
                  </a:lnTo>
                  <a:lnTo>
                    <a:pt x="11" y="176"/>
                  </a:lnTo>
                  <a:lnTo>
                    <a:pt x="10" y="170"/>
                  </a:lnTo>
                  <a:lnTo>
                    <a:pt x="7" y="166"/>
                  </a:lnTo>
                  <a:lnTo>
                    <a:pt x="7" y="164"/>
                  </a:lnTo>
                  <a:lnTo>
                    <a:pt x="13" y="162"/>
                  </a:lnTo>
                  <a:lnTo>
                    <a:pt x="13" y="158"/>
                  </a:lnTo>
                  <a:lnTo>
                    <a:pt x="14" y="155"/>
                  </a:lnTo>
                  <a:lnTo>
                    <a:pt x="10" y="151"/>
                  </a:lnTo>
                  <a:lnTo>
                    <a:pt x="7" y="150"/>
                  </a:lnTo>
                  <a:lnTo>
                    <a:pt x="7" y="146"/>
                  </a:lnTo>
                  <a:lnTo>
                    <a:pt x="7" y="140"/>
                  </a:lnTo>
                  <a:lnTo>
                    <a:pt x="7" y="136"/>
                  </a:lnTo>
                  <a:lnTo>
                    <a:pt x="6" y="134"/>
                  </a:lnTo>
                  <a:lnTo>
                    <a:pt x="7" y="130"/>
                  </a:lnTo>
                  <a:lnTo>
                    <a:pt x="6" y="123"/>
                  </a:lnTo>
                  <a:lnTo>
                    <a:pt x="4" y="117"/>
                  </a:lnTo>
                  <a:lnTo>
                    <a:pt x="6" y="112"/>
                  </a:lnTo>
                  <a:lnTo>
                    <a:pt x="9" y="108"/>
                  </a:lnTo>
                  <a:lnTo>
                    <a:pt x="11" y="106"/>
                  </a:lnTo>
                  <a:lnTo>
                    <a:pt x="14" y="106"/>
                  </a:lnTo>
                  <a:lnTo>
                    <a:pt x="18" y="106"/>
                  </a:lnTo>
                  <a:lnTo>
                    <a:pt x="19" y="104"/>
                  </a:lnTo>
                  <a:lnTo>
                    <a:pt x="19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22" y="85"/>
                  </a:lnTo>
                  <a:lnTo>
                    <a:pt x="23" y="79"/>
                  </a:lnTo>
                  <a:lnTo>
                    <a:pt x="23" y="74"/>
                  </a:lnTo>
                  <a:lnTo>
                    <a:pt x="25" y="71"/>
                  </a:lnTo>
                  <a:lnTo>
                    <a:pt x="25" y="68"/>
                  </a:lnTo>
                  <a:lnTo>
                    <a:pt x="23" y="67"/>
                  </a:lnTo>
                  <a:lnTo>
                    <a:pt x="23" y="64"/>
                  </a:lnTo>
                  <a:lnTo>
                    <a:pt x="28" y="62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8"/>
                  </a:lnTo>
                  <a:lnTo>
                    <a:pt x="37" y="52"/>
                  </a:lnTo>
                  <a:lnTo>
                    <a:pt x="40" y="47"/>
                  </a:lnTo>
                  <a:lnTo>
                    <a:pt x="41" y="44"/>
                  </a:lnTo>
                  <a:lnTo>
                    <a:pt x="40" y="41"/>
                  </a:lnTo>
                  <a:lnTo>
                    <a:pt x="38" y="40"/>
                  </a:lnTo>
                  <a:lnTo>
                    <a:pt x="38" y="34"/>
                  </a:lnTo>
                  <a:lnTo>
                    <a:pt x="40" y="33"/>
                  </a:lnTo>
                  <a:lnTo>
                    <a:pt x="41" y="32"/>
                  </a:lnTo>
                  <a:lnTo>
                    <a:pt x="41" y="28"/>
                  </a:lnTo>
                  <a:lnTo>
                    <a:pt x="44" y="28"/>
                  </a:lnTo>
                  <a:lnTo>
                    <a:pt x="45" y="24"/>
                  </a:lnTo>
                  <a:lnTo>
                    <a:pt x="48" y="22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3" y="24"/>
                  </a:lnTo>
                  <a:lnTo>
                    <a:pt x="55" y="22"/>
                  </a:lnTo>
                  <a:lnTo>
                    <a:pt x="53" y="19"/>
                  </a:lnTo>
                  <a:lnTo>
                    <a:pt x="55" y="18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3" y="13"/>
                  </a:lnTo>
                  <a:lnTo>
                    <a:pt x="55" y="13"/>
                  </a:lnTo>
                  <a:lnTo>
                    <a:pt x="57" y="13"/>
                  </a:lnTo>
                  <a:lnTo>
                    <a:pt x="60" y="11"/>
                  </a:lnTo>
                  <a:lnTo>
                    <a:pt x="64" y="13"/>
                  </a:lnTo>
                  <a:lnTo>
                    <a:pt x="67" y="14"/>
                  </a:lnTo>
                  <a:lnTo>
                    <a:pt x="70" y="14"/>
                  </a:lnTo>
                  <a:lnTo>
                    <a:pt x="71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2" y="11"/>
                  </a:lnTo>
                  <a:lnTo>
                    <a:pt x="72" y="7"/>
                  </a:lnTo>
                  <a:lnTo>
                    <a:pt x="74" y="6"/>
                  </a:lnTo>
                  <a:lnTo>
                    <a:pt x="74" y="3"/>
                  </a:lnTo>
                  <a:lnTo>
                    <a:pt x="71" y="3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9" y="2"/>
                  </a:lnTo>
                  <a:lnTo>
                    <a:pt x="82" y="5"/>
                  </a:lnTo>
                  <a:lnTo>
                    <a:pt x="86" y="9"/>
                  </a:lnTo>
                  <a:lnTo>
                    <a:pt x="90" y="11"/>
                  </a:lnTo>
                  <a:lnTo>
                    <a:pt x="94" y="11"/>
                  </a:lnTo>
                  <a:lnTo>
                    <a:pt x="96" y="13"/>
                  </a:lnTo>
                  <a:lnTo>
                    <a:pt x="97" y="13"/>
                  </a:lnTo>
                  <a:lnTo>
                    <a:pt x="100" y="15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5" y="21"/>
                  </a:lnTo>
                  <a:lnTo>
                    <a:pt x="106" y="21"/>
                  </a:lnTo>
                  <a:lnTo>
                    <a:pt x="108" y="22"/>
                  </a:lnTo>
                  <a:lnTo>
                    <a:pt x="106" y="25"/>
                  </a:lnTo>
                  <a:lnTo>
                    <a:pt x="106" y="28"/>
                  </a:lnTo>
                  <a:lnTo>
                    <a:pt x="106" y="30"/>
                  </a:lnTo>
                  <a:lnTo>
                    <a:pt x="106" y="33"/>
                  </a:lnTo>
                  <a:lnTo>
                    <a:pt x="109" y="33"/>
                  </a:lnTo>
                  <a:lnTo>
                    <a:pt x="111" y="36"/>
                  </a:lnTo>
                  <a:lnTo>
                    <a:pt x="109" y="37"/>
                  </a:lnTo>
                  <a:lnTo>
                    <a:pt x="109" y="41"/>
                  </a:lnTo>
                  <a:lnTo>
                    <a:pt x="111" y="43"/>
                  </a:lnTo>
                  <a:lnTo>
                    <a:pt x="112" y="47"/>
                  </a:lnTo>
                  <a:lnTo>
                    <a:pt x="111" y="48"/>
                  </a:lnTo>
                  <a:lnTo>
                    <a:pt x="112" y="51"/>
                  </a:lnTo>
                  <a:lnTo>
                    <a:pt x="112" y="55"/>
                  </a:lnTo>
                  <a:lnTo>
                    <a:pt x="111" y="56"/>
                  </a:lnTo>
                  <a:lnTo>
                    <a:pt x="112" y="60"/>
                  </a:lnTo>
                  <a:lnTo>
                    <a:pt x="115" y="60"/>
                  </a:lnTo>
                  <a:lnTo>
                    <a:pt x="116" y="66"/>
                  </a:lnTo>
                  <a:lnTo>
                    <a:pt x="117" y="67"/>
                  </a:lnTo>
                  <a:lnTo>
                    <a:pt x="117" y="70"/>
                  </a:lnTo>
                  <a:lnTo>
                    <a:pt x="117" y="68"/>
                  </a:lnTo>
                  <a:lnTo>
                    <a:pt x="116" y="70"/>
                  </a:lnTo>
                  <a:lnTo>
                    <a:pt x="113" y="70"/>
                  </a:lnTo>
                  <a:lnTo>
                    <a:pt x="112" y="68"/>
                  </a:lnTo>
                  <a:lnTo>
                    <a:pt x="109" y="70"/>
                  </a:lnTo>
                  <a:lnTo>
                    <a:pt x="108" y="68"/>
                  </a:lnTo>
                  <a:lnTo>
                    <a:pt x="106" y="71"/>
                  </a:lnTo>
                  <a:lnTo>
                    <a:pt x="105" y="70"/>
                  </a:lnTo>
                  <a:lnTo>
                    <a:pt x="104" y="68"/>
                  </a:lnTo>
                  <a:lnTo>
                    <a:pt x="102" y="71"/>
                  </a:lnTo>
                  <a:lnTo>
                    <a:pt x="101" y="68"/>
                  </a:lnTo>
                  <a:lnTo>
                    <a:pt x="100" y="68"/>
                  </a:lnTo>
                  <a:lnTo>
                    <a:pt x="98" y="71"/>
                  </a:lnTo>
                  <a:lnTo>
                    <a:pt x="98" y="72"/>
                  </a:lnTo>
                  <a:lnTo>
                    <a:pt x="97" y="74"/>
                  </a:lnTo>
                  <a:lnTo>
                    <a:pt x="96" y="72"/>
                  </a:lnTo>
                  <a:lnTo>
                    <a:pt x="94" y="71"/>
                  </a:lnTo>
                  <a:lnTo>
                    <a:pt x="96" y="74"/>
                  </a:lnTo>
                  <a:lnTo>
                    <a:pt x="97" y="75"/>
                  </a:lnTo>
                  <a:lnTo>
                    <a:pt x="94" y="77"/>
                  </a:lnTo>
                  <a:lnTo>
                    <a:pt x="93" y="77"/>
                  </a:lnTo>
                  <a:lnTo>
                    <a:pt x="91" y="78"/>
                  </a:lnTo>
                  <a:lnTo>
                    <a:pt x="93" y="79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1" y="79"/>
                  </a:lnTo>
                  <a:lnTo>
                    <a:pt x="90" y="79"/>
                  </a:lnTo>
                  <a:lnTo>
                    <a:pt x="90" y="81"/>
                  </a:lnTo>
                  <a:lnTo>
                    <a:pt x="90" y="82"/>
                  </a:lnTo>
                  <a:lnTo>
                    <a:pt x="91" y="82"/>
                  </a:lnTo>
                  <a:lnTo>
                    <a:pt x="93" y="83"/>
                  </a:lnTo>
                  <a:lnTo>
                    <a:pt x="93" y="85"/>
                  </a:lnTo>
                  <a:lnTo>
                    <a:pt x="91" y="89"/>
                  </a:lnTo>
                  <a:lnTo>
                    <a:pt x="91" y="90"/>
                  </a:lnTo>
                  <a:lnTo>
                    <a:pt x="89" y="90"/>
                  </a:lnTo>
                  <a:lnTo>
                    <a:pt x="91" y="93"/>
                  </a:lnTo>
                  <a:lnTo>
                    <a:pt x="93" y="93"/>
                  </a:lnTo>
                  <a:lnTo>
                    <a:pt x="94" y="94"/>
                  </a:lnTo>
                  <a:lnTo>
                    <a:pt x="91" y="96"/>
                  </a:lnTo>
                  <a:lnTo>
                    <a:pt x="93" y="97"/>
                  </a:lnTo>
                  <a:lnTo>
                    <a:pt x="96" y="97"/>
                  </a:lnTo>
                  <a:lnTo>
                    <a:pt x="93" y="100"/>
                  </a:lnTo>
                  <a:lnTo>
                    <a:pt x="91" y="100"/>
                  </a:lnTo>
                  <a:lnTo>
                    <a:pt x="90" y="102"/>
                  </a:lnTo>
                  <a:lnTo>
                    <a:pt x="90" y="105"/>
                  </a:lnTo>
                  <a:lnTo>
                    <a:pt x="87" y="109"/>
                  </a:lnTo>
                  <a:lnTo>
                    <a:pt x="86" y="109"/>
                  </a:lnTo>
                  <a:lnTo>
                    <a:pt x="83" y="112"/>
                  </a:lnTo>
                  <a:lnTo>
                    <a:pt x="82" y="111"/>
                  </a:lnTo>
                  <a:lnTo>
                    <a:pt x="82" y="112"/>
                  </a:lnTo>
                  <a:lnTo>
                    <a:pt x="83" y="115"/>
                  </a:lnTo>
                  <a:lnTo>
                    <a:pt x="81" y="116"/>
                  </a:lnTo>
                  <a:lnTo>
                    <a:pt x="79" y="119"/>
                  </a:lnTo>
                  <a:lnTo>
                    <a:pt x="78" y="119"/>
                  </a:lnTo>
                  <a:lnTo>
                    <a:pt x="78" y="116"/>
                  </a:lnTo>
                  <a:lnTo>
                    <a:pt x="75" y="116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2" y="123"/>
                  </a:lnTo>
                  <a:lnTo>
                    <a:pt x="72" y="121"/>
                  </a:lnTo>
                  <a:lnTo>
                    <a:pt x="71" y="121"/>
                  </a:lnTo>
                  <a:lnTo>
                    <a:pt x="71" y="124"/>
                  </a:lnTo>
                  <a:lnTo>
                    <a:pt x="70" y="124"/>
                  </a:lnTo>
                  <a:lnTo>
                    <a:pt x="68" y="123"/>
                  </a:lnTo>
                  <a:lnTo>
                    <a:pt x="67" y="124"/>
                  </a:lnTo>
                  <a:lnTo>
                    <a:pt x="66" y="127"/>
                  </a:lnTo>
                  <a:lnTo>
                    <a:pt x="67" y="127"/>
                  </a:lnTo>
                  <a:lnTo>
                    <a:pt x="67" y="128"/>
                  </a:lnTo>
                  <a:lnTo>
                    <a:pt x="64" y="131"/>
                  </a:lnTo>
                  <a:lnTo>
                    <a:pt x="63" y="131"/>
                  </a:lnTo>
                  <a:lnTo>
                    <a:pt x="62" y="132"/>
                  </a:lnTo>
                  <a:lnTo>
                    <a:pt x="63" y="134"/>
                  </a:lnTo>
                  <a:lnTo>
                    <a:pt x="60" y="136"/>
                  </a:lnTo>
                  <a:lnTo>
                    <a:pt x="57" y="138"/>
                  </a:lnTo>
                  <a:lnTo>
                    <a:pt x="55" y="136"/>
                  </a:lnTo>
                  <a:lnTo>
                    <a:pt x="57" y="140"/>
                  </a:lnTo>
                  <a:lnTo>
                    <a:pt x="59" y="143"/>
                  </a:lnTo>
                  <a:lnTo>
                    <a:pt x="57" y="143"/>
                  </a:lnTo>
                  <a:lnTo>
                    <a:pt x="59" y="146"/>
                  </a:lnTo>
                  <a:lnTo>
                    <a:pt x="57" y="150"/>
                  </a:lnTo>
                  <a:lnTo>
                    <a:pt x="59" y="151"/>
                  </a:lnTo>
                  <a:lnTo>
                    <a:pt x="59" y="154"/>
                  </a:lnTo>
                  <a:lnTo>
                    <a:pt x="57" y="153"/>
                  </a:lnTo>
                  <a:lnTo>
                    <a:pt x="57" y="153"/>
                  </a:lnTo>
                  <a:lnTo>
                    <a:pt x="57" y="157"/>
                  </a:lnTo>
                  <a:lnTo>
                    <a:pt x="56" y="159"/>
                  </a:lnTo>
                  <a:lnTo>
                    <a:pt x="57" y="159"/>
                  </a:lnTo>
                  <a:lnTo>
                    <a:pt x="57" y="161"/>
                  </a:lnTo>
                  <a:lnTo>
                    <a:pt x="56" y="162"/>
                  </a:lnTo>
                  <a:lnTo>
                    <a:pt x="57" y="165"/>
                  </a:lnTo>
                  <a:lnTo>
                    <a:pt x="56" y="166"/>
                  </a:lnTo>
                  <a:lnTo>
                    <a:pt x="57" y="168"/>
                  </a:lnTo>
                  <a:lnTo>
                    <a:pt x="59" y="169"/>
                  </a:lnTo>
                  <a:lnTo>
                    <a:pt x="60" y="170"/>
                  </a:lnTo>
                  <a:lnTo>
                    <a:pt x="60" y="172"/>
                  </a:lnTo>
                  <a:lnTo>
                    <a:pt x="62" y="172"/>
                  </a:lnTo>
                  <a:lnTo>
                    <a:pt x="63" y="173"/>
                  </a:lnTo>
                  <a:lnTo>
                    <a:pt x="64" y="170"/>
                  </a:lnTo>
                  <a:lnTo>
                    <a:pt x="67" y="172"/>
                  </a:lnTo>
                  <a:lnTo>
                    <a:pt x="67" y="174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4" y="181"/>
                  </a:lnTo>
                  <a:lnTo>
                    <a:pt x="74" y="183"/>
                  </a:lnTo>
                  <a:lnTo>
                    <a:pt x="77" y="185"/>
                  </a:lnTo>
                  <a:lnTo>
                    <a:pt x="75" y="188"/>
                  </a:lnTo>
                  <a:lnTo>
                    <a:pt x="72" y="192"/>
                  </a:lnTo>
                  <a:lnTo>
                    <a:pt x="71" y="193"/>
                  </a:lnTo>
                  <a:lnTo>
                    <a:pt x="68" y="195"/>
                  </a:lnTo>
                  <a:lnTo>
                    <a:pt x="66" y="193"/>
                  </a:lnTo>
                  <a:lnTo>
                    <a:pt x="66" y="192"/>
                  </a:lnTo>
                  <a:lnTo>
                    <a:pt x="63" y="191"/>
                  </a:lnTo>
                  <a:lnTo>
                    <a:pt x="63" y="191"/>
                  </a:lnTo>
                  <a:lnTo>
                    <a:pt x="63" y="192"/>
                  </a:lnTo>
                  <a:lnTo>
                    <a:pt x="62" y="192"/>
                  </a:lnTo>
                  <a:lnTo>
                    <a:pt x="60" y="191"/>
                  </a:lnTo>
                  <a:lnTo>
                    <a:pt x="57" y="191"/>
                  </a:lnTo>
                  <a:lnTo>
                    <a:pt x="57" y="192"/>
                  </a:lnTo>
                  <a:lnTo>
                    <a:pt x="55" y="192"/>
                  </a:lnTo>
                  <a:lnTo>
                    <a:pt x="55" y="191"/>
                  </a:lnTo>
                  <a:lnTo>
                    <a:pt x="52" y="193"/>
                  </a:lnTo>
                  <a:lnTo>
                    <a:pt x="51" y="192"/>
                  </a:lnTo>
                  <a:lnTo>
                    <a:pt x="49" y="193"/>
                  </a:lnTo>
                  <a:lnTo>
                    <a:pt x="49" y="193"/>
                  </a:lnTo>
                  <a:lnTo>
                    <a:pt x="52" y="195"/>
                  </a:lnTo>
                  <a:lnTo>
                    <a:pt x="53" y="195"/>
                  </a:lnTo>
                  <a:lnTo>
                    <a:pt x="53" y="193"/>
                  </a:lnTo>
                  <a:lnTo>
                    <a:pt x="57" y="193"/>
                  </a:lnTo>
                  <a:lnTo>
                    <a:pt x="59" y="195"/>
                  </a:lnTo>
                  <a:lnTo>
                    <a:pt x="62" y="195"/>
                  </a:lnTo>
                  <a:lnTo>
                    <a:pt x="63" y="198"/>
                  </a:lnTo>
                  <a:lnTo>
                    <a:pt x="64" y="196"/>
                  </a:lnTo>
                  <a:lnTo>
                    <a:pt x="66" y="196"/>
                  </a:lnTo>
                  <a:lnTo>
                    <a:pt x="67" y="196"/>
                  </a:lnTo>
                  <a:lnTo>
                    <a:pt x="70" y="196"/>
                  </a:lnTo>
                  <a:lnTo>
                    <a:pt x="71" y="198"/>
                  </a:lnTo>
                  <a:lnTo>
                    <a:pt x="72" y="200"/>
                  </a:lnTo>
                  <a:lnTo>
                    <a:pt x="71" y="202"/>
                  </a:lnTo>
                  <a:lnTo>
                    <a:pt x="68" y="202"/>
                  </a:lnTo>
                  <a:lnTo>
                    <a:pt x="67" y="204"/>
                  </a:lnTo>
                  <a:lnTo>
                    <a:pt x="66" y="204"/>
                  </a:lnTo>
                  <a:lnTo>
                    <a:pt x="66" y="202"/>
                  </a:lnTo>
                  <a:lnTo>
                    <a:pt x="66" y="202"/>
                  </a:lnTo>
                  <a:lnTo>
                    <a:pt x="64" y="202"/>
                  </a:lnTo>
                  <a:lnTo>
                    <a:pt x="64" y="204"/>
                  </a:lnTo>
                  <a:lnTo>
                    <a:pt x="63" y="204"/>
                  </a:lnTo>
                  <a:lnTo>
                    <a:pt x="62" y="206"/>
                  </a:lnTo>
                  <a:lnTo>
                    <a:pt x="62" y="208"/>
                  </a:lnTo>
                  <a:lnTo>
                    <a:pt x="59" y="207"/>
                  </a:lnTo>
                  <a:lnTo>
                    <a:pt x="59" y="208"/>
                  </a:lnTo>
                  <a:lnTo>
                    <a:pt x="57" y="210"/>
                  </a:lnTo>
                  <a:lnTo>
                    <a:pt x="57" y="208"/>
                  </a:lnTo>
                  <a:lnTo>
                    <a:pt x="56" y="208"/>
                  </a:lnTo>
                  <a:lnTo>
                    <a:pt x="55" y="210"/>
                  </a:lnTo>
                  <a:lnTo>
                    <a:pt x="57" y="211"/>
                  </a:lnTo>
                  <a:lnTo>
                    <a:pt x="59" y="212"/>
                  </a:lnTo>
                  <a:lnTo>
                    <a:pt x="55" y="214"/>
                  </a:lnTo>
                  <a:lnTo>
                    <a:pt x="59" y="214"/>
                  </a:lnTo>
                  <a:lnTo>
                    <a:pt x="59" y="215"/>
                  </a:lnTo>
                  <a:lnTo>
                    <a:pt x="57" y="218"/>
                  </a:lnTo>
                  <a:lnTo>
                    <a:pt x="60" y="221"/>
                  </a:lnTo>
                  <a:lnTo>
                    <a:pt x="57" y="222"/>
                  </a:lnTo>
                  <a:lnTo>
                    <a:pt x="55" y="221"/>
                  </a:lnTo>
                  <a:lnTo>
                    <a:pt x="56" y="222"/>
                  </a:lnTo>
                  <a:lnTo>
                    <a:pt x="55" y="225"/>
                  </a:lnTo>
                  <a:lnTo>
                    <a:pt x="57" y="226"/>
                  </a:lnTo>
                  <a:lnTo>
                    <a:pt x="55" y="227"/>
                  </a:lnTo>
                  <a:lnTo>
                    <a:pt x="57" y="230"/>
                  </a:lnTo>
                  <a:lnTo>
                    <a:pt x="55" y="233"/>
                  </a:lnTo>
                  <a:lnTo>
                    <a:pt x="55" y="236"/>
                  </a:lnTo>
                  <a:lnTo>
                    <a:pt x="57" y="237"/>
                  </a:lnTo>
                  <a:lnTo>
                    <a:pt x="56" y="238"/>
                  </a:lnTo>
                  <a:lnTo>
                    <a:pt x="55" y="245"/>
                  </a:lnTo>
                  <a:lnTo>
                    <a:pt x="53" y="246"/>
                  </a:lnTo>
                  <a:lnTo>
                    <a:pt x="53" y="251"/>
                  </a:lnTo>
                  <a:lnTo>
                    <a:pt x="51" y="255"/>
                  </a:lnTo>
                  <a:lnTo>
                    <a:pt x="49" y="252"/>
                  </a:lnTo>
                  <a:lnTo>
                    <a:pt x="47" y="252"/>
                  </a:lnTo>
                  <a:lnTo>
                    <a:pt x="44" y="253"/>
                  </a:lnTo>
                  <a:lnTo>
                    <a:pt x="40" y="252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4" y="255"/>
                  </a:lnTo>
                  <a:lnTo>
                    <a:pt x="33" y="259"/>
                  </a:lnTo>
                  <a:lnTo>
                    <a:pt x="34" y="260"/>
                  </a:lnTo>
                  <a:lnTo>
                    <a:pt x="34" y="261"/>
                  </a:lnTo>
                  <a:lnTo>
                    <a:pt x="33" y="264"/>
                  </a:lnTo>
                  <a:lnTo>
                    <a:pt x="30" y="263"/>
                  </a:lnTo>
                  <a:lnTo>
                    <a:pt x="23" y="264"/>
                  </a:lnTo>
                  <a:lnTo>
                    <a:pt x="21" y="264"/>
                  </a:lnTo>
                  <a:lnTo>
                    <a:pt x="21" y="263"/>
                  </a:lnTo>
                  <a:lnTo>
                    <a:pt x="22" y="261"/>
                  </a:lnTo>
                  <a:lnTo>
                    <a:pt x="21" y="256"/>
                  </a:lnTo>
                  <a:lnTo>
                    <a:pt x="18" y="255"/>
                  </a:lnTo>
                  <a:lnTo>
                    <a:pt x="18" y="253"/>
                  </a:lnTo>
                  <a:lnTo>
                    <a:pt x="17" y="252"/>
                  </a:lnTo>
                  <a:lnTo>
                    <a:pt x="17" y="251"/>
                  </a:lnTo>
                  <a:lnTo>
                    <a:pt x="19" y="251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18" y="245"/>
                  </a:lnTo>
                  <a:lnTo>
                    <a:pt x="15" y="244"/>
                  </a:lnTo>
                  <a:lnTo>
                    <a:pt x="15" y="241"/>
                  </a:lnTo>
                  <a:lnTo>
                    <a:pt x="13" y="240"/>
                  </a:lnTo>
                  <a:lnTo>
                    <a:pt x="13" y="237"/>
                  </a:lnTo>
                  <a:lnTo>
                    <a:pt x="10" y="233"/>
                  </a:lnTo>
                  <a:lnTo>
                    <a:pt x="10" y="232"/>
                  </a:lnTo>
                  <a:lnTo>
                    <a:pt x="9" y="229"/>
                  </a:lnTo>
                  <a:lnTo>
                    <a:pt x="6" y="227"/>
                  </a:lnTo>
                  <a:lnTo>
                    <a:pt x="4" y="226"/>
                  </a:lnTo>
                  <a:lnTo>
                    <a:pt x="6" y="225"/>
                  </a:lnTo>
                  <a:lnTo>
                    <a:pt x="6" y="222"/>
                  </a:lnTo>
                  <a:lnTo>
                    <a:pt x="6" y="221"/>
                  </a:lnTo>
                  <a:lnTo>
                    <a:pt x="6" y="219"/>
                  </a:lnTo>
                  <a:lnTo>
                    <a:pt x="9" y="217"/>
                  </a:lnTo>
                  <a:lnTo>
                    <a:pt x="7" y="215"/>
                  </a:lnTo>
                  <a:lnTo>
                    <a:pt x="6" y="214"/>
                  </a:lnTo>
                  <a:lnTo>
                    <a:pt x="6" y="214"/>
                  </a:lnTo>
                  <a:lnTo>
                    <a:pt x="4" y="214"/>
                  </a:lnTo>
                  <a:lnTo>
                    <a:pt x="4" y="215"/>
                  </a:lnTo>
                  <a:lnTo>
                    <a:pt x="6" y="217"/>
                  </a:lnTo>
                  <a:lnTo>
                    <a:pt x="4" y="218"/>
                  </a:lnTo>
                  <a:lnTo>
                    <a:pt x="4" y="215"/>
                  </a:lnTo>
                  <a:lnTo>
                    <a:pt x="3" y="215"/>
                  </a:lnTo>
                  <a:lnTo>
                    <a:pt x="2" y="214"/>
                  </a:lnTo>
                  <a:lnTo>
                    <a:pt x="2" y="210"/>
                  </a:lnTo>
                  <a:lnTo>
                    <a:pt x="0" y="208"/>
                  </a:lnTo>
                  <a:lnTo>
                    <a:pt x="0" y="203"/>
                  </a:lnTo>
                  <a:lnTo>
                    <a:pt x="2" y="203"/>
                  </a:lnTo>
                  <a:lnTo>
                    <a:pt x="2" y="202"/>
                  </a:lnTo>
                  <a:lnTo>
                    <a:pt x="2" y="2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5" name="Freeform 35"/>
            <p:cNvSpPr>
              <a:spLocks/>
            </p:cNvSpPr>
            <p:nvPr/>
          </p:nvSpPr>
          <p:spPr bwMode="auto">
            <a:xfrm>
              <a:off x="2155" y="983"/>
              <a:ext cx="117" cy="210"/>
            </a:xfrm>
            <a:custGeom>
              <a:avLst/>
              <a:gdLst>
                <a:gd name="T0" fmla="*/ 103 w 117"/>
                <a:gd name="T1" fmla="*/ 179 h 210"/>
                <a:gd name="T2" fmla="*/ 117 w 117"/>
                <a:gd name="T3" fmla="*/ 148 h 210"/>
                <a:gd name="T4" fmla="*/ 106 w 117"/>
                <a:gd name="T5" fmla="*/ 127 h 210"/>
                <a:gd name="T6" fmla="*/ 102 w 117"/>
                <a:gd name="T7" fmla="*/ 114 h 210"/>
                <a:gd name="T8" fmla="*/ 98 w 117"/>
                <a:gd name="T9" fmla="*/ 103 h 210"/>
                <a:gd name="T10" fmla="*/ 92 w 117"/>
                <a:gd name="T11" fmla="*/ 80 h 210"/>
                <a:gd name="T12" fmla="*/ 88 w 117"/>
                <a:gd name="T13" fmla="*/ 55 h 210"/>
                <a:gd name="T14" fmla="*/ 80 w 117"/>
                <a:gd name="T15" fmla="*/ 42 h 210"/>
                <a:gd name="T16" fmla="*/ 72 w 117"/>
                <a:gd name="T17" fmla="*/ 30 h 210"/>
                <a:gd name="T18" fmla="*/ 76 w 117"/>
                <a:gd name="T19" fmla="*/ 17 h 210"/>
                <a:gd name="T20" fmla="*/ 71 w 117"/>
                <a:gd name="T21" fmla="*/ 8 h 210"/>
                <a:gd name="T22" fmla="*/ 57 w 117"/>
                <a:gd name="T23" fmla="*/ 0 h 210"/>
                <a:gd name="T24" fmla="*/ 47 w 117"/>
                <a:gd name="T25" fmla="*/ 4 h 210"/>
                <a:gd name="T26" fmla="*/ 45 w 117"/>
                <a:gd name="T27" fmla="*/ 12 h 210"/>
                <a:gd name="T28" fmla="*/ 43 w 117"/>
                <a:gd name="T29" fmla="*/ 27 h 210"/>
                <a:gd name="T30" fmla="*/ 34 w 117"/>
                <a:gd name="T31" fmla="*/ 31 h 210"/>
                <a:gd name="T32" fmla="*/ 18 w 117"/>
                <a:gd name="T33" fmla="*/ 32 h 210"/>
                <a:gd name="T34" fmla="*/ 5 w 117"/>
                <a:gd name="T35" fmla="*/ 20 h 210"/>
                <a:gd name="T36" fmla="*/ 1 w 117"/>
                <a:gd name="T37" fmla="*/ 25 h 210"/>
                <a:gd name="T38" fmla="*/ 8 w 117"/>
                <a:gd name="T39" fmla="*/ 34 h 210"/>
                <a:gd name="T40" fmla="*/ 22 w 117"/>
                <a:gd name="T41" fmla="*/ 40 h 210"/>
                <a:gd name="T42" fmla="*/ 28 w 117"/>
                <a:gd name="T43" fmla="*/ 46 h 210"/>
                <a:gd name="T44" fmla="*/ 28 w 117"/>
                <a:gd name="T45" fmla="*/ 58 h 210"/>
                <a:gd name="T46" fmla="*/ 33 w 117"/>
                <a:gd name="T47" fmla="*/ 68 h 210"/>
                <a:gd name="T48" fmla="*/ 33 w 117"/>
                <a:gd name="T49" fmla="*/ 81 h 210"/>
                <a:gd name="T50" fmla="*/ 39 w 117"/>
                <a:gd name="T51" fmla="*/ 95 h 210"/>
                <a:gd name="T52" fmla="*/ 52 w 117"/>
                <a:gd name="T53" fmla="*/ 100 h 210"/>
                <a:gd name="T54" fmla="*/ 54 w 117"/>
                <a:gd name="T55" fmla="*/ 110 h 210"/>
                <a:gd name="T56" fmla="*/ 50 w 117"/>
                <a:gd name="T57" fmla="*/ 112 h 210"/>
                <a:gd name="T58" fmla="*/ 42 w 117"/>
                <a:gd name="T59" fmla="*/ 119 h 210"/>
                <a:gd name="T60" fmla="*/ 35 w 117"/>
                <a:gd name="T61" fmla="*/ 127 h 210"/>
                <a:gd name="T62" fmla="*/ 31 w 117"/>
                <a:gd name="T63" fmla="*/ 134 h 210"/>
                <a:gd name="T64" fmla="*/ 28 w 117"/>
                <a:gd name="T65" fmla="*/ 137 h 210"/>
                <a:gd name="T66" fmla="*/ 27 w 117"/>
                <a:gd name="T67" fmla="*/ 142 h 210"/>
                <a:gd name="T68" fmla="*/ 22 w 117"/>
                <a:gd name="T69" fmla="*/ 146 h 210"/>
                <a:gd name="T70" fmla="*/ 18 w 117"/>
                <a:gd name="T71" fmla="*/ 149 h 210"/>
                <a:gd name="T72" fmla="*/ 16 w 117"/>
                <a:gd name="T73" fmla="*/ 157 h 210"/>
                <a:gd name="T74" fmla="*/ 19 w 117"/>
                <a:gd name="T75" fmla="*/ 163 h 210"/>
                <a:gd name="T76" fmla="*/ 20 w 117"/>
                <a:gd name="T77" fmla="*/ 174 h 210"/>
                <a:gd name="T78" fmla="*/ 22 w 117"/>
                <a:gd name="T79" fmla="*/ 183 h 210"/>
                <a:gd name="T80" fmla="*/ 20 w 117"/>
                <a:gd name="T81" fmla="*/ 195 h 210"/>
                <a:gd name="T82" fmla="*/ 28 w 117"/>
                <a:gd name="T83" fmla="*/ 197 h 210"/>
                <a:gd name="T84" fmla="*/ 35 w 117"/>
                <a:gd name="T85" fmla="*/ 199 h 210"/>
                <a:gd name="T86" fmla="*/ 41 w 117"/>
                <a:gd name="T87" fmla="*/ 206 h 210"/>
                <a:gd name="T88" fmla="*/ 45 w 117"/>
                <a:gd name="T89" fmla="*/ 206 h 210"/>
                <a:gd name="T90" fmla="*/ 54 w 117"/>
                <a:gd name="T91" fmla="*/ 204 h 210"/>
                <a:gd name="T92" fmla="*/ 67 w 117"/>
                <a:gd name="T93" fmla="*/ 197 h 210"/>
                <a:gd name="T94" fmla="*/ 69 w 117"/>
                <a:gd name="T95" fmla="*/ 198 h 210"/>
                <a:gd name="T96" fmla="*/ 72 w 117"/>
                <a:gd name="T97" fmla="*/ 195 h 210"/>
                <a:gd name="T98" fmla="*/ 77 w 117"/>
                <a:gd name="T99" fmla="*/ 198 h 210"/>
                <a:gd name="T100" fmla="*/ 87 w 117"/>
                <a:gd name="T101" fmla="*/ 195 h 210"/>
                <a:gd name="T102" fmla="*/ 91 w 117"/>
                <a:gd name="T103" fmla="*/ 19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7" h="210">
                  <a:moveTo>
                    <a:pt x="92" y="194"/>
                  </a:moveTo>
                  <a:lnTo>
                    <a:pt x="92" y="191"/>
                  </a:lnTo>
                  <a:lnTo>
                    <a:pt x="98" y="186"/>
                  </a:lnTo>
                  <a:lnTo>
                    <a:pt x="100" y="184"/>
                  </a:lnTo>
                  <a:lnTo>
                    <a:pt x="103" y="179"/>
                  </a:lnTo>
                  <a:lnTo>
                    <a:pt x="106" y="174"/>
                  </a:lnTo>
                  <a:lnTo>
                    <a:pt x="109" y="168"/>
                  </a:lnTo>
                  <a:lnTo>
                    <a:pt x="114" y="160"/>
                  </a:lnTo>
                  <a:lnTo>
                    <a:pt x="117" y="152"/>
                  </a:lnTo>
                  <a:lnTo>
                    <a:pt x="117" y="148"/>
                  </a:lnTo>
                  <a:lnTo>
                    <a:pt x="111" y="142"/>
                  </a:lnTo>
                  <a:lnTo>
                    <a:pt x="109" y="141"/>
                  </a:lnTo>
                  <a:lnTo>
                    <a:pt x="103" y="134"/>
                  </a:lnTo>
                  <a:lnTo>
                    <a:pt x="103" y="130"/>
                  </a:lnTo>
                  <a:lnTo>
                    <a:pt x="106" y="127"/>
                  </a:lnTo>
                  <a:lnTo>
                    <a:pt x="106" y="123"/>
                  </a:lnTo>
                  <a:lnTo>
                    <a:pt x="102" y="122"/>
                  </a:lnTo>
                  <a:lnTo>
                    <a:pt x="100" y="119"/>
                  </a:lnTo>
                  <a:lnTo>
                    <a:pt x="100" y="114"/>
                  </a:lnTo>
                  <a:lnTo>
                    <a:pt x="102" y="114"/>
                  </a:lnTo>
                  <a:lnTo>
                    <a:pt x="100" y="111"/>
                  </a:lnTo>
                  <a:lnTo>
                    <a:pt x="98" y="111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8" y="103"/>
                  </a:lnTo>
                  <a:lnTo>
                    <a:pt x="95" y="102"/>
                  </a:lnTo>
                  <a:lnTo>
                    <a:pt x="95" y="100"/>
                  </a:lnTo>
                  <a:lnTo>
                    <a:pt x="96" y="92"/>
                  </a:lnTo>
                  <a:lnTo>
                    <a:pt x="98" y="92"/>
                  </a:lnTo>
                  <a:lnTo>
                    <a:pt x="92" y="80"/>
                  </a:lnTo>
                  <a:lnTo>
                    <a:pt x="88" y="72"/>
                  </a:lnTo>
                  <a:lnTo>
                    <a:pt x="87" y="68"/>
                  </a:lnTo>
                  <a:lnTo>
                    <a:pt x="84" y="65"/>
                  </a:lnTo>
                  <a:lnTo>
                    <a:pt x="86" y="59"/>
                  </a:lnTo>
                  <a:lnTo>
                    <a:pt x="88" y="55"/>
                  </a:lnTo>
                  <a:lnTo>
                    <a:pt x="90" y="51"/>
                  </a:lnTo>
                  <a:lnTo>
                    <a:pt x="88" y="50"/>
                  </a:lnTo>
                  <a:lnTo>
                    <a:pt x="83" y="47"/>
                  </a:lnTo>
                  <a:lnTo>
                    <a:pt x="81" y="44"/>
                  </a:lnTo>
                  <a:lnTo>
                    <a:pt x="80" y="42"/>
                  </a:lnTo>
                  <a:lnTo>
                    <a:pt x="77" y="40"/>
                  </a:lnTo>
                  <a:lnTo>
                    <a:pt x="75" y="40"/>
                  </a:lnTo>
                  <a:lnTo>
                    <a:pt x="73" y="35"/>
                  </a:lnTo>
                  <a:lnTo>
                    <a:pt x="72" y="34"/>
                  </a:lnTo>
                  <a:lnTo>
                    <a:pt x="72" y="30"/>
                  </a:lnTo>
                  <a:lnTo>
                    <a:pt x="73" y="25"/>
                  </a:lnTo>
                  <a:lnTo>
                    <a:pt x="71" y="25"/>
                  </a:lnTo>
                  <a:lnTo>
                    <a:pt x="73" y="24"/>
                  </a:lnTo>
                  <a:lnTo>
                    <a:pt x="76" y="23"/>
                  </a:lnTo>
                  <a:lnTo>
                    <a:pt x="76" y="17"/>
                  </a:lnTo>
                  <a:lnTo>
                    <a:pt x="77" y="15"/>
                  </a:lnTo>
                  <a:lnTo>
                    <a:pt x="79" y="12"/>
                  </a:lnTo>
                  <a:lnTo>
                    <a:pt x="76" y="9"/>
                  </a:lnTo>
                  <a:lnTo>
                    <a:pt x="75" y="8"/>
                  </a:lnTo>
                  <a:lnTo>
                    <a:pt x="71" y="8"/>
                  </a:lnTo>
                  <a:lnTo>
                    <a:pt x="69" y="6"/>
                  </a:lnTo>
                  <a:lnTo>
                    <a:pt x="67" y="5"/>
                  </a:lnTo>
                  <a:lnTo>
                    <a:pt x="64" y="1"/>
                  </a:lnTo>
                  <a:lnTo>
                    <a:pt x="62" y="0"/>
                  </a:lnTo>
                  <a:lnTo>
                    <a:pt x="57" y="0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3" y="4"/>
                  </a:lnTo>
                  <a:lnTo>
                    <a:pt x="50" y="2"/>
                  </a:lnTo>
                  <a:lnTo>
                    <a:pt x="47" y="4"/>
                  </a:lnTo>
                  <a:lnTo>
                    <a:pt x="49" y="5"/>
                  </a:lnTo>
                  <a:lnTo>
                    <a:pt x="46" y="8"/>
                  </a:lnTo>
                  <a:lnTo>
                    <a:pt x="45" y="9"/>
                  </a:lnTo>
                  <a:lnTo>
                    <a:pt x="46" y="10"/>
                  </a:lnTo>
                  <a:lnTo>
                    <a:pt x="45" y="12"/>
                  </a:lnTo>
                  <a:lnTo>
                    <a:pt x="45" y="19"/>
                  </a:lnTo>
                  <a:lnTo>
                    <a:pt x="46" y="21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3" y="27"/>
                  </a:lnTo>
                  <a:lnTo>
                    <a:pt x="42" y="27"/>
                  </a:lnTo>
                  <a:lnTo>
                    <a:pt x="39" y="28"/>
                  </a:lnTo>
                  <a:lnTo>
                    <a:pt x="38" y="30"/>
                  </a:lnTo>
                  <a:lnTo>
                    <a:pt x="37" y="31"/>
                  </a:lnTo>
                  <a:lnTo>
                    <a:pt x="34" y="31"/>
                  </a:lnTo>
                  <a:lnTo>
                    <a:pt x="31" y="28"/>
                  </a:lnTo>
                  <a:lnTo>
                    <a:pt x="28" y="28"/>
                  </a:lnTo>
                  <a:lnTo>
                    <a:pt x="27" y="30"/>
                  </a:lnTo>
                  <a:lnTo>
                    <a:pt x="23" y="32"/>
                  </a:lnTo>
                  <a:lnTo>
                    <a:pt x="18" y="32"/>
                  </a:lnTo>
                  <a:lnTo>
                    <a:pt x="15" y="31"/>
                  </a:lnTo>
                  <a:lnTo>
                    <a:pt x="13" y="28"/>
                  </a:lnTo>
                  <a:lnTo>
                    <a:pt x="12" y="27"/>
                  </a:lnTo>
                  <a:lnTo>
                    <a:pt x="7" y="23"/>
                  </a:lnTo>
                  <a:lnTo>
                    <a:pt x="5" y="20"/>
                  </a:lnTo>
                  <a:lnTo>
                    <a:pt x="3" y="19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4" y="30"/>
                  </a:lnTo>
                  <a:lnTo>
                    <a:pt x="8" y="34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8" y="38"/>
                  </a:lnTo>
                  <a:lnTo>
                    <a:pt x="19" y="38"/>
                  </a:lnTo>
                  <a:lnTo>
                    <a:pt x="22" y="40"/>
                  </a:lnTo>
                  <a:lnTo>
                    <a:pt x="23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7" y="46"/>
                  </a:lnTo>
                  <a:lnTo>
                    <a:pt x="28" y="46"/>
                  </a:lnTo>
                  <a:lnTo>
                    <a:pt x="30" y="47"/>
                  </a:lnTo>
                  <a:lnTo>
                    <a:pt x="28" y="50"/>
                  </a:lnTo>
                  <a:lnTo>
                    <a:pt x="28" y="53"/>
                  </a:lnTo>
                  <a:lnTo>
                    <a:pt x="28" y="55"/>
                  </a:lnTo>
                  <a:lnTo>
                    <a:pt x="28" y="58"/>
                  </a:lnTo>
                  <a:lnTo>
                    <a:pt x="31" y="58"/>
                  </a:lnTo>
                  <a:lnTo>
                    <a:pt x="33" y="61"/>
                  </a:lnTo>
                  <a:lnTo>
                    <a:pt x="31" y="62"/>
                  </a:lnTo>
                  <a:lnTo>
                    <a:pt x="31" y="66"/>
                  </a:lnTo>
                  <a:lnTo>
                    <a:pt x="33" y="68"/>
                  </a:lnTo>
                  <a:lnTo>
                    <a:pt x="34" y="72"/>
                  </a:lnTo>
                  <a:lnTo>
                    <a:pt x="33" y="73"/>
                  </a:lnTo>
                  <a:lnTo>
                    <a:pt x="34" y="76"/>
                  </a:lnTo>
                  <a:lnTo>
                    <a:pt x="34" y="80"/>
                  </a:lnTo>
                  <a:lnTo>
                    <a:pt x="33" y="81"/>
                  </a:lnTo>
                  <a:lnTo>
                    <a:pt x="34" y="85"/>
                  </a:lnTo>
                  <a:lnTo>
                    <a:pt x="37" y="85"/>
                  </a:lnTo>
                  <a:lnTo>
                    <a:pt x="38" y="91"/>
                  </a:lnTo>
                  <a:lnTo>
                    <a:pt x="39" y="92"/>
                  </a:lnTo>
                  <a:lnTo>
                    <a:pt x="39" y="95"/>
                  </a:lnTo>
                  <a:lnTo>
                    <a:pt x="39" y="95"/>
                  </a:lnTo>
                  <a:lnTo>
                    <a:pt x="42" y="95"/>
                  </a:lnTo>
                  <a:lnTo>
                    <a:pt x="45" y="97"/>
                  </a:lnTo>
                  <a:lnTo>
                    <a:pt x="49" y="97"/>
                  </a:lnTo>
                  <a:lnTo>
                    <a:pt x="52" y="100"/>
                  </a:lnTo>
                  <a:lnTo>
                    <a:pt x="50" y="102"/>
                  </a:lnTo>
                  <a:lnTo>
                    <a:pt x="52" y="103"/>
                  </a:lnTo>
                  <a:lnTo>
                    <a:pt x="52" y="106"/>
                  </a:lnTo>
                  <a:lnTo>
                    <a:pt x="50" y="107"/>
                  </a:lnTo>
                  <a:lnTo>
                    <a:pt x="54" y="110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54" y="112"/>
                  </a:lnTo>
                  <a:lnTo>
                    <a:pt x="54" y="114"/>
                  </a:lnTo>
                  <a:lnTo>
                    <a:pt x="50" y="112"/>
                  </a:lnTo>
                  <a:lnTo>
                    <a:pt x="47" y="112"/>
                  </a:lnTo>
                  <a:lnTo>
                    <a:pt x="45" y="114"/>
                  </a:lnTo>
                  <a:lnTo>
                    <a:pt x="45" y="117"/>
                  </a:lnTo>
                  <a:lnTo>
                    <a:pt x="42" y="118"/>
                  </a:lnTo>
                  <a:lnTo>
                    <a:pt x="42" y="119"/>
                  </a:lnTo>
                  <a:lnTo>
                    <a:pt x="41" y="121"/>
                  </a:lnTo>
                  <a:lnTo>
                    <a:pt x="38" y="125"/>
                  </a:lnTo>
                  <a:lnTo>
                    <a:pt x="37" y="127"/>
                  </a:lnTo>
                  <a:lnTo>
                    <a:pt x="37" y="129"/>
                  </a:lnTo>
                  <a:lnTo>
                    <a:pt x="35" y="127"/>
                  </a:lnTo>
                  <a:lnTo>
                    <a:pt x="34" y="127"/>
                  </a:lnTo>
                  <a:lnTo>
                    <a:pt x="35" y="130"/>
                  </a:lnTo>
                  <a:lnTo>
                    <a:pt x="35" y="131"/>
                  </a:lnTo>
                  <a:lnTo>
                    <a:pt x="33" y="131"/>
                  </a:lnTo>
                  <a:lnTo>
                    <a:pt x="31" y="134"/>
                  </a:lnTo>
                  <a:lnTo>
                    <a:pt x="31" y="137"/>
                  </a:lnTo>
                  <a:lnTo>
                    <a:pt x="33" y="138"/>
                  </a:lnTo>
                  <a:lnTo>
                    <a:pt x="30" y="137"/>
                  </a:lnTo>
                  <a:lnTo>
                    <a:pt x="30" y="136"/>
                  </a:lnTo>
                  <a:lnTo>
                    <a:pt x="28" y="137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6" y="145"/>
                  </a:lnTo>
                  <a:lnTo>
                    <a:pt x="24" y="145"/>
                  </a:lnTo>
                  <a:lnTo>
                    <a:pt x="23" y="146"/>
                  </a:lnTo>
                  <a:lnTo>
                    <a:pt x="22" y="146"/>
                  </a:lnTo>
                  <a:lnTo>
                    <a:pt x="22" y="145"/>
                  </a:lnTo>
                  <a:lnTo>
                    <a:pt x="20" y="145"/>
                  </a:lnTo>
                  <a:lnTo>
                    <a:pt x="18" y="145"/>
                  </a:lnTo>
                  <a:lnTo>
                    <a:pt x="19" y="148"/>
                  </a:lnTo>
                  <a:lnTo>
                    <a:pt x="18" y="149"/>
                  </a:lnTo>
                  <a:lnTo>
                    <a:pt x="19" y="150"/>
                  </a:lnTo>
                  <a:lnTo>
                    <a:pt x="18" y="153"/>
                  </a:lnTo>
                  <a:lnTo>
                    <a:pt x="16" y="153"/>
                  </a:lnTo>
                  <a:lnTo>
                    <a:pt x="15" y="156"/>
                  </a:lnTo>
                  <a:lnTo>
                    <a:pt x="16" y="157"/>
                  </a:lnTo>
                  <a:lnTo>
                    <a:pt x="16" y="159"/>
                  </a:lnTo>
                  <a:lnTo>
                    <a:pt x="16" y="160"/>
                  </a:lnTo>
                  <a:lnTo>
                    <a:pt x="16" y="161"/>
                  </a:lnTo>
                  <a:lnTo>
                    <a:pt x="18" y="161"/>
                  </a:lnTo>
                  <a:lnTo>
                    <a:pt x="19" y="163"/>
                  </a:lnTo>
                  <a:lnTo>
                    <a:pt x="19" y="165"/>
                  </a:lnTo>
                  <a:lnTo>
                    <a:pt x="18" y="167"/>
                  </a:lnTo>
                  <a:lnTo>
                    <a:pt x="19" y="168"/>
                  </a:lnTo>
                  <a:lnTo>
                    <a:pt x="19" y="170"/>
                  </a:lnTo>
                  <a:lnTo>
                    <a:pt x="20" y="174"/>
                  </a:lnTo>
                  <a:lnTo>
                    <a:pt x="22" y="175"/>
                  </a:lnTo>
                  <a:lnTo>
                    <a:pt x="22" y="176"/>
                  </a:lnTo>
                  <a:lnTo>
                    <a:pt x="23" y="179"/>
                  </a:lnTo>
                  <a:lnTo>
                    <a:pt x="22" y="179"/>
                  </a:lnTo>
                  <a:lnTo>
                    <a:pt x="22" y="183"/>
                  </a:lnTo>
                  <a:lnTo>
                    <a:pt x="20" y="184"/>
                  </a:lnTo>
                  <a:lnTo>
                    <a:pt x="20" y="189"/>
                  </a:lnTo>
                  <a:lnTo>
                    <a:pt x="22" y="191"/>
                  </a:lnTo>
                  <a:lnTo>
                    <a:pt x="20" y="193"/>
                  </a:lnTo>
                  <a:lnTo>
                    <a:pt x="20" y="195"/>
                  </a:lnTo>
                  <a:lnTo>
                    <a:pt x="22" y="197"/>
                  </a:lnTo>
                  <a:lnTo>
                    <a:pt x="24" y="195"/>
                  </a:lnTo>
                  <a:lnTo>
                    <a:pt x="26" y="195"/>
                  </a:lnTo>
                  <a:lnTo>
                    <a:pt x="26" y="194"/>
                  </a:lnTo>
                  <a:lnTo>
                    <a:pt x="28" y="197"/>
                  </a:lnTo>
                  <a:lnTo>
                    <a:pt x="31" y="197"/>
                  </a:lnTo>
                  <a:lnTo>
                    <a:pt x="33" y="198"/>
                  </a:lnTo>
                  <a:lnTo>
                    <a:pt x="35" y="198"/>
                  </a:lnTo>
                  <a:lnTo>
                    <a:pt x="37" y="198"/>
                  </a:lnTo>
                  <a:lnTo>
                    <a:pt x="35" y="199"/>
                  </a:lnTo>
                  <a:lnTo>
                    <a:pt x="37" y="199"/>
                  </a:lnTo>
                  <a:lnTo>
                    <a:pt x="39" y="198"/>
                  </a:lnTo>
                  <a:lnTo>
                    <a:pt x="39" y="199"/>
                  </a:lnTo>
                  <a:lnTo>
                    <a:pt x="38" y="202"/>
                  </a:lnTo>
                  <a:lnTo>
                    <a:pt x="41" y="206"/>
                  </a:lnTo>
                  <a:lnTo>
                    <a:pt x="42" y="208"/>
                  </a:lnTo>
                  <a:lnTo>
                    <a:pt x="41" y="210"/>
                  </a:lnTo>
                  <a:lnTo>
                    <a:pt x="42" y="210"/>
                  </a:lnTo>
                  <a:lnTo>
                    <a:pt x="43" y="206"/>
                  </a:lnTo>
                  <a:lnTo>
                    <a:pt x="45" y="206"/>
                  </a:lnTo>
                  <a:lnTo>
                    <a:pt x="45" y="208"/>
                  </a:lnTo>
                  <a:lnTo>
                    <a:pt x="46" y="206"/>
                  </a:lnTo>
                  <a:lnTo>
                    <a:pt x="49" y="206"/>
                  </a:lnTo>
                  <a:lnTo>
                    <a:pt x="53" y="204"/>
                  </a:lnTo>
                  <a:lnTo>
                    <a:pt x="54" y="204"/>
                  </a:lnTo>
                  <a:lnTo>
                    <a:pt x="58" y="201"/>
                  </a:lnTo>
                  <a:lnTo>
                    <a:pt x="60" y="199"/>
                  </a:lnTo>
                  <a:lnTo>
                    <a:pt x="62" y="201"/>
                  </a:lnTo>
                  <a:lnTo>
                    <a:pt x="64" y="199"/>
                  </a:lnTo>
                  <a:lnTo>
                    <a:pt x="67" y="197"/>
                  </a:lnTo>
                  <a:lnTo>
                    <a:pt x="67" y="198"/>
                  </a:lnTo>
                  <a:lnTo>
                    <a:pt x="65" y="199"/>
                  </a:lnTo>
                  <a:lnTo>
                    <a:pt x="67" y="201"/>
                  </a:lnTo>
                  <a:lnTo>
                    <a:pt x="68" y="198"/>
                  </a:lnTo>
                  <a:lnTo>
                    <a:pt x="69" y="198"/>
                  </a:lnTo>
                  <a:lnTo>
                    <a:pt x="68" y="195"/>
                  </a:lnTo>
                  <a:lnTo>
                    <a:pt x="69" y="194"/>
                  </a:lnTo>
                  <a:lnTo>
                    <a:pt x="71" y="197"/>
                  </a:lnTo>
                  <a:lnTo>
                    <a:pt x="72" y="197"/>
                  </a:lnTo>
                  <a:lnTo>
                    <a:pt x="72" y="195"/>
                  </a:lnTo>
                  <a:lnTo>
                    <a:pt x="73" y="198"/>
                  </a:lnTo>
                  <a:lnTo>
                    <a:pt x="75" y="198"/>
                  </a:lnTo>
                  <a:lnTo>
                    <a:pt x="75" y="195"/>
                  </a:lnTo>
                  <a:lnTo>
                    <a:pt x="76" y="197"/>
                  </a:lnTo>
                  <a:lnTo>
                    <a:pt x="77" y="198"/>
                  </a:lnTo>
                  <a:lnTo>
                    <a:pt x="79" y="197"/>
                  </a:lnTo>
                  <a:lnTo>
                    <a:pt x="81" y="195"/>
                  </a:lnTo>
                  <a:lnTo>
                    <a:pt x="83" y="197"/>
                  </a:lnTo>
                  <a:lnTo>
                    <a:pt x="87" y="197"/>
                  </a:lnTo>
                  <a:lnTo>
                    <a:pt x="87" y="195"/>
                  </a:lnTo>
                  <a:lnTo>
                    <a:pt x="86" y="194"/>
                  </a:lnTo>
                  <a:lnTo>
                    <a:pt x="87" y="194"/>
                  </a:lnTo>
                  <a:lnTo>
                    <a:pt x="88" y="194"/>
                  </a:lnTo>
                  <a:lnTo>
                    <a:pt x="90" y="195"/>
                  </a:lnTo>
                  <a:lnTo>
                    <a:pt x="91" y="197"/>
                  </a:lnTo>
                  <a:lnTo>
                    <a:pt x="91" y="197"/>
                  </a:lnTo>
                  <a:lnTo>
                    <a:pt x="92" y="194"/>
                  </a:lnTo>
                  <a:lnTo>
                    <a:pt x="92" y="1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6" name="Freeform 36"/>
            <p:cNvSpPr>
              <a:spLocks/>
            </p:cNvSpPr>
            <p:nvPr/>
          </p:nvSpPr>
          <p:spPr bwMode="auto">
            <a:xfrm>
              <a:off x="2202" y="1195"/>
              <a:ext cx="47" cy="42"/>
            </a:xfrm>
            <a:custGeom>
              <a:avLst/>
              <a:gdLst>
                <a:gd name="T0" fmla="*/ 45 w 47"/>
                <a:gd name="T1" fmla="*/ 38 h 42"/>
                <a:gd name="T2" fmla="*/ 47 w 47"/>
                <a:gd name="T3" fmla="*/ 34 h 42"/>
                <a:gd name="T4" fmla="*/ 41 w 47"/>
                <a:gd name="T5" fmla="*/ 23 h 42"/>
                <a:gd name="T6" fmla="*/ 44 w 47"/>
                <a:gd name="T7" fmla="*/ 12 h 42"/>
                <a:gd name="T8" fmla="*/ 47 w 47"/>
                <a:gd name="T9" fmla="*/ 6 h 42"/>
                <a:gd name="T10" fmla="*/ 47 w 47"/>
                <a:gd name="T11" fmla="*/ 5 h 42"/>
                <a:gd name="T12" fmla="*/ 45 w 47"/>
                <a:gd name="T13" fmla="*/ 5 h 42"/>
                <a:gd name="T14" fmla="*/ 32 w 47"/>
                <a:gd name="T15" fmla="*/ 2 h 42"/>
                <a:gd name="T16" fmla="*/ 25 w 47"/>
                <a:gd name="T17" fmla="*/ 1 h 42"/>
                <a:gd name="T18" fmla="*/ 21 w 47"/>
                <a:gd name="T19" fmla="*/ 0 h 42"/>
                <a:gd name="T20" fmla="*/ 20 w 47"/>
                <a:gd name="T21" fmla="*/ 1 h 42"/>
                <a:gd name="T22" fmla="*/ 20 w 47"/>
                <a:gd name="T23" fmla="*/ 2 h 42"/>
                <a:gd name="T24" fmla="*/ 17 w 47"/>
                <a:gd name="T25" fmla="*/ 4 h 42"/>
                <a:gd name="T26" fmla="*/ 11 w 47"/>
                <a:gd name="T27" fmla="*/ 2 h 42"/>
                <a:gd name="T28" fmla="*/ 9 w 47"/>
                <a:gd name="T29" fmla="*/ 4 h 42"/>
                <a:gd name="T30" fmla="*/ 7 w 47"/>
                <a:gd name="T31" fmla="*/ 6 h 42"/>
                <a:gd name="T32" fmla="*/ 2 w 47"/>
                <a:gd name="T33" fmla="*/ 8 h 42"/>
                <a:gd name="T34" fmla="*/ 0 w 47"/>
                <a:gd name="T35" fmla="*/ 17 h 42"/>
                <a:gd name="T36" fmla="*/ 2 w 47"/>
                <a:gd name="T37" fmla="*/ 17 h 42"/>
                <a:gd name="T38" fmla="*/ 3 w 47"/>
                <a:gd name="T39" fmla="*/ 19 h 42"/>
                <a:gd name="T40" fmla="*/ 2 w 47"/>
                <a:gd name="T41" fmla="*/ 23 h 42"/>
                <a:gd name="T42" fmla="*/ 7 w 47"/>
                <a:gd name="T43" fmla="*/ 28 h 42"/>
                <a:gd name="T44" fmla="*/ 9 w 47"/>
                <a:gd name="T45" fmla="*/ 27 h 42"/>
                <a:gd name="T46" fmla="*/ 11 w 47"/>
                <a:gd name="T47" fmla="*/ 25 h 42"/>
                <a:gd name="T48" fmla="*/ 10 w 47"/>
                <a:gd name="T49" fmla="*/ 34 h 42"/>
                <a:gd name="T50" fmla="*/ 15 w 47"/>
                <a:gd name="T51" fmla="*/ 31 h 42"/>
                <a:gd name="T52" fmla="*/ 21 w 47"/>
                <a:gd name="T53" fmla="*/ 32 h 42"/>
                <a:gd name="T54" fmla="*/ 24 w 47"/>
                <a:gd name="T55" fmla="*/ 30 h 42"/>
                <a:gd name="T56" fmla="*/ 26 w 47"/>
                <a:gd name="T57" fmla="*/ 34 h 42"/>
                <a:gd name="T58" fmla="*/ 30 w 47"/>
                <a:gd name="T59" fmla="*/ 35 h 42"/>
                <a:gd name="T60" fmla="*/ 34 w 47"/>
                <a:gd name="T61" fmla="*/ 39 h 42"/>
                <a:gd name="T62" fmla="*/ 40 w 47"/>
                <a:gd name="T63" fmla="*/ 40 h 42"/>
                <a:gd name="T64" fmla="*/ 44 w 47"/>
                <a:gd name="T65" fmla="*/ 4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7" h="42">
                  <a:moveTo>
                    <a:pt x="44" y="40"/>
                  </a:moveTo>
                  <a:lnTo>
                    <a:pt x="45" y="38"/>
                  </a:lnTo>
                  <a:lnTo>
                    <a:pt x="45" y="36"/>
                  </a:lnTo>
                  <a:lnTo>
                    <a:pt x="47" y="34"/>
                  </a:lnTo>
                  <a:lnTo>
                    <a:pt x="47" y="32"/>
                  </a:lnTo>
                  <a:lnTo>
                    <a:pt x="41" y="23"/>
                  </a:lnTo>
                  <a:lnTo>
                    <a:pt x="43" y="13"/>
                  </a:lnTo>
                  <a:lnTo>
                    <a:pt x="44" y="12"/>
                  </a:lnTo>
                  <a:lnTo>
                    <a:pt x="44" y="9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36" y="5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5" y="1"/>
                  </a:lnTo>
                  <a:lnTo>
                    <a:pt x="22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9" y="4"/>
                  </a:lnTo>
                  <a:lnTo>
                    <a:pt x="7" y="5"/>
                  </a:lnTo>
                  <a:lnTo>
                    <a:pt x="7" y="6"/>
                  </a:lnTo>
                  <a:lnTo>
                    <a:pt x="5" y="6"/>
                  </a:lnTo>
                  <a:lnTo>
                    <a:pt x="2" y="8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2" y="20"/>
                  </a:lnTo>
                  <a:lnTo>
                    <a:pt x="2" y="23"/>
                  </a:lnTo>
                  <a:lnTo>
                    <a:pt x="5" y="25"/>
                  </a:lnTo>
                  <a:lnTo>
                    <a:pt x="7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11" y="24"/>
                  </a:lnTo>
                  <a:lnTo>
                    <a:pt x="11" y="25"/>
                  </a:lnTo>
                  <a:lnTo>
                    <a:pt x="10" y="32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5" y="31"/>
                  </a:lnTo>
                  <a:lnTo>
                    <a:pt x="18" y="30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4" y="30"/>
                  </a:lnTo>
                  <a:lnTo>
                    <a:pt x="25" y="31"/>
                  </a:lnTo>
                  <a:lnTo>
                    <a:pt x="26" y="34"/>
                  </a:lnTo>
                  <a:lnTo>
                    <a:pt x="28" y="34"/>
                  </a:lnTo>
                  <a:lnTo>
                    <a:pt x="30" y="35"/>
                  </a:lnTo>
                  <a:lnTo>
                    <a:pt x="32" y="38"/>
                  </a:lnTo>
                  <a:lnTo>
                    <a:pt x="34" y="39"/>
                  </a:lnTo>
                  <a:lnTo>
                    <a:pt x="36" y="42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7" name="Freeform 37"/>
            <p:cNvSpPr>
              <a:spLocks/>
            </p:cNvSpPr>
            <p:nvPr/>
          </p:nvSpPr>
          <p:spPr bwMode="auto">
            <a:xfrm>
              <a:off x="2179" y="1225"/>
              <a:ext cx="75" cy="40"/>
            </a:xfrm>
            <a:custGeom>
              <a:avLst/>
              <a:gdLst>
                <a:gd name="T0" fmla="*/ 75 w 75"/>
                <a:gd name="T1" fmla="*/ 28 h 40"/>
                <a:gd name="T2" fmla="*/ 72 w 75"/>
                <a:gd name="T3" fmla="*/ 23 h 40"/>
                <a:gd name="T4" fmla="*/ 70 w 75"/>
                <a:gd name="T5" fmla="*/ 19 h 40"/>
                <a:gd name="T6" fmla="*/ 70 w 75"/>
                <a:gd name="T7" fmla="*/ 15 h 40"/>
                <a:gd name="T8" fmla="*/ 70 w 75"/>
                <a:gd name="T9" fmla="*/ 13 h 40"/>
                <a:gd name="T10" fmla="*/ 63 w 75"/>
                <a:gd name="T11" fmla="*/ 10 h 40"/>
                <a:gd name="T12" fmla="*/ 57 w 75"/>
                <a:gd name="T13" fmla="*/ 9 h 40"/>
                <a:gd name="T14" fmla="*/ 53 w 75"/>
                <a:gd name="T15" fmla="*/ 5 h 40"/>
                <a:gd name="T16" fmla="*/ 49 w 75"/>
                <a:gd name="T17" fmla="*/ 4 h 40"/>
                <a:gd name="T18" fmla="*/ 47 w 75"/>
                <a:gd name="T19" fmla="*/ 0 h 40"/>
                <a:gd name="T20" fmla="*/ 44 w 75"/>
                <a:gd name="T21" fmla="*/ 2 h 40"/>
                <a:gd name="T22" fmla="*/ 38 w 75"/>
                <a:gd name="T23" fmla="*/ 1 h 40"/>
                <a:gd name="T24" fmla="*/ 33 w 75"/>
                <a:gd name="T25" fmla="*/ 4 h 40"/>
                <a:gd name="T26" fmla="*/ 34 w 75"/>
                <a:gd name="T27" fmla="*/ 12 h 40"/>
                <a:gd name="T28" fmla="*/ 29 w 75"/>
                <a:gd name="T29" fmla="*/ 20 h 40"/>
                <a:gd name="T30" fmla="*/ 23 w 75"/>
                <a:gd name="T31" fmla="*/ 17 h 40"/>
                <a:gd name="T32" fmla="*/ 18 w 75"/>
                <a:gd name="T33" fmla="*/ 9 h 40"/>
                <a:gd name="T34" fmla="*/ 17 w 75"/>
                <a:gd name="T35" fmla="*/ 6 h 40"/>
                <a:gd name="T36" fmla="*/ 11 w 75"/>
                <a:gd name="T37" fmla="*/ 9 h 40"/>
                <a:gd name="T38" fmla="*/ 9 w 75"/>
                <a:gd name="T39" fmla="*/ 10 h 40"/>
                <a:gd name="T40" fmla="*/ 7 w 75"/>
                <a:gd name="T41" fmla="*/ 15 h 40"/>
                <a:gd name="T42" fmla="*/ 6 w 75"/>
                <a:gd name="T43" fmla="*/ 19 h 40"/>
                <a:gd name="T44" fmla="*/ 3 w 75"/>
                <a:gd name="T45" fmla="*/ 24 h 40"/>
                <a:gd name="T46" fmla="*/ 0 w 75"/>
                <a:gd name="T47" fmla="*/ 28 h 40"/>
                <a:gd name="T48" fmla="*/ 3 w 75"/>
                <a:gd name="T49" fmla="*/ 35 h 40"/>
                <a:gd name="T50" fmla="*/ 6 w 75"/>
                <a:gd name="T51" fmla="*/ 35 h 40"/>
                <a:gd name="T52" fmla="*/ 10 w 75"/>
                <a:gd name="T53" fmla="*/ 29 h 40"/>
                <a:gd name="T54" fmla="*/ 19 w 75"/>
                <a:gd name="T55" fmla="*/ 28 h 40"/>
                <a:gd name="T56" fmla="*/ 23 w 75"/>
                <a:gd name="T57" fmla="*/ 29 h 40"/>
                <a:gd name="T58" fmla="*/ 28 w 75"/>
                <a:gd name="T59" fmla="*/ 28 h 40"/>
                <a:gd name="T60" fmla="*/ 30 w 75"/>
                <a:gd name="T61" fmla="*/ 29 h 40"/>
                <a:gd name="T62" fmla="*/ 36 w 75"/>
                <a:gd name="T63" fmla="*/ 31 h 40"/>
                <a:gd name="T64" fmla="*/ 41 w 75"/>
                <a:gd name="T65" fmla="*/ 29 h 40"/>
                <a:gd name="T66" fmla="*/ 49 w 75"/>
                <a:gd name="T67" fmla="*/ 32 h 40"/>
                <a:gd name="T68" fmla="*/ 55 w 75"/>
                <a:gd name="T69" fmla="*/ 36 h 40"/>
                <a:gd name="T70" fmla="*/ 60 w 75"/>
                <a:gd name="T71" fmla="*/ 39 h 40"/>
                <a:gd name="T72" fmla="*/ 62 w 75"/>
                <a:gd name="T73" fmla="*/ 40 h 40"/>
                <a:gd name="T74" fmla="*/ 70 w 75"/>
                <a:gd name="T75" fmla="*/ 38 h 40"/>
                <a:gd name="T76" fmla="*/ 72 w 75"/>
                <a:gd name="T77" fmla="*/ 34 h 40"/>
                <a:gd name="T78" fmla="*/ 75 w 75"/>
                <a:gd name="T79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5" h="40">
                  <a:moveTo>
                    <a:pt x="75" y="31"/>
                  </a:moveTo>
                  <a:lnTo>
                    <a:pt x="75" y="28"/>
                  </a:lnTo>
                  <a:lnTo>
                    <a:pt x="74" y="25"/>
                  </a:lnTo>
                  <a:lnTo>
                    <a:pt x="72" y="23"/>
                  </a:lnTo>
                  <a:lnTo>
                    <a:pt x="71" y="21"/>
                  </a:lnTo>
                  <a:lnTo>
                    <a:pt x="70" y="19"/>
                  </a:lnTo>
                  <a:lnTo>
                    <a:pt x="71" y="17"/>
                  </a:lnTo>
                  <a:lnTo>
                    <a:pt x="70" y="15"/>
                  </a:lnTo>
                  <a:lnTo>
                    <a:pt x="68" y="15"/>
                  </a:lnTo>
                  <a:lnTo>
                    <a:pt x="70" y="13"/>
                  </a:lnTo>
                  <a:lnTo>
                    <a:pt x="68" y="10"/>
                  </a:lnTo>
                  <a:lnTo>
                    <a:pt x="63" y="10"/>
                  </a:lnTo>
                  <a:lnTo>
                    <a:pt x="59" y="12"/>
                  </a:lnTo>
                  <a:lnTo>
                    <a:pt x="57" y="9"/>
                  </a:lnTo>
                  <a:lnTo>
                    <a:pt x="55" y="8"/>
                  </a:lnTo>
                  <a:lnTo>
                    <a:pt x="53" y="5"/>
                  </a:lnTo>
                  <a:lnTo>
                    <a:pt x="51" y="4"/>
                  </a:lnTo>
                  <a:lnTo>
                    <a:pt x="49" y="4"/>
                  </a:lnTo>
                  <a:lnTo>
                    <a:pt x="48" y="1"/>
                  </a:lnTo>
                  <a:lnTo>
                    <a:pt x="47" y="0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1" y="0"/>
                  </a:lnTo>
                  <a:lnTo>
                    <a:pt x="38" y="1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4" y="12"/>
                  </a:lnTo>
                  <a:lnTo>
                    <a:pt x="33" y="16"/>
                  </a:lnTo>
                  <a:lnTo>
                    <a:pt x="29" y="20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18" y="9"/>
                  </a:lnTo>
                  <a:lnTo>
                    <a:pt x="18" y="5"/>
                  </a:lnTo>
                  <a:lnTo>
                    <a:pt x="17" y="6"/>
                  </a:lnTo>
                  <a:lnTo>
                    <a:pt x="15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9" y="10"/>
                  </a:lnTo>
                  <a:lnTo>
                    <a:pt x="6" y="12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6" y="19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7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6" y="35"/>
                  </a:lnTo>
                  <a:lnTo>
                    <a:pt x="7" y="32"/>
                  </a:lnTo>
                  <a:lnTo>
                    <a:pt x="10" y="29"/>
                  </a:lnTo>
                  <a:lnTo>
                    <a:pt x="15" y="28"/>
                  </a:lnTo>
                  <a:lnTo>
                    <a:pt x="19" y="28"/>
                  </a:lnTo>
                  <a:lnTo>
                    <a:pt x="22" y="28"/>
                  </a:lnTo>
                  <a:lnTo>
                    <a:pt x="23" y="29"/>
                  </a:lnTo>
                  <a:lnTo>
                    <a:pt x="26" y="28"/>
                  </a:lnTo>
                  <a:lnTo>
                    <a:pt x="28" y="28"/>
                  </a:lnTo>
                  <a:lnTo>
                    <a:pt x="29" y="29"/>
                  </a:lnTo>
                  <a:lnTo>
                    <a:pt x="30" y="29"/>
                  </a:lnTo>
                  <a:lnTo>
                    <a:pt x="33" y="31"/>
                  </a:lnTo>
                  <a:lnTo>
                    <a:pt x="36" y="31"/>
                  </a:lnTo>
                  <a:lnTo>
                    <a:pt x="37" y="32"/>
                  </a:lnTo>
                  <a:lnTo>
                    <a:pt x="41" y="29"/>
                  </a:lnTo>
                  <a:lnTo>
                    <a:pt x="45" y="31"/>
                  </a:lnTo>
                  <a:lnTo>
                    <a:pt x="49" y="32"/>
                  </a:lnTo>
                  <a:lnTo>
                    <a:pt x="52" y="35"/>
                  </a:lnTo>
                  <a:lnTo>
                    <a:pt x="55" y="36"/>
                  </a:lnTo>
                  <a:lnTo>
                    <a:pt x="57" y="39"/>
                  </a:lnTo>
                  <a:lnTo>
                    <a:pt x="60" y="39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6" y="39"/>
                  </a:lnTo>
                  <a:lnTo>
                    <a:pt x="70" y="38"/>
                  </a:lnTo>
                  <a:lnTo>
                    <a:pt x="71" y="35"/>
                  </a:lnTo>
                  <a:lnTo>
                    <a:pt x="72" y="34"/>
                  </a:lnTo>
                  <a:lnTo>
                    <a:pt x="74" y="32"/>
                  </a:lnTo>
                  <a:lnTo>
                    <a:pt x="75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8" name="Freeform 38"/>
            <p:cNvSpPr>
              <a:spLocks/>
            </p:cNvSpPr>
            <p:nvPr/>
          </p:nvSpPr>
          <p:spPr bwMode="auto">
            <a:xfrm>
              <a:off x="2182" y="1253"/>
              <a:ext cx="59" cy="42"/>
            </a:xfrm>
            <a:custGeom>
              <a:avLst/>
              <a:gdLst>
                <a:gd name="T0" fmla="*/ 19 w 59"/>
                <a:gd name="T1" fmla="*/ 31 h 42"/>
                <a:gd name="T2" fmla="*/ 19 w 59"/>
                <a:gd name="T3" fmla="*/ 27 h 42"/>
                <a:gd name="T4" fmla="*/ 20 w 59"/>
                <a:gd name="T5" fmla="*/ 25 h 42"/>
                <a:gd name="T6" fmla="*/ 19 w 59"/>
                <a:gd name="T7" fmla="*/ 23 h 42"/>
                <a:gd name="T8" fmla="*/ 18 w 59"/>
                <a:gd name="T9" fmla="*/ 23 h 42"/>
                <a:gd name="T10" fmla="*/ 18 w 59"/>
                <a:gd name="T11" fmla="*/ 21 h 42"/>
                <a:gd name="T12" fmla="*/ 16 w 59"/>
                <a:gd name="T13" fmla="*/ 21 h 42"/>
                <a:gd name="T14" fmla="*/ 11 w 59"/>
                <a:gd name="T15" fmla="*/ 21 h 42"/>
                <a:gd name="T16" fmla="*/ 8 w 59"/>
                <a:gd name="T17" fmla="*/ 19 h 42"/>
                <a:gd name="T18" fmla="*/ 6 w 59"/>
                <a:gd name="T19" fmla="*/ 15 h 42"/>
                <a:gd name="T20" fmla="*/ 1 w 59"/>
                <a:gd name="T21" fmla="*/ 16 h 42"/>
                <a:gd name="T22" fmla="*/ 0 w 59"/>
                <a:gd name="T23" fmla="*/ 15 h 42"/>
                <a:gd name="T24" fmla="*/ 1 w 59"/>
                <a:gd name="T25" fmla="*/ 14 h 42"/>
                <a:gd name="T26" fmla="*/ 1 w 59"/>
                <a:gd name="T27" fmla="*/ 11 h 42"/>
                <a:gd name="T28" fmla="*/ 0 w 59"/>
                <a:gd name="T29" fmla="*/ 7 h 42"/>
                <a:gd name="T30" fmla="*/ 3 w 59"/>
                <a:gd name="T31" fmla="*/ 7 h 42"/>
                <a:gd name="T32" fmla="*/ 4 w 59"/>
                <a:gd name="T33" fmla="*/ 4 h 42"/>
                <a:gd name="T34" fmla="*/ 7 w 59"/>
                <a:gd name="T35" fmla="*/ 1 h 42"/>
                <a:gd name="T36" fmla="*/ 12 w 59"/>
                <a:gd name="T37" fmla="*/ 0 h 42"/>
                <a:gd name="T38" fmla="*/ 16 w 59"/>
                <a:gd name="T39" fmla="*/ 0 h 42"/>
                <a:gd name="T40" fmla="*/ 19 w 59"/>
                <a:gd name="T41" fmla="*/ 0 h 42"/>
                <a:gd name="T42" fmla="*/ 20 w 59"/>
                <a:gd name="T43" fmla="*/ 1 h 42"/>
                <a:gd name="T44" fmla="*/ 23 w 59"/>
                <a:gd name="T45" fmla="*/ 0 h 42"/>
                <a:gd name="T46" fmla="*/ 25 w 59"/>
                <a:gd name="T47" fmla="*/ 0 h 42"/>
                <a:gd name="T48" fmla="*/ 26 w 59"/>
                <a:gd name="T49" fmla="*/ 1 h 42"/>
                <a:gd name="T50" fmla="*/ 27 w 59"/>
                <a:gd name="T51" fmla="*/ 1 h 42"/>
                <a:gd name="T52" fmla="*/ 30 w 59"/>
                <a:gd name="T53" fmla="*/ 3 h 42"/>
                <a:gd name="T54" fmla="*/ 33 w 59"/>
                <a:gd name="T55" fmla="*/ 3 h 42"/>
                <a:gd name="T56" fmla="*/ 34 w 59"/>
                <a:gd name="T57" fmla="*/ 4 h 42"/>
                <a:gd name="T58" fmla="*/ 38 w 59"/>
                <a:gd name="T59" fmla="*/ 1 h 42"/>
                <a:gd name="T60" fmla="*/ 42 w 59"/>
                <a:gd name="T61" fmla="*/ 3 h 42"/>
                <a:gd name="T62" fmla="*/ 46 w 59"/>
                <a:gd name="T63" fmla="*/ 4 h 42"/>
                <a:gd name="T64" fmla="*/ 49 w 59"/>
                <a:gd name="T65" fmla="*/ 7 h 42"/>
                <a:gd name="T66" fmla="*/ 52 w 59"/>
                <a:gd name="T67" fmla="*/ 8 h 42"/>
                <a:gd name="T68" fmla="*/ 54 w 59"/>
                <a:gd name="T69" fmla="*/ 11 h 42"/>
                <a:gd name="T70" fmla="*/ 57 w 59"/>
                <a:gd name="T71" fmla="*/ 11 h 42"/>
                <a:gd name="T72" fmla="*/ 59 w 59"/>
                <a:gd name="T73" fmla="*/ 12 h 42"/>
                <a:gd name="T74" fmla="*/ 56 w 59"/>
                <a:gd name="T75" fmla="*/ 16 h 42"/>
                <a:gd name="T76" fmla="*/ 59 w 59"/>
                <a:gd name="T77" fmla="*/ 16 h 42"/>
                <a:gd name="T78" fmla="*/ 59 w 59"/>
                <a:gd name="T79" fmla="*/ 19 h 42"/>
                <a:gd name="T80" fmla="*/ 54 w 59"/>
                <a:gd name="T81" fmla="*/ 22 h 42"/>
                <a:gd name="T82" fmla="*/ 52 w 59"/>
                <a:gd name="T83" fmla="*/ 25 h 42"/>
                <a:gd name="T84" fmla="*/ 50 w 59"/>
                <a:gd name="T85" fmla="*/ 26 h 42"/>
                <a:gd name="T86" fmla="*/ 49 w 59"/>
                <a:gd name="T87" fmla="*/ 29 h 42"/>
                <a:gd name="T88" fmla="*/ 52 w 59"/>
                <a:gd name="T89" fmla="*/ 30 h 42"/>
                <a:gd name="T90" fmla="*/ 52 w 59"/>
                <a:gd name="T91" fmla="*/ 33 h 42"/>
                <a:gd name="T92" fmla="*/ 50 w 59"/>
                <a:gd name="T93" fmla="*/ 33 h 42"/>
                <a:gd name="T94" fmla="*/ 49 w 59"/>
                <a:gd name="T95" fmla="*/ 31 h 42"/>
                <a:gd name="T96" fmla="*/ 46 w 59"/>
                <a:gd name="T97" fmla="*/ 33 h 42"/>
                <a:gd name="T98" fmla="*/ 46 w 59"/>
                <a:gd name="T99" fmla="*/ 35 h 42"/>
                <a:gd name="T100" fmla="*/ 42 w 59"/>
                <a:gd name="T101" fmla="*/ 35 h 42"/>
                <a:gd name="T102" fmla="*/ 44 w 59"/>
                <a:gd name="T103" fmla="*/ 40 h 42"/>
                <a:gd name="T104" fmla="*/ 41 w 59"/>
                <a:gd name="T105" fmla="*/ 40 h 42"/>
                <a:gd name="T106" fmla="*/ 38 w 59"/>
                <a:gd name="T107" fmla="*/ 41 h 42"/>
                <a:gd name="T108" fmla="*/ 35 w 59"/>
                <a:gd name="T109" fmla="*/ 40 h 42"/>
                <a:gd name="T110" fmla="*/ 31 w 59"/>
                <a:gd name="T111" fmla="*/ 41 h 42"/>
                <a:gd name="T112" fmla="*/ 29 w 59"/>
                <a:gd name="T113" fmla="*/ 42 h 42"/>
                <a:gd name="T114" fmla="*/ 27 w 59"/>
                <a:gd name="T115" fmla="*/ 40 h 42"/>
                <a:gd name="T116" fmla="*/ 27 w 59"/>
                <a:gd name="T117" fmla="*/ 37 h 42"/>
                <a:gd name="T118" fmla="*/ 26 w 59"/>
                <a:gd name="T119" fmla="*/ 33 h 42"/>
                <a:gd name="T120" fmla="*/ 25 w 59"/>
                <a:gd name="T121" fmla="*/ 33 h 42"/>
                <a:gd name="T122" fmla="*/ 22 w 59"/>
                <a:gd name="T123" fmla="*/ 30 h 42"/>
                <a:gd name="T124" fmla="*/ 19 w 59"/>
                <a:gd name="T125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" h="42">
                  <a:moveTo>
                    <a:pt x="19" y="31"/>
                  </a:moveTo>
                  <a:lnTo>
                    <a:pt x="19" y="27"/>
                  </a:lnTo>
                  <a:lnTo>
                    <a:pt x="20" y="25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8" y="21"/>
                  </a:lnTo>
                  <a:lnTo>
                    <a:pt x="16" y="21"/>
                  </a:lnTo>
                  <a:lnTo>
                    <a:pt x="11" y="21"/>
                  </a:lnTo>
                  <a:lnTo>
                    <a:pt x="8" y="19"/>
                  </a:lnTo>
                  <a:lnTo>
                    <a:pt x="6" y="15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1" y="14"/>
                  </a:lnTo>
                  <a:lnTo>
                    <a:pt x="1" y="11"/>
                  </a:lnTo>
                  <a:lnTo>
                    <a:pt x="0" y="7"/>
                  </a:lnTo>
                  <a:lnTo>
                    <a:pt x="3" y="7"/>
                  </a:lnTo>
                  <a:lnTo>
                    <a:pt x="4" y="4"/>
                  </a:lnTo>
                  <a:lnTo>
                    <a:pt x="7" y="1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0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30" y="3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8" y="1"/>
                  </a:lnTo>
                  <a:lnTo>
                    <a:pt x="42" y="3"/>
                  </a:lnTo>
                  <a:lnTo>
                    <a:pt x="46" y="4"/>
                  </a:lnTo>
                  <a:lnTo>
                    <a:pt x="49" y="7"/>
                  </a:lnTo>
                  <a:lnTo>
                    <a:pt x="52" y="8"/>
                  </a:lnTo>
                  <a:lnTo>
                    <a:pt x="54" y="11"/>
                  </a:lnTo>
                  <a:lnTo>
                    <a:pt x="57" y="11"/>
                  </a:lnTo>
                  <a:lnTo>
                    <a:pt x="59" y="12"/>
                  </a:lnTo>
                  <a:lnTo>
                    <a:pt x="56" y="16"/>
                  </a:lnTo>
                  <a:lnTo>
                    <a:pt x="59" y="16"/>
                  </a:lnTo>
                  <a:lnTo>
                    <a:pt x="59" y="19"/>
                  </a:lnTo>
                  <a:lnTo>
                    <a:pt x="54" y="22"/>
                  </a:lnTo>
                  <a:lnTo>
                    <a:pt x="52" y="25"/>
                  </a:lnTo>
                  <a:lnTo>
                    <a:pt x="50" y="26"/>
                  </a:lnTo>
                  <a:lnTo>
                    <a:pt x="49" y="29"/>
                  </a:lnTo>
                  <a:lnTo>
                    <a:pt x="52" y="30"/>
                  </a:lnTo>
                  <a:lnTo>
                    <a:pt x="52" y="33"/>
                  </a:lnTo>
                  <a:lnTo>
                    <a:pt x="50" y="33"/>
                  </a:lnTo>
                  <a:lnTo>
                    <a:pt x="49" y="31"/>
                  </a:lnTo>
                  <a:lnTo>
                    <a:pt x="46" y="33"/>
                  </a:lnTo>
                  <a:lnTo>
                    <a:pt x="46" y="35"/>
                  </a:lnTo>
                  <a:lnTo>
                    <a:pt x="42" y="35"/>
                  </a:lnTo>
                  <a:lnTo>
                    <a:pt x="44" y="40"/>
                  </a:lnTo>
                  <a:lnTo>
                    <a:pt x="41" y="40"/>
                  </a:lnTo>
                  <a:lnTo>
                    <a:pt x="38" y="41"/>
                  </a:lnTo>
                  <a:lnTo>
                    <a:pt x="35" y="40"/>
                  </a:lnTo>
                  <a:lnTo>
                    <a:pt x="31" y="41"/>
                  </a:lnTo>
                  <a:lnTo>
                    <a:pt x="29" y="42"/>
                  </a:lnTo>
                  <a:lnTo>
                    <a:pt x="27" y="40"/>
                  </a:lnTo>
                  <a:lnTo>
                    <a:pt x="27" y="37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2" y="30"/>
                  </a:lnTo>
                  <a:lnTo>
                    <a:pt x="19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39" name="Freeform 39"/>
            <p:cNvSpPr>
              <a:spLocks/>
            </p:cNvSpPr>
            <p:nvPr/>
          </p:nvSpPr>
          <p:spPr bwMode="auto">
            <a:xfrm>
              <a:off x="2211" y="1256"/>
              <a:ext cx="98" cy="76"/>
            </a:xfrm>
            <a:custGeom>
              <a:avLst/>
              <a:gdLst>
                <a:gd name="T0" fmla="*/ 2 w 98"/>
                <a:gd name="T1" fmla="*/ 38 h 76"/>
                <a:gd name="T2" fmla="*/ 9 w 98"/>
                <a:gd name="T3" fmla="*/ 38 h 76"/>
                <a:gd name="T4" fmla="*/ 15 w 98"/>
                <a:gd name="T5" fmla="*/ 37 h 76"/>
                <a:gd name="T6" fmla="*/ 17 w 98"/>
                <a:gd name="T7" fmla="*/ 32 h 76"/>
                <a:gd name="T8" fmla="*/ 20 w 98"/>
                <a:gd name="T9" fmla="*/ 28 h 76"/>
                <a:gd name="T10" fmla="*/ 23 w 98"/>
                <a:gd name="T11" fmla="*/ 30 h 76"/>
                <a:gd name="T12" fmla="*/ 20 w 98"/>
                <a:gd name="T13" fmla="*/ 26 h 76"/>
                <a:gd name="T14" fmla="*/ 23 w 98"/>
                <a:gd name="T15" fmla="*/ 22 h 76"/>
                <a:gd name="T16" fmla="*/ 30 w 98"/>
                <a:gd name="T17" fmla="*/ 16 h 76"/>
                <a:gd name="T18" fmla="*/ 27 w 98"/>
                <a:gd name="T19" fmla="*/ 13 h 76"/>
                <a:gd name="T20" fmla="*/ 34 w 98"/>
                <a:gd name="T21" fmla="*/ 8 h 76"/>
                <a:gd name="T22" fmla="*/ 39 w 98"/>
                <a:gd name="T23" fmla="*/ 4 h 76"/>
                <a:gd name="T24" fmla="*/ 42 w 98"/>
                <a:gd name="T25" fmla="*/ 1 h 76"/>
                <a:gd name="T26" fmla="*/ 47 w 98"/>
                <a:gd name="T27" fmla="*/ 1 h 76"/>
                <a:gd name="T28" fmla="*/ 51 w 98"/>
                <a:gd name="T29" fmla="*/ 4 h 76"/>
                <a:gd name="T30" fmla="*/ 57 w 98"/>
                <a:gd name="T31" fmla="*/ 3 h 76"/>
                <a:gd name="T32" fmla="*/ 62 w 98"/>
                <a:gd name="T33" fmla="*/ 4 h 76"/>
                <a:gd name="T34" fmla="*/ 66 w 98"/>
                <a:gd name="T35" fmla="*/ 5 h 76"/>
                <a:gd name="T36" fmla="*/ 73 w 98"/>
                <a:gd name="T37" fmla="*/ 7 h 76"/>
                <a:gd name="T38" fmla="*/ 73 w 98"/>
                <a:gd name="T39" fmla="*/ 12 h 76"/>
                <a:gd name="T40" fmla="*/ 76 w 98"/>
                <a:gd name="T41" fmla="*/ 19 h 76"/>
                <a:gd name="T42" fmla="*/ 80 w 98"/>
                <a:gd name="T43" fmla="*/ 24 h 76"/>
                <a:gd name="T44" fmla="*/ 85 w 98"/>
                <a:gd name="T45" fmla="*/ 30 h 76"/>
                <a:gd name="T46" fmla="*/ 89 w 98"/>
                <a:gd name="T47" fmla="*/ 35 h 76"/>
                <a:gd name="T48" fmla="*/ 95 w 98"/>
                <a:gd name="T49" fmla="*/ 42 h 76"/>
                <a:gd name="T50" fmla="*/ 96 w 98"/>
                <a:gd name="T51" fmla="*/ 45 h 76"/>
                <a:gd name="T52" fmla="*/ 88 w 98"/>
                <a:gd name="T53" fmla="*/ 49 h 76"/>
                <a:gd name="T54" fmla="*/ 84 w 98"/>
                <a:gd name="T55" fmla="*/ 49 h 76"/>
                <a:gd name="T56" fmla="*/ 87 w 98"/>
                <a:gd name="T57" fmla="*/ 56 h 76"/>
                <a:gd name="T58" fmla="*/ 89 w 98"/>
                <a:gd name="T59" fmla="*/ 61 h 76"/>
                <a:gd name="T60" fmla="*/ 89 w 98"/>
                <a:gd name="T61" fmla="*/ 65 h 76"/>
                <a:gd name="T62" fmla="*/ 80 w 98"/>
                <a:gd name="T63" fmla="*/ 66 h 76"/>
                <a:gd name="T64" fmla="*/ 78 w 98"/>
                <a:gd name="T65" fmla="*/ 75 h 76"/>
                <a:gd name="T66" fmla="*/ 74 w 98"/>
                <a:gd name="T67" fmla="*/ 73 h 76"/>
                <a:gd name="T68" fmla="*/ 69 w 98"/>
                <a:gd name="T69" fmla="*/ 73 h 76"/>
                <a:gd name="T70" fmla="*/ 64 w 98"/>
                <a:gd name="T71" fmla="*/ 76 h 76"/>
                <a:gd name="T72" fmla="*/ 62 w 98"/>
                <a:gd name="T73" fmla="*/ 73 h 76"/>
                <a:gd name="T74" fmla="*/ 55 w 98"/>
                <a:gd name="T75" fmla="*/ 75 h 76"/>
                <a:gd name="T76" fmla="*/ 50 w 98"/>
                <a:gd name="T77" fmla="*/ 73 h 76"/>
                <a:gd name="T78" fmla="*/ 47 w 98"/>
                <a:gd name="T79" fmla="*/ 75 h 76"/>
                <a:gd name="T80" fmla="*/ 40 w 98"/>
                <a:gd name="T81" fmla="*/ 75 h 76"/>
                <a:gd name="T82" fmla="*/ 38 w 98"/>
                <a:gd name="T83" fmla="*/ 72 h 76"/>
                <a:gd name="T84" fmla="*/ 28 w 98"/>
                <a:gd name="T85" fmla="*/ 69 h 76"/>
                <a:gd name="T86" fmla="*/ 24 w 98"/>
                <a:gd name="T87" fmla="*/ 71 h 76"/>
                <a:gd name="T88" fmla="*/ 12 w 98"/>
                <a:gd name="T89" fmla="*/ 72 h 76"/>
                <a:gd name="T90" fmla="*/ 6 w 98"/>
                <a:gd name="T91" fmla="*/ 72 h 76"/>
                <a:gd name="T92" fmla="*/ 5 w 98"/>
                <a:gd name="T93" fmla="*/ 71 h 76"/>
                <a:gd name="T94" fmla="*/ 1 w 98"/>
                <a:gd name="T95" fmla="*/ 64 h 76"/>
                <a:gd name="T96" fmla="*/ 5 w 98"/>
                <a:gd name="T97" fmla="*/ 60 h 76"/>
                <a:gd name="T98" fmla="*/ 4 w 98"/>
                <a:gd name="T99" fmla="*/ 51 h 76"/>
                <a:gd name="T100" fmla="*/ 2 w 98"/>
                <a:gd name="T101" fmla="*/ 46 h 76"/>
                <a:gd name="T102" fmla="*/ 0 w 98"/>
                <a:gd name="T103" fmla="*/ 3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8" h="76">
                  <a:moveTo>
                    <a:pt x="0" y="39"/>
                  </a:moveTo>
                  <a:lnTo>
                    <a:pt x="2" y="38"/>
                  </a:lnTo>
                  <a:lnTo>
                    <a:pt x="6" y="37"/>
                  </a:lnTo>
                  <a:lnTo>
                    <a:pt x="9" y="38"/>
                  </a:lnTo>
                  <a:lnTo>
                    <a:pt x="12" y="37"/>
                  </a:lnTo>
                  <a:lnTo>
                    <a:pt x="15" y="37"/>
                  </a:lnTo>
                  <a:lnTo>
                    <a:pt x="13" y="32"/>
                  </a:lnTo>
                  <a:lnTo>
                    <a:pt x="17" y="32"/>
                  </a:lnTo>
                  <a:lnTo>
                    <a:pt x="17" y="30"/>
                  </a:lnTo>
                  <a:lnTo>
                    <a:pt x="20" y="28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7"/>
                  </a:lnTo>
                  <a:lnTo>
                    <a:pt x="20" y="26"/>
                  </a:lnTo>
                  <a:lnTo>
                    <a:pt x="21" y="23"/>
                  </a:lnTo>
                  <a:lnTo>
                    <a:pt x="23" y="22"/>
                  </a:lnTo>
                  <a:lnTo>
                    <a:pt x="25" y="19"/>
                  </a:lnTo>
                  <a:lnTo>
                    <a:pt x="30" y="16"/>
                  </a:lnTo>
                  <a:lnTo>
                    <a:pt x="30" y="13"/>
                  </a:lnTo>
                  <a:lnTo>
                    <a:pt x="27" y="13"/>
                  </a:lnTo>
                  <a:lnTo>
                    <a:pt x="30" y="9"/>
                  </a:lnTo>
                  <a:lnTo>
                    <a:pt x="34" y="8"/>
                  </a:lnTo>
                  <a:lnTo>
                    <a:pt x="38" y="7"/>
                  </a:lnTo>
                  <a:lnTo>
                    <a:pt x="39" y="4"/>
                  </a:lnTo>
                  <a:lnTo>
                    <a:pt x="40" y="3"/>
                  </a:lnTo>
                  <a:lnTo>
                    <a:pt x="42" y="1"/>
                  </a:lnTo>
                  <a:lnTo>
                    <a:pt x="44" y="0"/>
                  </a:lnTo>
                  <a:lnTo>
                    <a:pt x="47" y="1"/>
                  </a:lnTo>
                  <a:lnTo>
                    <a:pt x="49" y="0"/>
                  </a:lnTo>
                  <a:lnTo>
                    <a:pt x="51" y="4"/>
                  </a:lnTo>
                  <a:lnTo>
                    <a:pt x="54" y="3"/>
                  </a:lnTo>
                  <a:lnTo>
                    <a:pt x="57" y="3"/>
                  </a:lnTo>
                  <a:lnTo>
                    <a:pt x="59" y="7"/>
                  </a:lnTo>
                  <a:lnTo>
                    <a:pt x="62" y="4"/>
                  </a:lnTo>
                  <a:lnTo>
                    <a:pt x="65" y="3"/>
                  </a:lnTo>
                  <a:lnTo>
                    <a:pt x="66" y="5"/>
                  </a:lnTo>
                  <a:lnTo>
                    <a:pt x="69" y="5"/>
                  </a:lnTo>
                  <a:lnTo>
                    <a:pt x="73" y="7"/>
                  </a:lnTo>
                  <a:lnTo>
                    <a:pt x="74" y="9"/>
                  </a:lnTo>
                  <a:lnTo>
                    <a:pt x="73" y="12"/>
                  </a:lnTo>
                  <a:lnTo>
                    <a:pt x="76" y="15"/>
                  </a:lnTo>
                  <a:lnTo>
                    <a:pt x="76" y="19"/>
                  </a:lnTo>
                  <a:lnTo>
                    <a:pt x="78" y="22"/>
                  </a:lnTo>
                  <a:lnTo>
                    <a:pt x="80" y="24"/>
                  </a:lnTo>
                  <a:lnTo>
                    <a:pt x="83" y="28"/>
                  </a:lnTo>
                  <a:lnTo>
                    <a:pt x="85" y="30"/>
                  </a:lnTo>
                  <a:lnTo>
                    <a:pt x="87" y="34"/>
                  </a:lnTo>
                  <a:lnTo>
                    <a:pt x="89" y="35"/>
                  </a:lnTo>
                  <a:lnTo>
                    <a:pt x="95" y="39"/>
                  </a:lnTo>
                  <a:lnTo>
                    <a:pt x="95" y="42"/>
                  </a:lnTo>
                  <a:lnTo>
                    <a:pt x="98" y="43"/>
                  </a:lnTo>
                  <a:lnTo>
                    <a:pt x="96" y="45"/>
                  </a:lnTo>
                  <a:lnTo>
                    <a:pt x="93" y="49"/>
                  </a:lnTo>
                  <a:lnTo>
                    <a:pt x="88" y="49"/>
                  </a:lnTo>
                  <a:lnTo>
                    <a:pt x="85" y="47"/>
                  </a:lnTo>
                  <a:lnTo>
                    <a:pt x="84" y="49"/>
                  </a:lnTo>
                  <a:lnTo>
                    <a:pt x="84" y="51"/>
                  </a:lnTo>
                  <a:lnTo>
                    <a:pt x="87" y="56"/>
                  </a:lnTo>
                  <a:lnTo>
                    <a:pt x="87" y="58"/>
                  </a:lnTo>
                  <a:lnTo>
                    <a:pt x="89" y="61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4" y="66"/>
                  </a:lnTo>
                  <a:lnTo>
                    <a:pt x="80" y="66"/>
                  </a:lnTo>
                  <a:lnTo>
                    <a:pt x="78" y="71"/>
                  </a:lnTo>
                  <a:lnTo>
                    <a:pt x="78" y="75"/>
                  </a:lnTo>
                  <a:lnTo>
                    <a:pt x="76" y="75"/>
                  </a:lnTo>
                  <a:lnTo>
                    <a:pt x="74" y="73"/>
                  </a:lnTo>
                  <a:lnTo>
                    <a:pt x="70" y="75"/>
                  </a:lnTo>
                  <a:lnTo>
                    <a:pt x="69" y="73"/>
                  </a:lnTo>
                  <a:lnTo>
                    <a:pt x="66" y="73"/>
                  </a:lnTo>
                  <a:lnTo>
                    <a:pt x="64" y="76"/>
                  </a:lnTo>
                  <a:lnTo>
                    <a:pt x="62" y="75"/>
                  </a:lnTo>
                  <a:lnTo>
                    <a:pt x="62" y="73"/>
                  </a:lnTo>
                  <a:lnTo>
                    <a:pt x="58" y="72"/>
                  </a:lnTo>
                  <a:lnTo>
                    <a:pt x="55" y="75"/>
                  </a:lnTo>
                  <a:lnTo>
                    <a:pt x="53" y="73"/>
                  </a:lnTo>
                  <a:lnTo>
                    <a:pt x="50" y="73"/>
                  </a:lnTo>
                  <a:lnTo>
                    <a:pt x="49" y="75"/>
                  </a:lnTo>
                  <a:lnTo>
                    <a:pt x="47" y="75"/>
                  </a:lnTo>
                  <a:lnTo>
                    <a:pt x="44" y="73"/>
                  </a:lnTo>
                  <a:lnTo>
                    <a:pt x="40" y="75"/>
                  </a:lnTo>
                  <a:lnTo>
                    <a:pt x="40" y="73"/>
                  </a:lnTo>
                  <a:lnTo>
                    <a:pt x="38" y="72"/>
                  </a:lnTo>
                  <a:lnTo>
                    <a:pt x="31" y="71"/>
                  </a:lnTo>
                  <a:lnTo>
                    <a:pt x="28" y="69"/>
                  </a:lnTo>
                  <a:lnTo>
                    <a:pt x="27" y="69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2" y="72"/>
                  </a:lnTo>
                  <a:lnTo>
                    <a:pt x="11" y="73"/>
                  </a:lnTo>
                  <a:lnTo>
                    <a:pt x="6" y="72"/>
                  </a:lnTo>
                  <a:lnTo>
                    <a:pt x="5" y="72"/>
                  </a:lnTo>
                  <a:lnTo>
                    <a:pt x="5" y="71"/>
                  </a:lnTo>
                  <a:lnTo>
                    <a:pt x="2" y="66"/>
                  </a:lnTo>
                  <a:lnTo>
                    <a:pt x="1" y="64"/>
                  </a:lnTo>
                  <a:lnTo>
                    <a:pt x="4" y="60"/>
                  </a:lnTo>
                  <a:lnTo>
                    <a:pt x="5" y="60"/>
                  </a:lnTo>
                  <a:lnTo>
                    <a:pt x="5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2" y="46"/>
                  </a:lnTo>
                  <a:lnTo>
                    <a:pt x="0" y="41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0" name="Freeform 40"/>
            <p:cNvSpPr>
              <a:spLocks/>
            </p:cNvSpPr>
            <p:nvPr/>
          </p:nvSpPr>
          <p:spPr bwMode="auto">
            <a:xfrm>
              <a:off x="2204" y="1317"/>
              <a:ext cx="193" cy="120"/>
            </a:xfrm>
            <a:custGeom>
              <a:avLst/>
              <a:gdLst>
                <a:gd name="T0" fmla="*/ 27 w 193"/>
                <a:gd name="T1" fmla="*/ 10 h 120"/>
                <a:gd name="T2" fmla="*/ 45 w 193"/>
                <a:gd name="T3" fmla="*/ 11 h 120"/>
                <a:gd name="T4" fmla="*/ 56 w 193"/>
                <a:gd name="T5" fmla="*/ 14 h 120"/>
                <a:gd name="T6" fmla="*/ 69 w 193"/>
                <a:gd name="T7" fmla="*/ 12 h 120"/>
                <a:gd name="T8" fmla="*/ 77 w 193"/>
                <a:gd name="T9" fmla="*/ 14 h 120"/>
                <a:gd name="T10" fmla="*/ 87 w 193"/>
                <a:gd name="T11" fmla="*/ 5 h 120"/>
                <a:gd name="T12" fmla="*/ 100 w 193"/>
                <a:gd name="T13" fmla="*/ 1 h 120"/>
                <a:gd name="T14" fmla="*/ 119 w 193"/>
                <a:gd name="T15" fmla="*/ 0 h 120"/>
                <a:gd name="T16" fmla="*/ 132 w 193"/>
                <a:gd name="T17" fmla="*/ 14 h 120"/>
                <a:gd name="T18" fmla="*/ 139 w 193"/>
                <a:gd name="T19" fmla="*/ 24 h 120"/>
                <a:gd name="T20" fmla="*/ 155 w 193"/>
                <a:gd name="T21" fmla="*/ 30 h 120"/>
                <a:gd name="T22" fmla="*/ 167 w 193"/>
                <a:gd name="T23" fmla="*/ 37 h 120"/>
                <a:gd name="T24" fmla="*/ 181 w 193"/>
                <a:gd name="T25" fmla="*/ 37 h 120"/>
                <a:gd name="T26" fmla="*/ 193 w 193"/>
                <a:gd name="T27" fmla="*/ 41 h 120"/>
                <a:gd name="T28" fmla="*/ 190 w 193"/>
                <a:gd name="T29" fmla="*/ 54 h 120"/>
                <a:gd name="T30" fmla="*/ 182 w 193"/>
                <a:gd name="T31" fmla="*/ 68 h 120"/>
                <a:gd name="T32" fmla="*/ 175 w 193"/>
                <a:gd name="T33" fmla="*/ 77 h 120"/>
                <a:gd name="T34" fmla="*/ 166 w 193"/>
                <a:gd name="T35" fmla="*/ 82 h 120"/>
                <a:gd name="T36" fmla="*/ 156 w 193"/>
                <a:gd name="T37" fmla="*/ 86 h 120"/>
                <a:gd name="T38" fmla="*/ 145 w 193"/>
                <a:gd name="T39" fmla="*/ 86 h 120"/>
                <a:gd name="T40" fmla="*/ 144 w 193"/>
                <a:gd name="T41" fmla="*/ 94 h 120"/>
                <a:gd name="T42" fmla="*/ 144 w 193"/>
                <a:gd name="T43" fmla="*/ 88 h 120"/>
                <a:gd name="T44" fmla="*/ 137 w 193"/>
                <a:gd name="T45" fmla="*/ 95 h 120"/>
                <a:gd name="T46" fmla="*/ 128 w 193"/>
                <a:gd name="T47" fmla="*/ 95 h 120"/>
                <a:gd name="T48" fmla="*/ 137 w 193"/>
                <a:gd name="T49" fmla="*/ 98 h 120"/>
                <a:gd name="T50" fmla="*/ 140 w 193"/>
                <a:gd name="T51" fmla="*/ 101 h 120"/>
                <a:gd name="T52" fmla="*/ 144 w 193"/>
                <a:gd name="T53" fmla="*/ 106 h 120"/>
                <a:gd name="T54" fmla="*/ 139 w 193"/>
                <a:gd name="T55" fmla="*/ 95 h 120"/>
                <a:gd name="T56" fmla="*/ 149 w 193"/>
                <a:gd name="T57" fmla="*/ 107 h 120"/>
                <a:gd name="T58" fmla="*/ 159 w 193"/>
                <a:gd name="T59" fmla="*/ 103 h 120"/>
                <a:gd name="T60" fmla="*/ 160 w 193"/>
                <a:gd name="T61" fmla="*/ 110 h 120"/>
                <a:gd name="T62" fmla="*/ 143 w 193"/>
                <a:gd name="T63" fmla="*/ 113 h 120"/>
                <a:gd name="T64" fmla="*/ 128 w 193"/>
                <a:gd name="T65" fmla="*/ 117 h 120"/>
                <a:gd name="T66" fmla="*/ 121 w 193"/>
                <a:gd name="T67" fmla="*/ 107 h 120"/>
                <a:gd name="T68" fmla="*/ 128 w 193"/>
                <a:gd name="T69" fmla="*/ 101 h 120"/>
                <a:gd name="T70" fmla="*/ 125 w 193"/>
                <a:gd name="T71" fmla="*/ 97 h 120"/>
                <a:gd name="T72" fmla="*/ 113 w 193"/>
                <a:gd name="T73" fmla="*/ 95 h 120"/>
                <a:gd name="T74" fmla="*/ 107 w 193"/>
                <a:gd name="T75" fmla="*/ 91 h 120"/>
                <a:gd name="T76" fmla="*/ 111 w 193"/>
                <a:gd name="T77" fmla="*/ 90 h 120"/>
                <a:gd name="T78" fmla="*/ 109 w 193"/>
                <a:gd name="T79" fmla="*/ 86 h 120"/>
                <a:gd name="T80" fmla="*/ 103 w 193"/>
                <a:gd name="T81" fmla="*/ 87 h 120"/>
                <a:gd name="T82" fmla="*/ 95 w 193"/>
                <a:gd name="T83" fmla="*/ 92 h 120"/>
                <a:gd name="T84" fmla="*/ 87 w 193"/>
                <a:gd name="T85" fmla="*/ 103 h 120"/>
                <a:gd name="T86" fmla="*/ 85 w 193"/>
                <a:gd name="T87" fmla="*/ 107 h 120"/>
                <a:gd name="T88" fmla="*/ 75 w 193"/>
                <a:gd name="T89" fmla="*/ 109 h 120"/>
                <a:gd name="T90" fmla="*/ 73 w 193"/>
                <a:gd name="T91" fmla="*/ 102 h 120"/>
                <a:gd name="T92" fmla="*/ 79 w 193"/>
                <a:gd name="T93" fmla="*/ 90 h 120"/>
                <a:gd name="T94" fmla="*/ 85 w 193"/>
                <a:gd name="T95" fmla="*/ 87 h 120"/>
                <a:gd name="T96" fmla="*/ 80 w 193"/>
                <a:gd name="T97" fmla="*/ 77 h 120"/>
                <a:gd name="T98" fmla="*/ 69 w 193"/>
                <a:gd name="T99" fmla="*/ 64 h 120"/>
                <a:gd name="T100" fmla="*/ 58 w 193"/>
                <a:gd name="T101" fmla="*/ 61 h 120"/>
                <a:gd name="T102" fmla="*/ 50 w 193"/>
                <a:gd name="T103" fmla="*/ 60 h 120"/>
                <a:gd name="T104" fmla="*/ 47 w 193"/>
                <a:gd name="T105" fmla="*/ 67 h 120"/>
                <a:gd name="T106" fmla="*/ 30 w 193"/>
                <a:gd name="T107" fmla="*/ 73 h 120"/>
                <a:gd name="T108" fmla="*/ 16 w 193"/>
                <a:gd name="T109" fmla="*/ 69 h 120"/>
                <a:gd name="T110" fmla="*/ 5 w 193"/>
                <a:gd name="T111" fmla="*/ 67 h 120"/>
                <a:gd name="T112" fmla="*/ 3 w 193"/>
                <a:gd name="T113" fmla="*/ 53 h 120"/>
                <a:gd name="T114" fmla="*/ 13 w 193"/>
                <a:gd name="T115" fmla="*/ 34 h 120"/>
                <a:gd name="T116" fmla="*/ 16 w 193"/>
                <a:gd name="T117" fmla="*/ 26 h 120"/>
                <a:gd name="T118" fmla="*/ 11 w 193"/>
                <a:gd name="T119" fmla="*/ 1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3" h="120">
                  <a:moveTo>
                    <a:pt x="12" y="11"/>
                  </a:moveTo>
                  <a:lnTo>
                    <a:pt x="13" y="11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7" y="10"/>
                  </a:lnTo>
                  <a:lnTo>
                    <a:pt x="31" y="10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8" y="10"/>
                  </a:lnTo>
                  <a:lnTo>
                    <a:pt x="45" y="11"/>
                  </a:lnTo>
                  <a:lnTo>
                    <a:pt x="47" y="12"/>
                  </a:lnTo>
                  <a:lnTo>
                    <a:pt x="47" y="14"/>
                  </a:lnTo>
                  <a:lnTo>
                    <a:pt x="51" y="12"/>
                  </a:lnTo>
                  <a:lnTo>
                    <a:pt x="54" y="14"/>
                  </a:lnTo>
                  <a:lnTo>
                    <a:pt x="56" y="14"/>
                  </a:lnTo>
                  <a:lnTo>
                    <a:pt x="57" y="12"/>
                  </a:lnTo>
                  <a:lnTo>
                    <a:pt x="60" y="12"/>
                  </a:lnTo>
                  <a:lnTo>
                    <a:pt x="62" y="14"/>
                  </a:lnTo>
                  <a:lnTo>
                    <a:pt x="65" y="11"/>
                  </a:lnTo>
                  <a:lnTo>
                    <a:pt x="69" y="12"/>
                  </a:lnTo>
                  <a:lnTo>
                    <a:pt x="69" y="14"/>
                  </a:lnTo>
                  <a:lnTo>
                    <a:pt x="71" y="15"/>
                  </a:lnTo>
                  <a:lnTo>
                    <a:pt x="73" y="12"/>
                  </a:lnTo>
                  <a:lnTo>
                    <a:pt x="76" y="12"/>
                  </a:lnTo>
                  <a:lnTo>
                    <a:pt x="77" y="14"/>
                  </a:lnTo>
                  <a:lnTo>
                    <a:pt x="81" y="12"/>
                  </a:lnTo>
                  <a:lnTo>
                    <a:pt x="83" y="14"/>
                  </a:lnTo>
                  <a:lnTo>
                    <a:pt x="85" y="14"/>
                  </a:lnTo>
                  <a:lnTo>
                    <a:pt x="85" y="10"/>
                  </a:lnTo>
                  <a:lnTo>
                    <a:pt x="87" y="5"/>
                  </a:lnTo>
                  <a:lnTo>
                    <a:pt x="91" y="5"/>
                  </a:lnTo>
                  <a:lnTo>
                    <a:pt x="96" y="4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0" y="1"/>
                  </a:lnTo>
                  <a:lnTo>
                    <a:pt x="102" y="0"/>
                  </a:lnTo>
                  <a:lnTo>
                    <a:pt x="109" y="1"/>
                  </a:lnTo>
                  <a:lnTo>
                    <a:pt x="114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22" y="5"/>
                  </a:lnTo>
                  <a:lnTo>
                    <a:pt x="124" y="7"/>
                  </a:lnTo>
                  <a:lnTo>
                    <a:pt x="122" y="10"/>
                  </a:lnTo>
                  <a:lnTo>
                    <a:pt x="126" y="14"/>
                  </a:lnTo>
                  <a:lnTo>
                    <a:pt x="132" y="14"/>
                  </a:lnTo>
                  <a:lnTo>
                    <a:pt x="134" y="15"/>
                  </a:lnTo>
                  <a:lnTo>
                    <a:pt x="134" y="18"/>
                  </a:lnTo>
                  <a:lnTo>
                    <a:pt x="137" y="18"/>
                  </a:lnTo>
                  <a:lnTo>
                    <a:pt x="137" y="22"/>
                  </a:lnTo>
                  <a:lnTo>
                    <a:pt x="139" y="24"/>
                  </a:lnTo>
                  <a:lnTo>
                    <a:pt x="144" y="30"/>
                  </a:lnTo>
                  <a:lnTo>
                    <a:pt x="145" y="27"/>
                  </a:lnTo>
                  <a:lnTo>
                    <a:pt x="149" y="30"/>
                  </a:lnTo>
                  <a:lnTo>
                    <a:pt x="152" y="29"/>
                  </a:lnTo>
                  <a:lnTo>
                    <a:pt x="155" y="30"/>
                  </a:lnTo>
                  <a:lnTo>
                    <a:pt x="159" y="26"/>
                  </a:lnTo>
                  <a:lnTo>
                    <a:pt x="160" y="26"/>
                  </a:lnTo>
                  <a:lnTo>
                    <a:pt x="163" y="31"/>
                  </a:lnTo>
                  <a:lnTo>
                    <a:pt x="167" y="34"/>
                  </a:lnTo>
                  <a:lnTo>
                    <a:pt x="167" y="37"/>
                  </a:lnTo>
                  <a:lnTo>
                    <a:pt x="170" y="35"/>
                  </a:lnTo>
                  <a:lnTo>
                    <a:pt x="174" y="35"/>
                  </a:lnTo>
                  <a:lnTo>
                    <a:pt x="177" y="35"/>
                  </a:lnTo>
                  <a:lnTo>
                    <a:pt x="179" y="37"/>
                  </a:lnTo>
                  <a:lnTo>
                    <a:pt x="181" y="37"/>
                  </a:lnTo>
                  <a:lnTo>
                    <a:pt x="185" y="38"/>
                  </a:lnTo>
                  <a:lnTo>
                    <a:pt x="187" y="39"/>
                  </a:lnTo>
                  <a:lnTo>
                    <a:pt x="190" y="38"/>
                  </a:lnTo>
                  <a:lnTo>
                    <a:pt x="190" y="41"/>
                  </a:lnTo>
                  <a:lnTo>
                    <a:pt x="193" y="41"/>
                  </a:lnTo>
                  <a:lnTo>
                    <a:pt x="193" y="45"/>
                  </a:lnTo>
                  <a:lnTo>
                    <a:pt x="190" y="46"/>
                  </a:lnTo>
                  <a:lnTo>
                    <a:pt x="187" y="48"/>
                  </a:lnTo>
                  <a:lnTo>
                    <a:pt x="187" y="53"/>
                  </a:lnTo>
                  <a:lnTo>
                    <a:pt x="190" y="54"/>
                  </a:lnTo>
                  <a:lnTo>
                    <a:pt x="192" y="58"/>
                  </a:lnTo>
                  <a:lnTo>
                    <a:pt x="190" y="63"/>
                  </a:lnTo>
                  <a:lnTo>
                    <a:pt x="190" y="65"/>
                  </a:lnTo>
                  <a:lnTo>
                    <a:pt x="187" y="67"/>
                  </a:lnTo>
                  <a:lnTo>
                    <a:pt x="182" y="68"/>
                  </a:lnTo>
                  <a:lnTo>
                    <a:pt x="179" y="72"/>
                  </a:lnTo>
                  <a:lnTo>
                    <a:pt x="178" y="72"/>
                  </a:lnTo>
                  <a:lnTo>
                    <a:pt x="178" y="77"/>
                  </a:lnTo>
                  <a:lnTo>
                    <a:pt x="175" y="79"/>
                  </a:lnTo>
                  <a:lnTo>
                    <a:pt x="175" y="77"/>
                  </a:lnTo>
                  <a:lnTo>
                    <a:pt x="174" y="77"/>
                  </a:lnTo>
                  <a:lnTo>
                    <a:pt x="171" y="77"/>
                  </a:lnTo>
                  <a:lnTo>
                    <a:pt x="168" y="77"/>
                  </a:lnTo>
                  <a:lnTo>
                    <a:pt x="167" y="79"/>
                  </a:lnTo>
                  <a:lnTo>
                    <a:pt x="166" y="82"/>
                  </a:lnTo>
                  <a:lnTo>
                    <a:pt x="163" y="82"/>
                  </a:lnTo>
                  <a:lnTo>
                    <a:pt x="162" y="83"/>
                  </a:lnTo>
                  <a:lnTo>
                    <a:pt x="159" y="86"/>
                  </a:lnTo>
                  <a:lnTo>
                    <a:pt x="159" y="86"/>
                  </a:lnTo>
                  <a:lnTo>
                    <a:pt x="156" y="86"/>
                  </a:lnTo>
                  <a:lnTo>
                    <a:pt x="153" y="87"/>
                  </a:lnTo>
                  <a:lnTo>
                    <a:pt x="151" y="87"/>
                  </a:lnTo>
                  <a:lnTo>
                    <a:pt x="148" y="88"/>
                  </a:lnTo>
                  <a:lnTo>
                    <a:pt x="147" y="88"/>
                  </a:lnTo>
                  <a:lnTo>
                    <a:pt x="145" y="86"/>
                  </a:lnTo>
                  <a:lnTo>
                    <a:pt x="144" y="86"/>
                  </a:lnTo>
                  <a:lnTo>
                    <a:pt x="145" y="87"/>
                  </a:lnTo>
                  <a:lnTo>
                    <a:pt x="147" y="88"/>
                  </a:lnTo>
                  <a:lnTo>
                    <a:pt x="145" y="90"/>
                  </a:lnTo>
                  <a:lnTo>
                    <a:pt x="144" y="94"/>
                  </a:lnTo>
                  <a:lnTo>
                    <a:pt x="143" y="94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5" y="90"/>
                  </a:lnTo>
                  <a:lnTo>
                    <a:pt x="144" y="88"/>
                  </a:lnTo>
                  <a:lnTo>
                    <a:pt x="143" y="88"/>
                  </a:lnTo>
                  <a:lnTo>
                    <a:pt x="143" y="90"/>
                  </a:lnTo>
                  <a:lnTo>
                    <a:pt x="139" y="92"/>
                  </a:lnTo>
                  <a:lnTo>
                    <a:pt x="137" y="94"/>
                  </a:lnTo>
                  <a:lnTo>
                    <a:pt x="137" y="95"/>
                  </a:lnTo>
                  <a:lnTo>
                    <a:pt x="134" y="95"/>
                  </a:lnTo>
                  <a:lnTo>
                    <a:pt x="133" y="94"/>
                  </a:lnTo>
                  <a:lnTo>
                    <a:pt x="132" y="95"/>
                  </a:lnTo>
                  <a:lnTo>
                    <a:pt x="129" y="95"/>
                  </a:lnTo>
                  <a:lnTo>
                    <a:pt x="128" y="95"/>
                  </a:lnTo>
                  <a:lnTo>
                    <a:pt x="129" y="97"/>
                  </a:lnTo>
                  <a:lnTo>
                    <a:pt x="133" y="97"/>
                  </a:lnTo>
                  <a:lnTo>
                    <a:pt x="134" y="98"/>
                  </a:lnTo>
                  <a:lnTo>
                    <a:pt x="136" y="99"/>
                  </a:lnTo>
                  <a:lnTo>
                    <a:pt x="137" y="98"/>
                  </a:lnTo>
                  <a:lnTo>
                    <a:pt x="139" y="99"/>
                  </a:lnTo>
                  <a:lnTo>
                    <a:pt x="137" y="101"/>
                  </a:lnTo>
                  <a:lnTo>
                    <a:pt x="137" y="102"/>
                  </a:lnTo>
                  <a:lnTo>
                    <a:pt x="139" y="101"/>
                  </a:lnTo>
                  <a:lnTo>
                    <a:pt x="140" y="101"/>
                  </a:lnTo>
                  <a:lnTo>
                    <a:pt x="139" y="103"/>
                  </a:lnTo>
                  <a:lnTo>
                    <a:pt x="140" y="102"/>
                  </a:lnTo>
                  <a:lnTo>
                    <a:pt x="141" y="102"/>
                  </a:lnTo>
                  <a:lnTo>
                    <a:pt x="143" y="105"/>
                  </a:lnTo>
                  <a:lnTo>
                    <a:pt x="144" y="106"/>
                  </a:lnTo>
                  <a:lnTo>
                    <a:pt x="147" y="107"/>
                  </a:lnTo>
                  <a:lnTo>
                    <a:pt x="148" y="107"/>
                  </a:lnTo>
                  <a:lnTo>
                    <a:pt x="144" y="103"/>
                  </a:lnTo>
                  <a:lnTo>
                    <a:pt x="140" y="98"/>
                  </a:lnTo>
                  <a:lnTo>
                    <a:pt x="139" y="95"/>
                  </a:lnTo>
                  <a:lnTo>
                    <a:pt x="140" y="94"/>
                  </a:lnTo>
                  <a:lnTo>
                    <a:pt x="141" y="97"/>
                  </a:lnTo>
                  <a:lnTo>
                    <a:pt x="141" y="101"/>
                  </a:lnTo>
                  <a:lnTo>
                    <a:pt x="148" y="106"/>
                  </a:lnTo>
                  <a:lnTo>
                    <a:pt x="149" y="107"/>
                  </a:lnTo>
                  <a:lnTo>
                    <a:pt x="151" y="105"/>
                  </a:lnTo>
                  <a:lnTo>
                    <a:pt x="152" y="105"/>
                  </a:lnTo>
                  <a:lnTo>
                    <a:pt x="155" y="106"/>
                  </a:lnTo>
                  <a:lnTo>
                    <a:pt x="155" y="103"/>
                  </a:lnTo>
                  <a:lnTo>
                    <a:pt x="159" y="103"/>
                  </a:lnTo>
                  <a:lnTo>
                    <a:pt x="162" y="103"/>
                  </a:lnTo>
                  <a:lnTo>
                    <a:pt x="162" y="105"/>
                  </a:lnTo>
                  <a:lnTo>
                    <a:pt x="160" y="106"/>
                  </a:lnTo>
                  <a:lnTo>
                    <a:pt x="162" y="107"/>
                  </a:lnTo>
                  <a:lnTo>
                    <a:pt x="160" y="110"/>
                  </a:lnTo>
                  <a:lnTo>
                    <a:pt x="156" y="110"/>
                  </a:lnTo>
                  <a:lnTo>
                    <a:pt x="151" y="109"/>
                  </a:lnTo>
                  <a:lnTo>
                    <a:pt x="148" y="110"/>
                  </a:lnTo>
                  <a:lnTo>
                    <a:pt x="147" y="114"/>
                  </a:lnTo>
                  <a:lnTo>
                    <a:pt x="143" y="113"/>
                  </a:lnTo>
                  <a:lnTo>
                    <a:pt x="137" y="117"/>
                  </a:lnTo>
                  <a:lnTo>
                    <a:pt x="133" y="120"/>
                  </a:lnTo>
                  <a:lnTo>
                    <a:pt x="129" y="120"/>
                  </a:lnTo>
                  <a:lnTo>
                    <a:pt x="126" y="118"/>
                  </a:lnTo>
                  <a:lnTo>
                    <a:pt x="128" y="117"/>
                  </a:lnTo>
                  <a:lnTo>
                    <a:pt x="129" y="113"/>
                  </a:lnTo>
                  <a:lnTo>
                    <a:pt x="129" y="111"/>
                  </a:lnTo>
                  <a:lnTo>
                    <a:pt x="125" y="107"/>
                  </a:lnTo>
                  <a:lnTo>
                    <a:pt x="124" y="107"/>
                  </a:lnTo>
                  <a:lnTo>
                    <a:pt x="121" y="107"/>
                  </a:lnTo>
                  <a:lnTo>
                    <a:pt x="119" y="109"/>
                  </a:lnTo>
                  <a:lnTo>
                    <a:pt x="118" y="107"/>
                  </a:lnTo>
                  <a:lnTo>
                    <a:pt x="119" y="103"/>
                  </a:lnTo>
                  <a:lnTo>
                    <a:pt x="124" y="101"/>
                  </a:lnTo>
                  <a:lnTo>
                    <a:pt x="128" y="101"/>
                  </a:lnTo>
                  <a:lnTo>
                    <a:pt x="129" y="99"/>
                  </a:lnTo>
                  <a:lnTo>
                    <a:pt x="128" y="98"/>
                  </a:lnTo>
                  <a:lnTo>
                    <a:pt x="126" y="95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2" y="95"/>
                  </a:lnTo>
                  <a:lnTo>
                    <a:pt x="119" y="94"/>
                  </a:lnTo>
                  <a:lnTo>
                    <a:pt x="117" y="95"/>
                  </a:lnTo>
                  <a:lnTo>
                    <a:pt x="115" y="97"/>
                  </a:lnTo>
                  <a:lnTo>
                    <a:pt x="113" y="95"/>
                  </a:lnTo>
                  <a:lnTo>
                    <a:pt x="111" y="95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11" y="91"/>
                  </a:lnTo>
                  <a:lnTo>
                    <a:pt x="107" y="91"/>
                  </a:lnTo>
                  <a:lnTo>
                    <a:pt x="103" y="91"/>
                  </a:lnTo>
                  <a:lnTo>
                    <a:pt x="102" y="88"/>
                  </a:lnTo>
                  <a:lnTo>
                    <a:pt x="105" y="88"/>
                  </a:lnTo>
                  <a:lnTo>
                    <a:pt x="109" y="88"/>
                  </a:lnTo>
                  <a:lnTo>
                    <a:pt x="111" y="90"/>
                  </a:lnTo>
                  <a:lnTo>
                    <a:pt x="113" y="88"/>
                  </a:lnTo>
                  <a:lnTo>
                    <a:pt x="115" y="87"/>
                  </a:lnTo>
                  <a:lnTo>
                    <a:pt x="111" y="88"/>
                  </a:lnTo>
                  <a:lnTo>
                    <a:pt x="110" y="87"/>
                  </a:lnTo>
                  <a:lnTo>
                    <a:pt x="109" y="86"/>
                  </a:lnTo>
                  <a:lnTo>
                    <a:pt x="107" y="84"/>
                  </a:lnTo>
                  <a:lnTo>
                    <a:pt x="107" y="86"/>
                  </a:lnTo>
                  <a:lnTo>
                    <a:pt x="106" y="87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102" y="86"/>
                  </a:lnTo>
                  <a:lnTo>
                    <a:pt x="100" y="88"/>
                  </a:lnTo>
                  <a:lnTo>
                    <a:pt x="98" y="88"/>
                  </a:lnTo>
                  <a:lnTo>
                    <a:pt x="95" y="90"/>
                  </a:lnTo>
                  <a:lnTo>
                    <a:pt x="95" y="92"/>
                  </a:lnTo>
                  <a:lnTo>
                    <a:pt x="94" y="97"/>
                  </a:lnTo>
                  <a:lnTo>
                    <a:pt x="92" y="97"/>
                  </a:lnTo>
                  <a:lnTo>
                    <a:pt x="92" y="98"/>
                  </a:lnTo>
                  <a:lnTo>
                    <a:pt x="88" y="103"/>
                  </a:lnTo>
                  <a:lnTo>
                    <a:pt x="87" y="103"/>
                  </a:lnTo>
                  <a:lnTo>
                    <a:pt x="85" y="102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7" y="106"/>
                  </a:lnTo>
                  <a:lnTo>
                    <a:pt x="85" y="107"/>
                  </a:lnTo>
                  <a:lnTo>
                    <a:pt x="85" y="109"/>
                  </a:lnTo>
                  <a:lnTo>
                    <a:pt x="84" y="106"/>
                  </a:lnTo>
                  <a:lnTo>
                    <a:pt x="80" y="107"/>
                  </a:lnTo>
                  <a:lnTo>
                    <a:pt x="79" y="109"/>
                  </a:lnTo>
                  <a:lnTo>
                    <a:pt x="75" y="109"/>
                  </a:lnTo>
                  <a:lnTo>
                    <a:pt x="71" y="107"/>
                  </a:lnTo>
                  <a:lnTo>
                    <a:pt x="69" y="105"/>
                  </a:lnTo>
                  <a:lnTo>
                    <a:pt x="71" y="103"/>
                  </a:lnTo>
                  <a:lnTo>
                    <a:pt x="73" y="103"/>
                  </a:lnTo>
                  <a:lnTo>
                    <a:pt x="73" y="102"/>
                  </a:lnTo>
                  <a:lnTo>
                    <a:pt x="75" y="98"/>
                  </a:lnTo>
                  <a:lnTo>
                    <a:pt x="76" y="98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9" y="90"/>
                  </a:lnTo>
                  <a:lnTo>
                    <a:pt x="81" y="90"/>
                  </a:lnTo>
                  <a:lnTo>
                    <a:pt x="84" y="91"/>
                  </a:lnTo>
                  <a:lnTo>
                    <a:pt x="87" y="91"/>
                  </a:lnTo>
                  <a:lnTo>
                    <a:pt x="88" y="90"/>
                  </a:lnTo>
                  <a:lnTo>
                    <a:pt x="85" y="87"/>
                  </a:lnTo>
                  <a:lnTo>
                    <a:pt x="87" y="86"/>
                  </a:lnTo>
                  <a:lnTo>
                    <a:pt x="87" y="83"/>
                  </a:lnTo>
                  <a:lnTo>
                    <a:pt x="83" y="82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77" y="76"/>
                  </a:lnTo>
                  <a:lnTo>
                    <a:pt x="77" y="73"/>
                  </a:lnTo>
                  <a:lnTo>
                    <a:pt x="76" y="69"/>
                  </a:lnTo>
                  <a:lnTo>
                    <a:pt x="73" y="68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8" y="65"/>
                  </a:lnTo>
                  <a:lnTo>
                    <a:pt x="64" y="65"/>
                  </a:lnTo>
                  <a:lnTo>
                    <a:pt x="61" y="61"/>
                  </a:lnTo>
                  <a:lnTo>
                    <a:pt x="58" y="61"/>
                  </a:lnTo>
                  <a:lnTo>
                    <a:pt x="56" y="58"/>
                  </a:lnTo>
                  <a:lnTo>
                    <a:pt x="56" y="60"/>
                  </a:lnTo>
                  <a:lnTo>
                    <a:pt x="53" y="60"/>
                  </a:lnTo>
                  <a:lnTo>
                    <a:pt x="51" y="61"/>
                  </a:lnTo>
                  <a:lnTo>
                    <a:pt x="50" y="60"/>
                  </a:lnTo>
                  <a:lnTo>
                    <a:pt x="49" y="61"/>
                  </a:lnTo>
                  <a:lnTo>
                    <a:pt x="47" y="60"/>
                  </a:lnTo>
                  <a:lnTo>
                    <a:pt x="47" y="63"/>
                  </a:lnTo>
                  <a:lnTo>
                    <a:pt x="47" y="64"/>
                  </a:lnTo>
                  <a:lnTo>
                    <a:pt x="47" y="67"/>
                  </a:lnTo>
                  <a:lnTo>
                    <a:pt x="45" y="68"/>
                  </a:lnTo>
                  <a:lnTo>
                    <a:pt x="42" y="69"/>
                  </a:lnTo>
                  <a:lnTo>
                    <a:pt x="34" y="71"/>
                  </a:lnTo>
                  <a:lnTo>
                    <a:pt x="32" y="73"/>
                  </a:lnTo>
                  <a:lnTo>
                    <a:pt x="30" y="73"/>
                  </a:lnTo>
                  <a:lnTo>
                    <a:pt x="26" y="75"/>
                  </a:lnTo>
                  <a:lnTo>
                    <a:pt x="24" y="73"/>
                  </a:lnTo>
                  <a:lnTo>
                    <a:pt x="23" y="71"/>
                  </a:lnTo>
                  <a:lnTo>
                    <a:pt x="20" y="69"/>
                  </a:lnTo>
                  <a:lnTo>
                    <a:pt x="16" y="69"/>
                  </a:lnTo>
                  <a:lnTo>
                    <a:pt x="12" y="68"/>
                  </a:lnTo>
                  <a:lnTo>
                    <a:pt x="9" y="68"/>
                  </a:lnTo>
                  <a:lnTo>
                    <a:pt x="8" y="69"/>
                  </a:lnTo>
                  <a:lnTo>
                    <a:pt x="7" y="69"/>
                  </a:lnTo>
                  <a:lnTo>
                    <a:pt x="5" y="67"/>
                  </a:lnTo>
                  <a:lnTo>
                    <a:pt x="3" y="65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58"/>
                  </a:lnTo>
                  <a:lnTo>
                    <a:pt x="3" y="53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5" y="46"/>
                  </a:lnTo>
                  <a:lnTo>
                    <a:pt x="12" y="38"/>
                  </a:lnTo>
                  <a:lnTo>
                    <a:pt x="13" y="34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8" y="29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8" y="24"/>
                  </a:lnTo>
                  <a:lnTo>
                    <a:pt x="15" y="23"/>
                  </a:lnTo>
                  <a:lnTo>
                    <a:pt x="13" y="19"/>
                  </a:lnTo>
                  <a:lnTo>
                    <a:pt x="12" y="18"/>
                  </a:lnTo>
                  <a:lnTo>
                    <a:pt x="11" y="12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1" name="Freeform 41"/>
            <p:cNvSpPr>
              <a:spLocks/>
            </p:cNvSpPr>
            <p:nvPr/>
          </p:nvSpPr>
          <p:spPr bwMode="auto">
            <a:xfrm>
              <a:off x="2251" y="1375"/>
              <a:ext cx="41" cy="47"/>
            </a:xfrm>
            <a:custGeom>
              <a:avLst/>
              <a:gdLst>
                <a:gd name="T0" fmla="*/ 0 w 41"/>
                <a:gd name="T1" fmla="*/ 9 h 47"/>
                <a:gd name="T2" fmla="*/ 0 w 41"/>
                <a:gd name="T3" fmla="*/ 6 h 47"/>
                <a:gd name="T4" fmla="*/ 0 w 41"/>
                <a:gd name="T5" fmla="*/ 5 h 47"/>
                <a:gd name="T6" fmla="*/ 0 w 41"/>
                <a:gd name="T7" fmla="*/ 2 h 47"/>
                <a:gd name="T8" fmla="*/ 2 w 41"/>
                <a:gd name="T9" fmla="*/ 3 h 47"/>
                <a:gd name="T10" fmla="*/ 3 w 41"/>
                <a:gd name="T11" fmla="*/ 2 h 47"/>
                <a:gd name="T12" fmla="*/ 4 w 41"/>
                <a:gd name="T13" fmla="*/ 3 h 47"/>
                <a:gd name="T14" fmla="*/ 6 w 41"/>
                <a:gd name="T15" fmla="*/ 2 h 47"/>
                <a:gd name="T16" fmla="*/ 9 w 41"/>
                <a:gd name="T17" fmla="*/ 2 h 47"/>
                <a:gd name="T18" fmla="*/ 9 w 41"/>
                <a:gd name="T19" fmla="*/ 0 h 47"/>
                <a:gd name="T20" fmla="*/ 11 w 41"/>
                <a:gd name="T21" fmla="*/ 3 h 47"/>
                <a:gd name="T22" fmla="*/ 14 w 41"/>
                <a:gd name="T23" fmla="*/ 3 h 47"/>
                <a:gd name="T24" fmla="*/ 17 w 41"/>
                <a:gd name="T25" fmla="*/ 7 h 47"/>
                <a:gd name="T26" fmla="*/ 21 w 41"/>
                <a:gd name="T27" fmla="*/ 7 h 47"/>
                <a:gd name="T28" fmla="*/ 22 w 41"/>
                <a:gd name="T29" fmla="*/ 6 h 47"/>
                <a:gd name="T30" fmla="*/ 22 w 41"/>
                <a:gd name="T31" fmla="*/ 6 h 47"/>
                <a:gd name="T32" fmla="*/ 26 w 41"/>
                <a:gd name="T33" fmla="*/ 10 h 47"/>
                <a:gd name="T34" fmla="*/ 29 w 41"/>
                <a:gd name="T35" fmla="*/ 11 h 47"/>
                <a:gd name="T36" fmla="*/ 30 w 41"/>
                <a:gd name="T37" fmla="*/ 15 h 47"/>
                <a:gd name="T38" fmla="*/ 30 w 41"/>
                <a:gd name="T39" fmla="*/ 18 h 47"/>
                <a:gd name="T40" fmla="*/ 33 w 41"/>
                <a:gd name="T41" fmla="*/ 19 h 47"/>
                <a:gd name="T42" fmla="*/ 33 w 41"/>
                <a:gd name="T43" fmla="*/ 21 h 47"/>
                <a:gd name="T44" fmla="*/ 36 w 41"/>
                <a:gd name="T45" fmla="*/ 24 h 47"/>
                <a:gd name="T46" fmla="*/ 40 w 41"/>
                <a:gd name="T47" fmla="*/ 25 h 47"/>
                <a:gd name="T48" fmla="*/ 40 w 41"/>
                <a:gd name="T49" fmla="*/ 28 h 47"/>
                <a:gd name="T50" fmla="*/ 38 w 41"/>
                <a:gd name="T51" fmla="*/ 29 h 47"/>
                <a:gd name="T52" fmla="*/ 41 w 41"/>
                <a:gd name="T53" fmla="*/ 32 h 47"/>
                <a:gd name="T54" fmla="*/ 40 w 41"/>
                <a:gd name="T55" fmla="*/ 33 h 47"/>
                <a:gd name="T56" fmla="*/ 37 w 41"/>
                <a:gd name="T57" fmla="*/ 33 h 47"/>
                <a:gd name="T58" fmla="*/ 34 w 41"/>
                <a:gd name="T59" fmla="*/ 32 h 47"/>
                <a:gd name="T60" fmla="*/ 32 w 41"/>
                <a:gd name="T61" fmla="*/ 32 h 47"/>
                <a:gd name="T62" fmla="*/ 29 w 41"/>
                <a:gd name="T63" fmla="*/ 33 h 47"/>
                <a:gd name="T64" fmla="*/ 29 w 41"/>
                <a:gd name="T65" fmla="*/ 37 h 47"/>
                <a:gd name="T66" fmla="*/ 29 w 41"/>
                <a:gd name="T67" fmla="*/ 40 h 47"/>
                <a:gd name="T68" fmla="*/ 28 w 41"/>
                <a:gd name="T69" fmla="*/ 40 h 47"/>
                <a:gd name="T70" fmla="*/ 26 w 41"/>
                <a:gd name="T71" fmla="*/ 44 h 47"/>
                <a:gd name="T72" fmla="*/ 26 w 41"/>
                <a:gd name="T73" fmla="*/ 45 h 47"/>
                <a:gd name="T74" fmla="*/ 24 w 41"/>
                <a:gd name="T75" fmla="*/ 45 h 47"/>
                <a:gd name="T76" fmla="*/ 22 w 41"/>
                <a:gd name="T77" fmla="*/ 47 h 47"/>
                <a:gd name="T78" fmla="*/ 22 w 41"/>
                <a:gd name="T79" fmla="*/ 45 h 47"/>
                <a:gd name="T80" fmla="*/ 21 w 41"/>
                <a:gd name="T81" fmla="*/ 43 h 47"/>
                <a:gd name="T82" fmla="*/ 21 w 41"/>
                <a:gd name="T83" fmla="*/ 32 h 47"/>
                <a:gd name="T84" fmla="*/ 19 w 41"/>
                <a:gd name="T85" fmla="*/ 28 h 47"/>
                <a:gd name="T86" fmla="*/ 18 w 41"/>
                <a:gd name="T87" fmla="*/ 25 h 47"/>
                <a:gd name="T88" fmla="*/ 11 w 41"/>
                <a:gd name="T89" fmla="*/ 21 h 47"/>
                <a:gd name="T90" fmla="*/ 11 w 41"/>
                <a:gd name="T91" fmla="*/ 18 h 47"/>
                <a:gd name="T92" fmla="*/ 7 w 41"/>
                <a:gd name="T93" fmla="*/ 14 h 47"/>
                <a:gd name="T94" fmla="*/ 6 w 41"/>
                <a:gd name="T95" fmla="*/ 9 h 47"/>
                <a:gd name="T96" fmla="*/ 0 w 41"/>
                <a:gd name="T97" fmla="*/ 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1" h="47">
                  <a:moveTo>
                    <a:pt x="0" y="9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3"/>
                  </a:lnTo>
                  <a:lnTo>
                    <a:pt x="3" y="2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7" y="7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6" y="10"/>
                  </a:lnTo>
                  <a:lnTo>
                    <a:pt x="29" y="11"/>
                  </a:lnTo>
                  <a:lnTo>
                    <a:pt x="30" y="15"/>
                  </a:lnTo>
                  <a:lnTo>
                    <a:pt x="30" y="18"/>
                  </a:lnTo>
                  <a:lnTo>
                    <a:pt x="33" y="19"/>
                  </a:lnTo>
                  <a:lnTo>
                    <a:pt x="33" y="21"/>
                  </a:lnTo>
                  <a:lnTo>
                    <a:pt x="36" y="24"/>
                  </a:lnTo>
                  <a:lnTo>
                    <a:pt x="40" y="25"/>
                  </a:lnTo>
                  <a:lnTo>
                    <a:pt x="40" y="28"/>
                  </a:lnTo>
                  <a:lnTo>
                    <a:pt x="38" y="29"/>
                  </a:lnTo>
                  <a:lnTo>
                    <a:pt x="41" y="32"/>
                  </a:lnTo>
                  <a:lnTo>
                    <a:pt x="40" y="33"/>
                  </a:lnTo>
                  <a:lnTo>
                    <a:pt x="37" y="33"/>
                  </a:lnTo>
                  <a:lnTo>
                    <a:pt x="34" y="32"/>
                  </a:lnTo>
                  <a:lnTo>
                    <a:pt x="32" y="32"/>
                  </a:lnTo>
                  <a:lnTo>
                    <a:pt x="29" y="33"/>
                  </a:lnTo>
                  <a:lnTo>
                    <a:pt x="29" y="37"/>
                  </a:lnTo>
                  <a:lnTo>
                    <a:pt x="29" y="40"/>
                  </a:lnTo>
                  <a:lnTo>
                    <a:pt x="28" y="40"/>
                  </a:lnTo>
                  <a:lnTo>
                    <a:pt x="26" y="44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21" y="43"/>
                  </a:lnTo>
                  <a:lnTo>
                    <a:pt x="21" y="32"/>
                  </a:lnTo>
                  <a:lnTo>
                    <a:pt x="19" y="28"/>
                  </a:lnTo>
                  <a:lnTo>
                    <a:pt x="18" y="25"/>
                  </a:lnTo>
                  <a:lnTo>
                    <a:pt x="11" y="21"/>
                  </a:lnTo>
                  <a:lnTo>
                    <a:pt x="11" y="18"/>
                  </a:lnTo>
                  <a:lnTo>
                    <a:pt x="7" y="14"/>
                  </a:lnTo>
                  <a:lnTo>
                    <a:pt x="6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2" name="Freeform 42"/>
            <p:cNvSpPr>
              <a:spLocks/>
            </p:cNvSpPr>
            <p:nvPr/>
          </p:nvSpPr>
          <p:spPr bwMode="auto">
            <a:xfrm>
              <a:off x="2186" y="1384"/>
              <a:ext cx="103" cy="66"/>
            </a:xfrm>
            <a:custGeom>
              <a:avLst/>
              <a:gdLst>
                <a:gd name="T0" fmla="*/ 26 w 103"/>
                <a:gd name="T1" fmla="*/ 2 h 66"/>
                <a:gd name="T2" fmla="*/ 30 w 103"/>
                <a:gd name="T3" fmla="*/ 1 h 66"/>
                <a:gd name="T4" fmla="*/ 38 w 103"/>
                <a:gd name="T5" fmla="*/ 2 h 66"/>
                <a:gd name="T6" fmla="*/ 42 w 103"/>
                <a:gd name="T7" fmla="*/ 6 h 66"/>
                <a:gd name="T8" fmla="*/ 48 w 103"/>
                <a:gd name="T9" fmla="*/ 6 h 66"/>
                <a:gd name="T10" fmla="*/ 52 w 103"/>
                <a:gd name="T11" fmla="*/ 4 h 66"/>
                <a:gd name="T12" fmla="*/ 63 w 103"/>
                <a:gd name="T13" fmla="*/ 1 h 66"/>
                <a:gd name="T14" fmla="*/ 72 w 103"/>
                <a:gd name="T15" fmla="*/ 5 h 66"/>
                <a:gd name="T16" fmla="*/ 76 w 103"/>
                <a:gd name="T17" fmla="*/ 12 h 66"/>
                <a:gd name="T18" fmla="*/ 84 w 103"/>
                <a:gd name="T19" fmla="*/ 19 h 66"/>
                <a:gd name="T20" fmla="*/ 86 w 103"/>
                <a:gd name="T21" fmla="*/ 34 h 66"/>
                <a:gd name="T22" fmla="*/ 89 w 103"/>
                <a:gd name="T23" fmla="*/ 40 h 66"/>
                <a:gd name="T24" fmla="*/ 97 w 103"/>
                <a:gd name="T25" fmla="*/ 42 h 66"/>
                <a:gd name="T26" fmla="*/ 102 w 103"/>
                <a:gd name="T27" fmla="*/ 39 h 66"/>
                <a:gd name="T28" fmla="*/ 103 w 103"/>
                <a:gd name="T29" fmla="*/ 42 h 66"/>
                <a:gd name="T30" fmla="*/ 103 w 103"/>
                <a:gd name="T31" fmla="*/ 44 h 66"/>
                <a:gd name="T32" fmla="*/ 99 w 103"/>
                <a:gd name="T33" fmla="*/ 49 h 66"/>
                <a:gd name="T34" fmla="*/ 95 w 103"/>
                <a:gd name="T35" fmla="*/ 51 h 66"/>
                <a:gd name="T36" fmla="*/ 95 w 103"/>
                <a:gd name="T37" fmla="*/ 54 h 66"/>
                <a:gd name="T38" fmla="*/ 93 w 103"/>
                <a:gd name="T39" fmla="*/ 61 h 66"/>
                <a:gd name="T40" fmla="*/ 91 w 103"/>
                <a:gd name="T41" fmla="*/ 64 h 66"/>
                <a:gd name="T42" fmla="*/ 87 w 103"/>
                <a:gd name="T43" fmla="*/ 61 h 66"/>
                <a:gd name="T44" fmla="*/ 84 w 103"/>
                <a:gd name="T45" fmla="*/ 59 h 66"/>
                <a:gd name="T46" fmla="*/ 76 w 103"/>
                <a:gd name="T47" fmla="*/ 58 h 66"/>
                <a:gd name="T48" fmla="*/ 67 w 103"/>
                <a:gd name="T49" fmla="*/ 62 h 66"/>
                <a:gd name="T50" fmla="*/ 63 w 103"/>
                <a:gd name="T51" fmla="*/ 65 h 66"/>
                <a:gd name="T52" fmla="*/ 57 w 103"/>
                <a:gd name="T53" fmla="*/ 65 h 66"/>
                <a:gd name="T54" fmla="*/ 53 w 103"/>
                <a:gd name="T55" fmla="*/ 64 h 66"/>
                <a:gd name="T56" fmla="*/ 49 w 103"/>
                <a:gd name="T57" fmla="*/ 64 h 66"/>
                <a:gd name="T58" fmla="*/ 41 w 103"/>
                <a:gd name="T59" fmla="*/ 64 h 66"/>
                <a:gd name="T60" fmla="*/ 38 w 103"/>
                <a:gd name="T61" fmla="*/ 64 h 66"/>
                <a:gd name="T62" fmla="*/ 33 w 103"/>
                <a:gd name="T63" fmla="*/ 65 h 66"/>
                <a:gd name="T64" fmla="*/ 33 w 103"/>
                <a:gd name="T65" fmla="*/ 61 h 66"/>
                <a:gd name="T66" fmla="*/ 31 w 103"/>
                <a:gd name="T67" fmla="*/ 58 h 66"/>
                <a:gd name="T68" fmla="*/ 27 w 103"/>
                <a:gd name="T69" fmla="*/ 55 h 66"/>
                <a:gd name="T70" fmla="*/ 29 w 103"/>
                <a:gd name="T71" fmla="*/ 51 h 66"/>
                <a:gd name="T72" fmla="*/ 23 w 103"/>
                <a:gd name="T73" fmla="*/ 54 h 66"/>
                <a:gd name="T74" fmla="*/ 18 w 103"/>
                <a:gd name="T75" fmla="*/ 53 h 66"/>
                <a:gd name="T76" fmla="*/ 14 w 103"/>
                <a:gd name="T77" fmla="*/ 50 h 66"/>
                <a:gd name="T78" fmla="*/ 14 w 103"/>
                <a:gd name="T79" fmla="*/ 46 h 66"/>
                <a:gd name="T80" fmla="*/ 8 w 103"/>
                <a:gd name="T81" fmla="*/ 42 h 66"/>
                <a:gd name="T82" fmla="*/ 4 w 103"/>
                <a:gd name="T83" fmla="*/ 35 h 66"/>
                <a:gd name="T84" fmla="*/ 0 w 103"/>
                <a:gd name="T85" fmla="*/ 32 h 66"/>
                <a:gd name="T86" fmla="*/ 6 w 103"/>
                <a:gd name="T87" fmla="*/ 30 h 66"/>
                <a:gd name="T88" fmla="*/ 10 w 103"/>
                <a:gd name="T89" fmla="*/ 28 h 66"/>
                <a:gd name="T90" fmla="*/ 11 w 103"/>
                <a:gd name="T91" fmla="*/ 24 h 66"/>
                <a:gd name="T92" fmla="*/ 18 w 103"/>
                <a:gd name="T93" fmla="*/ 10 h 66"/>
                <a:gd name="T94" fmla="*/ 23 w 103"/>
                <a:gd name="T95" fmla="*/ 5 h 66"/>
                <a:gd name="T96" fmla="*/ 25 w 103"/>
                <a:gd name="T97" fmla="*/ 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3" h="66">
                  <a:moveTo>
                    <a:pt x="25" y="2"/>
                  </a:moveTo>
                  <a:lnTo>
                    <a:pt x="26" y="2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41" y="4"/>
                  </a:lnTo>
                  <a:lnTo>
                    <a:pt x="42" y="6"/>
                  </a:lnTo>
                  <a:lnTo>
                    <a:pt x="44" y="8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60" y="2"/>
                  </a:lnTo>
                  <a:lnTo>
                    <a:pt x="63" y="1"/>
                  </a:lnTo>
                  <a:lnTo>
                    <a:pt x="71" y="0"/>
                  </a:lnTo>
                  <a:lnTo>
                    <a:pt x="72" y="5"/>
                  </a:lnTo>
                  <a:lnTo>
                    <a:pt x="76" y="9"/>
                  </a:lnTo>
                  <a:lnTo>
                    <a:pt x="76" y="12"/>
                  </a:lnTo>
                  <a:lnTo>
                    <a:pt x="83" y="16"/>
                  </a:lnTo>
                  <a:lnTo>
                    <a:pt x="84" y="19"/>
                  </a:lnTo>
                  <a:lnTo>
                    <a:pt x="86" y="23"/>
                  </a:lnTo>
                  <a:lnTo>
                    <a:pt x="86" y="34"/>
                  </a:lnTo>
                  <a:lnTo>
                    <a:pt x="87" y="36"/>
                  </a:lnTo>
                  <a:lnTo>
                    <a:pt x="89" y="40"/>
                  </a:lnTo>
                  <a:lnTo>
                    <a:pt x="93" y="42"/>
                  </a:lnTo>
                  <a:lnTo>
                    <a:pt x="97" y="42"/>
                  </a:lnTo>
                  <a:lnTo>
                    <a:pt x="98" y="40"/>
                  </a:lnTo>
                  <a:lnTo>
                    <a:pt x="102" y="39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103" y="43"/>
                  </a:lnTo>
                  <a:lnTo>
                    <a:pt x="103" y="44"/>
                  </a:lnTo>
                  <a:lnTo>
                    <a:pt x="102" y="49"/>
                  </a:lnTo>
                  <a:lnTo>
                    <a:pt x="99" y="49"/>
                  </a:lnTo>
                  <a:lnTo>
                    <a:pt x="95" y="49"/>
                  </a:lnTo>
                  <a:lnTo>
                    <a:pt x="95" y="51"/>
                  </a:lnTo>
                  <a:lnTo>
                    <a:pt x="94" y="53"/>
                  </a:lnTo>
                  <a:lnTo>
                    <a:pt x="95" y="54"/>
                  </a:lnTo>
                  <a:lnTo>
                    <a:pt x="94" y="58"/>
                  </a:lnTo>
                  <a:lnTo>
                    <a:pt x="93" y="61"/>
                  </a:lnTo>
                  <a:lnTo>
                    <a:pt x="94" y="64"/>
                  </a:lnTo>
                  <a:lnTo>
                    <a:pt x="91" y="64"/>
                  </a:lnTo>
                  <a:lnTo>
                    <a:pt x="91" y="62"/>
                  </a:lnTo>
                  <a:lnTo>
                    <a:pt x="87" y="61"/>
                  </a:lnTo>
                  <a:lnTo>
                    <a:pt x="86" y="61"/>
                  </a:lnTo>
                  <a:lnTo>
                    <a:pt x="84" y="59"/>
                  </a:lnTo>
                  <a:lnTo>
                    <a:pt x="80" y="58"/>
                  </a:lnTo>
                  <a:lnTo>
                    <a:pt x="76" y="58"/>
                  </a:lnTo>
                  <a:lnTo>
                    <a:pt x="74" y="58"/>
                  </a:lnTo>
                  <a:lnTo>
                    <a:pt x="67" y="62"/>
                  </a:lnTo>
                  <a:lnTo>
                    <a:pt x="65" y="64"/>
                  </a:lnTo>
                  <a:lnTo>
                    <a:pt x="63" y="65"/>
                  </a:lnTo>
                  <a:lnTo>
                    <a:pt x="61" y="65"/>
                  </a:lnTo>
                  <a:lnTo>
                    <a:pt x="57" y="65"/>
                  </a:lnTo>
                  <a:lnTo>
                    <a:pt x="55" y="65"/>
                  </a:lnTo>
                  <a:lnTo>
                    <a:pt x="53" y="64"/>
                  </a:lnTo>
                  <a:lnTo>
                    <a:pt x="50" y="65"/>
                  </a:lnTo>
                  <a:lnTo>
                    <a:pt x="49" y="64"/>
                  </a:lnTo>
                  <a:lnTo>
                    <a:pt x="45" y="66"/>
                  </a:lnTo>
                  <a:lnTo>
                    <a:pt x="41" y="64"/>
                  </a:lnTo>
                  <a:lnTo>
                    <a:pt x="40" y="65"/>
                  </a:lnTo>
                  <a:lnTo>
                    <a:pt x="38" y="64"/>
                  </a:lnTo>
                  <a:lnTo>
                    <a:pt x="36" y="64"/>
                  </a:lnTo>
                  <a:lnTo>
                    <a:pt x="33" y="65"/>
                  </a:lnTo>
                  <a:lnTo>
                    <a:pt x="31" y="62"/>
                  </a:lnTo>
                  <a:lnTo>
                    <a:pt x="33" y="61"/>
                  </a:lnTo>
                  <a:lnTo>
                    <a:pt x="33" y="59"/>
                  </a:lnTo>
                  <a:lnTo>
                    <a:pt x="31" y="58"/>
                  </a:lnTo>
                  <a:lnTo>
                    <a:pt x="27" y="58"/>
                  </a:lnTo>
                  <a:lnTo>
                    <a:pt x="27" y="55"/>
                  </a:lnTo>
                  <a:lnTo>
                    <a:pt x="26" y="54"/>
                  </a:lnTo>
                  <a:lnTo>
                    <a:pt x="29" y="51"/>
                  </a:lnTo>
                  <a:lnTo>
                    <a:pt x="25" y="51"/>
                  </a:lnTo>
                  <a:lnTo>
                    <a:pt x="23" y="54"/>
                  </a:lnTo>
                  <a:lnTo>
                    <a:pt x="21" y="51"/>
                  </a:lnTo>
                  <a:lnTo>
                    <a:pt x="18" y="53"/>
                  </a:lnTo>
                  <a:lnTo>
                    <a:pt x="18" y="51"/>
                  </a:lnTo>
                  <a:lnTo>
                    <a:pt x="14" y="50"/>
                  </a:lnTo>
                  <a:lnTo>
                    <a:pt x="12" y="49"/>
                  </a:lnTo>
                  <a:lnTo>
                    <a:pt x="14" y="46"/>
                  </a:lnTo>
                  <a:lnTo>
                    <a:pt x="11" y="43"/>
                  </a:lnTo>
                  <a:lnTo>
                    <a:pt x="8" y="42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3" y="34"/>
                  </a:lnTo>
                  <a:lnTo>
                    <a:pt x="0" y="32"/>
                  </a:lnTo>
                  <a:lnTo>
                    <a:pt x="3" y="31"/>
                  </a:lnTo>
                  <a:lnTo>
                    <a:pt x="6" y="30"/>
                  </a:lnTo>
                  <a:lnTo>
                    <a:pt x="6" y="28"/>
                  </a:lnTo>
                  <a:lnTo>
                    <a:pt x="10" y="28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5" y="17"/>
                  </a:lnTo>
                  <a:lnTo>
                    <a:pt x="18" y="10"/>
                  </a:lnTo>
                  <a:lnTo>
                    <a:pt x="21" y="5"/>
                  </a:lnTo>
                  <a:lnTo>
                    <a:pt x="23" y="5"/>
                  </a:lnTo>
                  <a:lnTo>
                    <a:pt x="25" y="2"/>
                  </a:lnTo>
                  <a:lnTo>
                    <a:pt x="25" y="2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3" name="Freeform 43"/>
            <p:cNvSpPr>
              <a:spLocks/>
            </p:cNvSpPr>
            <p:nvPr/>
          </p:nvSpPr>
          <p:spPr bwMode="auto">
            <a:xfrm>
              <a:off x="2143" y="1380"/>
              <a:ext cx="68" cy="43"/>
            </a:xfrm>
            <a:custGeom>
              <a:avLst/>
              <a:gdLst>
                <a:gd name="T0" fmla="*/ 43 w 68"/>
                <a:gd name="T1" fmla="*/ 36 h 43"/>
                <a:gd name="T2" fmla="*/ 46 w 68"/>
                <a:gd name="T3" fmla="*/ 35 h 43"/>
                <a:gd name="T4" fmla="*/ 49 w 68"/>
                <a:gd name="T5" fmla="*/ 34 h 43"/>
                <a:gd name="T6" fmla="*/ 49 w 68"/>
                <a:gd name="T7" fmla="*/ 32 h 43"/>
                <a:gd name="T8" fmla="*/ 53 w 68"/>
                <a:gd name="T9" fmla="*/ 32 h 43"/>
                <a:gd name="T10" fmla="*/ 54 w 68"/>
                <a:gd name="T11" fmla="*/ 29 h 43"/>
                <a:gd name="T12" fmla="*/ 54 w 68"/>
                <a:gd name="T13" fmla="*/ 28 h 43"/>
                <a:gd name="T14" fmla="*/ 58 w 68"/>
                <a:gd name="T15" fmla="*/ 21 h 43"/>
                <a:gd name="T16" fmla="*/ 61 w 68"/>
                <a:gd name="T17" fmla="*/ 14 h 43"/>
                <a:gd name="T18" fmla="*/ 64 w 68"/>
                <a:gd name="T19" fmla="*/ 9 h 43"/>
                <a:gd name="T20" fmla="*/ 66 w 68"/>
                <a:gd name="T21" fmla="*/ 9 h 43"/>
                <a:gd name="T22" fmla="*/ 68 w 68"/>
                <a:gd name="T23" fmla="*/ 6 h 43"/>
                <a:gd name="T24" fmla="*/ 66 w 68"/>
                <a:gd name="T25" fmla="*/ 4 h 43"/>
                <a:gd name="T26" fmla="*/ 64 w 68"/>
                <a:gd name="T27" fmla="*/ 2 h 43"/>
                <a:gd name="T28" fmla="*/ 61 w 68"/>
                <a:gd name="T29" fmla="*/ 0 h 43"/>
                <a:gd name="T30" fmla="*/ 58 w 68"/>
                <a:gd name="T31" fmla="*/ 1 h 43"/>
                <a:gd name="T32" fmla="*/ 54 w 68"/>
                <a:gd name="T33" fmla="*/ 0 h 43"/>
                <a:gd name="T34" fmla="*/ 50 w 68"/>
                <a:gd name="T35" fmla="*/ 1 h 43"/>
                <a:gd name="T36" fmla="*/ 47 w 68"/>
                <a:gd name="T37" fmla="*/ 0 h 43"/>
                <a:gd name="T38" fmla="*/ 43 w 68"/>
                <a:gd name="T39" fmla="*/ 0 h 43"/>
                <a:gd name="T40" fmla="*/ 40 w 68"/>
                <a:gd name="T41" fmla="*/ 4 h 43"/>
                <a:gd name="T42" fmla="*/ 39 w 68"/>
                <a:gd name="T43" fmla="*/ 5 h 43"/>
                <a:gd name="T44" fmla="*/ 39 w 68"/>
                <a:gd name="T45" fmla="*/ 6 h 43"/>
                <a:gd name="T46" fmla="*/ 35 w 68"/>
                <a:gd name="T47" fmla="*/ 4 h 43"/>
                <a:gd name="T48" fmla="*/ 31 w 68"/>
                <a:gd name="T49" fmla="*/ 6 h 43"/>
                <a:gd name="T50" fmla="*/ 28 w 68"/>
                <a:gd name="T51" fmla="*/ 8 h 43"/>
                <a:gd name="T52" fmla="*/ 28 w 68"/>
                <a:gd name="T53" fmla="*/ 10 h 43"/>
                <a:gd name="T54" fmla="*/ 21 w 68"/>
                <a:gd name="T55" fmla="*/ 10 h 43"/>
                <a:gd name="T56" fmla="*/ 17 w 68"/>
                <a:gd name="T57" fmla="*/ 12 h 43"/>
                <a:gd name="T58" fmla="*/ 13 w 68"/>
                <a:gd name="T59" fmla="*/ 12 h 43"/>
                <a:gd name="T60" fmla="*/ 5 w 68"/>
                <a:gd name="T61" fmla="*/ 6 h 43"/>
                <a:gd name="T62" fmla="*/ 6 w 68"/>
                <a:gd name="T63" fmla="*/ 8 h 43"/>
                <a:gd name="T64" fmla="*/ 6 w 68"/>
                <a:gd name="T65" fmla="*/ 10 h 43"/>
                <a:gd name="T66" fmla="*/ 6 w 68"/>
                <a:gd name="T67" fmla="*/ 13 h 43"/>
                <a:gd name="T68" fmla="*/ 1 w 68"/>
                <a:gd name="T69" fmla="*/ 13 h 43"/>
                <a:gd name="T70" fmla="*/ 0 w 68"/>
                <a:gd name="T71" fmla="*/ 14 h 43"/>
                <a:gd name="T72" fmla="*/ 2 w 68"/>
                <a:gd name="T73" fmla="*/ 16 h 43"/>
                <a:gd name="T74" fmla="*/ 1 w 68"/>
                <a:gd name="T75" fmla="*/ 19 h 43"/>
                <a:gd name="T76" fmla="*/ 1 w 68"/>
                <a:gd name="T77" fmla="*/ 21 h 43"/>
                <a:gd name="T78" fmla="*/ 2 w 68"/>
                <a:gd name="T79" fmla="*/ 24 h 43"/>
                <a:gd name="T80" fmla="*/ 1 w 68"/>
                <a:gd name="T81" fmla="*/ 25 h 43"/>
                <a:gd name="T82" fmla="*/ 0 w 68"/>
                <a:gd name="T83" fmla="*/ 25 h 43"/>
                <a:gd name="T84" fmla="*/ 2 w 68"/>
                <a:gd name="T85" fmla="*/ 29 h 43"/>
                <a:gd name="T86" fmla="*/ 4 w 68"/>
                <a:gd name="T87" fmla="*/ 34 h 43"/>
                <a:gd name="T88" fmla="*/ 5 w 68"/>
                <a:gd name="T89" fmla="*/ 34 h 43"/>
                <a:gd name="T90" fmla="*/ 11 w 68"/>
                <a:gd name="T91" fmla="*/ 38 h 43"/>
                <a:gd name="T92" fmla="*/ 13 w 68"/>
                <a:gd name="T93" fmla="*/ 39 h 43"/>
                <a:gd name="T94" fmla="*/ 15 w 68"/>
                <a:gd name="T95" fmla="*/ 40 h 43"/>
                <a:gd name="T96" fmla="*/ 20 w 68"/>
                <a:gd name="T97" fmla="*/ 42 h 43"/>
                <a:gd name="T98" fmla="*/ 25 w 68"/>
                <a:gd name="T99" fmla="*/ 43 h 43"/>
                <a:gd name="T100" fmla="*/ 27 w 68"/>
                <a:gd name="T101" fmla="*/ 40 h 43"/>
                <a:gd name="T102" fmla="*/ 28 w 68"/>
                <a:gd name="T103" fmla="*/ 42 h 43"/>
                <a:gd name="T104" fmla="*/ 30 w 68"/>
                <a:gd name="T105" fmla="*/ 39 h 43"/>
                <a:gd name="T106" fmla="*/ 32 w 68"/>
                <a:gd name="T107" fmla="*/ 38 h 43"/>
                <a:gd name="T108" fmla="*/ 35 w 68"/>
                <a:gd name="T109" fmla="*/ 39 h 43"/>
                <a:gd name="T110" fmla="*/ 35 w 68"/>
                <a:gd name="T111" fmla="*/ 38 h 43"/>
                <a:gd name="T112" fmla="*/ 38 w 68"/>
                <a:gd name="T113" fmla="*/ 35 h 43"/>
                <a:gd name="T114" fmla="*/ 39 w 68"/>
                <a:gd name="T115" fmla="*/ 35 h 43"/>
                <a:gd name="T116" fmla="*/ 42 w 68"/>
                <a:gd name="T117" fmla="*/ 36 h 43"/>
                <a:gd name="T118" fmla="*/ 43 w 68"/>
                <a:gd name="T119" fmla="*/ 3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8" h="43">
                  <a:moveTo>
                    <a:pt x="43" y="36"/>
                  </a:moveTo>
                  <a:lnTo>
                    <a:pt x="46" y="35"/>
                  </a:lnTo>
                  <a:lnTo>
                    <a:pt x="49" y="34"/>
                  </a:lnTo>
                  <a:lnTo>
                    <a:pt x="49" y="32"/>
                  </a:lnTo>
                  <a:lnTo>
                    <a:pt x="53" y="32"/>
                  </a:lnTo>
                  <a:lnTo>
                    <a:pt x="54" y="29"/>
                  </a:lnTo>
                  <a:lnTo>
                    <a:pt x="54" y="28"/>
                  </a:lnTo>
                  <a:lnTo>
                    <a:pt x="58" y="21"/>
                  </a:lnTo>
                  <a:lnTo>
                    <a:pt x="61" y="14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1" y="0"/>
                  </a:lnTo>
                  <a:lnTo>
                    <a:pt x="58" y="1"/>
                  </a:lnTo>
                  <a:lnTo>
                    <a:pt x="54" y="0"/>
                  </a:lnTo>
                  <a:lnTo>
                    <a:pt x="50" y="1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0" y="4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5" y="4"/>
                  </a:lnTo>
                  <a:lnTo>
                    <a:pt x="31" y="6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1" y="10"/>
                  </a:lnTo>
                  <a:lnTo>
                    <a:pt x="17" y="12"/>
                  </a:lnTo>
                  <a:lnTo>
                    <a:pt x="13" y="12"/>
                  </a:lnTo>
                  <a:lnTo>
                    <a:pt x="5" y="6"/>
                  </a:lnTo>
                  <a:lnTo>
                    <a:pt x="6" y="8"/>
                  </a:lnTo>
                  <a:lnTo>
                    <a:pt x="6" y="10"/>
                  </a:lnTo>
                  <a:lnTo>
                    <a:pt x="6" y="13"/>
                  </a:lnTo>
                  <a:lnTo>
                    <a:pt x="1" y="13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1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1" y="25"/>
                  </a:lnTo>
                  <a:lnTo>
                    <a:pt x="0" y="25"/>
                  </a:lnTo>
                  <a:lnTo>
                    <a:pt x="2" y="29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11" y="38"/>
                  </a:lnTo>
                  <a:lnTo>
                    <a:pt x="13" y="39"/>
                  </a:lnTo>
                  <a:lnTo>
                    <a:pt x="15" y="40"/>
                  </a:lnTo>
                  <a:lnTo>
                    <a:pt x="20" y="42"/>
                  </a:lnTo>
                  <a:lnTo>
                    <a:pt x="25" y="43"/>
                  </a:lnTo>
                  <a:lnTo>
                    <a:pt x="27" y="40"/>
                  </a:lnTo>
                  <a:lnTo>
                    <a:pt x="28" y="42"/>
                  </a:lnTo>
                  <a:lnTo>
                    <a:pt x="30" y="39"/>
                  </a:lnTo>
                  <a:lnTo>
                    <a:pt x="32" y="38"/>
                  </a:lnTo>
                  <a:lnTo>
                    <a:pt x="35" y="39"/>
                  </a:lnTo>
                  <a:lnTo>
                    <a:pt x="35" y="38"/>
                  </a:lnTo>
                  <a:lnTo>
                    <a:pt x="38" y="35"/>
                  </a:lnTo>
                  <a:lnTo>
                    <a:pt x="39" y="35"/>
                  </a:lnTo>
                  <a:lnTo>
                    <a:pt x="42" y="36"/>
                  </a:lnTo>
                  <a:lnTo>
                    <a:pt x="43" y="36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4" name="Freeform 44"/>
            <p:cNvSpPr>
              <a:spLocks/>
            </p:cNvSpPr>
            <p:nvPr/>
          </p:nvSpPr>
          <p:spPr bwMode="auto">
            <a:xfrm>
              <a:off x="2148" y="1366"/>
              <a:ext cx="59" cy="26"/>
            </a:xfrm>
            <a:custGeom>
              <a:avLst/>
              <a:gdLst>
                <a:gd name="T0" fmla="*/ 0 w 59"/>
                <a:gd name="T1" fmla="*/ 20 h 26"/>
                <a:gd name="T2" fmla="*/ 8 w 59"/>
                <a:gd name="T3" fmla="*/ 26 h 26"/>
                <a:gd name="T4" fmla="*/ 12 w 59"/>
                <a:gd name="T5" fmla="*/ 26 h 26"/>
                <a:gd name="T6" fmla="*/ 16 w 59"/>
                <a:gd name="T7" fmla="*/ 24 h 26"/>
                <a:gd name="T8" fmla="*/ 23 w 59"/>
                <a:gd name="T9" fmla="*/ 24 h 26"/>
                <a:gd name="T10" fmla="*/ 23 w 59"/>
                <a:gd name="T11" fmla="*/ 22 h 26"/>
                <a:gd name="T12" fmla="*/ 26 w 59"/>
                <a:gd name="T13" fmla="*/ 20 h 26"/>
                <a:gd name="T14" fmla="*/ 30 w 59"/>
                <a:gd name="T15" fmla="*/ 18 h 26"/>
                <a:gd name="T16" fmla="*/ 34 w 59"/>
                <a:gd name="T17" fmla="*/ 20 h 26"/>
                <a:gd name="T18" fmla="*/ 34 w 59"/>
                <a:gd name="T19" fmla="*/ 19 h 26"/>
                <a:gd name="T20" fmla="*/ 35 w 59"/>
                <a:gd name="T21" fmla="*/ 18 h 26"/>
                <a:gd name="T22" fmla="*/ 38 w 59"/>
                <a:gd name="T23" fmla="*/ 14 h 26"/>
                <a:gd name="T24" fmla="*/ 42 w 59"/>
                <a:gd name="T25" fmla="*/ 14 h 26"/>
                <a:gd name="T26" fmla="*/ 45 w 59"/>
                <a:gd name="T27" fmla="*/ 15 h 26"/>
                <a:gd name="T28" fmla="*/ 49 w 59"/>
                <a:gd name="T29" fmla="*/ 14 h 26"/>
                <a:gd name="T30" fmla="*/ 53 w 59"/>
                <a:gd name="T31" fmla="*/ 15 h 26"/>
                <a:gd name="T32" fmla="*/ 56 w 59"/>
                <a:gd name="T33" fmla="*/ 12 h 26"/>
                <a:gd name="T34" fmla="*/ 56 w 59"/>
                <a:gd name="T35" fmla="*/ 9 h 26"/>
                <a:gd name="T36" fmla="*/ 59 w 59"/>
                <a:gd name="T37" fmla="*/ 4 h 26"/>
                <a:gd name="T38" fmla="*/ 59 w 59"/>
                <a:gd name="T39" fmla="*/ 4 h 26"/>
                <a:gd name="T40" fmla="*/ 53 w 59"/>
                <a:gd name="T41" fmla="*/ 1 h 26"/>
                <a:gd name="T42" fmla="*/ 49 w 59"/>
                <a:gd name="T43" fmla="*/ 1 h 26"/>
                <a:gd name="T44" fmla="*/ 48 w 59"/>
                <a:gd name="T45" fmla="*/ 1 h 26"/>
                <a:gd name="T46" fmla="*/ 46 w 59"/>
                <a:gd name="T47" fmla="*/ 0 h 26"/>
                <a:gd name="T48" fmla="*/ 44 w 59"/>
                <a:gd name="T49" fmla="*/ 1 h 26"/>
                <a:gd name="T50" fmla="*/ 42 w 59"/>
                <a:gd name="T51" fmla="*/ 3 h 26"/>
                <a:gd name="T52" fmla="*/ 41 w 59"/>
                <a:gd name="T53" fmla="*/ 1 h 26"/>
                <a:gd name="T54" fmla="*/ 38 w 59"/>
                <a:gd name="T55" fmla="*/ 1 h 26"/>
                <a:gd name="T56" fmla="*/ 37 w 59"/>
                <a:gd name="T57" fmla="*/ 1 h 26"/>
                <a:gd name="T58" fmla="*/ 34 w 59"/>
                <a:gd name="T59" fmla="*/ 1 h 26"/>
                <a:gd name="T60" fmla="*/ 33 w 59"/>
                <a:gd name="T61" fmla="*/ 4 h 26"/>
                <a:gd name="T62" fmla="*/ 31 w 59"/>
                <a:gd name="T63" fmla="*/ 4 h 26"/>
                <a:gd name="T64" fmla="*/ 30 w 59"/>
                <a:gd name="T65" fmla="*/ 4 h 26"/>
                <a:gd name="T66" fmla="*/ 30 w 59"/>
                <a:gd name="T67" fmla="*/ 4 h 26"/>
                <a:gd name="T68" fmla="*/ 25 w 59"/>
                <a:gd name="T69" fmla="*/ 3 h 26"/>
                <a:gd name="T70" fmla="*/ 22 w 59"/>
                <a:gd name="T71" fmla="*/ 5 h 26"/>
                <a:gd name="T72" fmla="*/ 19 w 59"/>
                <a:gd name="T73" fmla="*/ 5 h 26"/>
                <a:gd name="T74" fmla="*/ 16 w 59"/>
                <a:gd name="T75" fmla="*/ 9 h 26"/>
                <a:gd name="T76" fmla="*/ 12 w 59"/>
                <a:gd name="T77" fmla="*/ 9 h 26"/>
                <a:gd name="T78" fmla="*/ 7 w 59"/>
                <a:gd name="T79" fmla="*/ 11 h 26"/>
                <a:gd name="T80" fmla="*/ 7 w 59"/>
                <a:gd name="T81" fmla="*/ 11 h 26"/>
                <a:gd name="T82" fmla="*/ 4 w 59"/>
                <a:gd name="T83" fmla="*/ 11 h 26"/>
                <a:gd name="T84" fmla="*/ 1 w 59"/>
                <a:gd name="T85" fmla="*/ 12 h 26"/>
                <a:gd name="T86" fmla="*/ 0 w 59"/>
                <a:gd name="T87" fmla="*/ 12 h 26"/>
                <a:gd name="T88" fmla="*/ 0 w 59"/>
                <a:gd name="T89" fmla="*/ 16 h 26"/>
                <a:gd name="T90" fmla="*/ 0 w 59"/>
                <a:gd name="T91" fmla="*/ 2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9" h="26">
                  <a:moveTo>
                    <a:pt x="0" y="20"/>
                  </a:moveTo>
                  <a:lnTo>
                    <a:pt x="8" y="26"/>
                  </a:lnTo>
                  <a:lnTo>
                    <a:pt x="12" y="26"/>
                  </a:lnTo>
                  <a:lnTo>
                    <a:pt x="16" y="24"/>
                  </a:lnTo>
                  <a:lnTo>
                    <a:pt x="23" y="24"/>
                  </a:lnTo>
                  <a:lnTo>
                    <a:pt x="23" y="22"/>
                  </a:lnTo>
                  <a:lnTo>
                    <a:pt x="26" y="20"/>
                  </a:lnTo>
                  <a:lnTo>
                    <a:pt x="30" y="18"/>
                  </a:lnTo>
                  <a:lnTo>
                    <a:pt x="34" y="20"/>
                  </a:lnTo>
                  <a:lnTo>
                    <a:pt x="34" y="19"/>
                  </a:lnTo>
                  <a:lnTo>
                    <a:pt x="35" y="18"/>
                  </a:lnTo>
                  <a:lnTo>
                    <a:pt x="38" y="14"/>
                  </a:lnTo>
                  <a:lnTo>
                    <a:pt x="42" y="14"/>
                  </a:lnTo>
                  <a:lnTo>
                    <a:pt x="45" y="15"/>
                  </a:lnTo>
                  <a:lnTo>
                    <a:pt x="49" y="14"/>
                  </a:lnTo>
                  <a:lnTo>
                    <a:pt x="53" y="15"/>
                  </a:lnTo>
                  <a:lnTo>
                    <a:pt x="56" y="12"/>
                  </a:lnTo>
                  <a:lnTo>
                    <a:pt x="56" y="9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3" y="1"/>
                  </a:lnTo>
                  <a:lnTo>
                    <a:pt x="49" y="1"/>
                  </a:lnTo>
                  <a:lnTo>
                    <a:pt x="48" y="1"/>
                  </a:lnTo>
                  <a:lnTo>
                    <a:pt x="46" y="0"/>
                  </a:lnTo>
                  <a:lnTo>
                    <a:pt x="44" y="1"/>
                  </a:lnTo>
                  <a:lnTo>
                    <a:pt x="42" y="3"/>
                  </a:lnTo>
                  <a:lnTo>
                    <a:pt x="41" y="1"/>
                  </a:lnTo>
                  <a:lnTo>
                    <a:pt x="38" y="1"/>
                  </a:lnTo>
                  <a:lnTo>
                    <a:pt x="37" y="1"/>
                  </a:lnTo>
                  <a:lnTo>
                    <a:pt x="34" y="1"/>
                  </a:lnTo>
                  <a:lnTo>
                    <a:pt x="33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19" y="5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4" y="11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7EA6"/>
            </a:solidFill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5" name="Freeform 45"/>
            <p:cNvSpPr>
              <a:spLocks/>
            </p:cNvSpPr>
            <p:nvPr/>
          </p:nvSpPr>
          <p:spPr bwMode="auto">
            <a:xfrm>
              <a:off x="2212" y="1442"/>
              <a:ext cx="68" cy="42"/>
            </a:xfrm>
            <a:custGeom>
              <a:avLst/>
              <a:gdLst>
                <a:gd name="T0" fmla="*/ 5 w 68"/>
                <a:gd name="T1" fmla="*/ 0 h 42"/>
                <a:gd name="T2" fmla="*/ 7 w 68"/>
                <a:gd name="T3" fmla="*/ 3 h 42"/>
                <a:gd name="T4" fmla="*/ 7 w 68"/>
                <a:gd name="T5" fmla="*/ 7 h 42"/>
                <a:gd name="T6" fmla="*/ 12 w 68"/>
                <a:gd name="T7" fmla="*/ 6 h 42"/>
                <a:gd name="T8" fmla="*/ 15 w 68"/>
                <a:gd name="T9" fmla="*/ 6 h 42"/>
                <a:gd name="T10" fmla="*/ 23 w 68"/>
                <a:gd name="T11" fmla="*/ 6 h 42"/>
                <a:gd name="T12" fmla="*/ 27 w 68"/>
                <a:gd name="T13" fmla="*/ 6 h 42"/>
                <a:gd name="T14" fmla="*/ 31 w 68"/>
                <a:gd name="T15" fmla="*/ 7 h 42"/>
                <a:gd name="T16" fmla="*/ 37 w 68"/>
                <a:gd name="T17" fmla="*/ 7 h 42"/>
                <a:gd name="T18" fmla="*/ 41 w 68"/>
                <a:gd name="T19" fmla="*/ 4 h 42"/>
                <a:gd name="T20" fmla="*/ 50 w 68"/>
                <a:gd name="T21" fmla="*/ 0 h 42"/>
                <a:gd name="T22" fmla="*/ 58 w 68"/>
                <a:gd name="T23" fmla="*/ 1 h 42"/>
                <a:gd name="T24" fmla="*/ 61 w 68"/>
                <a:gd name="T25" fmla="*/ 3 h 42"/>
                <a:gd name="T26" fmla="*/ 65 w 68"/>
                <a:gd name="T27" fmla="*/ 6 h 42"/>
                <a:gd name="T28" fmla="*/ 68 w 68"/>
                <a:gd name="T29" fmla="*/ 6 h 42"/>
                <a:gd name="T30" fmla="*/ 67 w 68"/>
                <a:gd name="T31" fmla="*/ 11 h 42"/>
                <a:gd name="T32" fmla="*/ 61 w 68"/>
                <a:gd name="T33" fmla="*/ 14 h 42"/>
                <a:gd name="T34" fmla="*/ 61 w 68"/>
                <a:gd name="T35" fmla="*/ 22 h 42"/>
                <a:gd name="T36" fmla="*/ 58 w 68"/>
                <a:gd name="T37" fmla="*/ 25 h 42"/>
                <a:gd name="T38" fmla="*/ 63 w 68"/>
                <a:gd name="T39" fmla="*/ 29 h 42"/>
                <a:gd name="T40" fmla="*/ 64 w 68"/>
                <a:gd name="T41" fmla="*/ 31 h 42"/>
                <a:gd name="T42" fmla="*/ 60 w 68"/>
                <a:gd name="T43" fmla="*/ 33 h 42"/>
                <a:gd name="T44" fmla="*/ 53 w 68"/>
                <a:gd name="T45" fmla="*/ 30 h 42"/>
                <a:gd name="T46" fmla="*/ 50 w 68"/>
                <a:gd name="T47" fmla="*/ 31 h 42"/>
                <a:gd name="T48" fmla="*/ 48 w 68"/>
                <a:gd name="T49" fmla="*/ 34 h 42"/>
                <a:gd name="T50" fmla="*/ 43 w 68"/>
                <a:gd name="T51" fmla="*/ 35 h 42"/>
                <a:gd name="T52" fmla="*/ 45 w 68"/>
                <a:gd name="T53" fmla="*/ 41 h 42"/>
                <a:gd name="T54" fmla="*/ 38 w 68"/>
                <a:gd name="T55" fmla="*/ 42 h 42"/>
                <a:gd name="T56" fmla="*/ 34 w 68"/>
                <a:gd name="T57" fmla="*/ 41 h 42"/>
                <a:gd name="T58" fmla="*/ 30 w 68"/>
                <a:gd name="T59" fmla="*/ 42 h 42"/>
                <a:gd name="T60" fmla="*/ 27 w 68"/>
                <a:gd name="T61" fmla="*/ 41 h 42"/>
                <a:gd name="T62" fmla="*/ 22 w 68"/>
                <a:gd name="T63" fmla="*/ 41 h 42"/>
                <a:gd name="T64" fmla="*/ 16 w 68"/>
                <a:gd name="T65" fmla="*/ 42 h 42"/>
                <a:gd name="T66" fmla="*/ 11 w 68"/>
                <a:gd name="T67" fmla="*/ 42 h 42"/>
                <a:gd name="T68" fmla="*/ 11 w 68"/>
                <a:gd name="T69" fmla="*/ 39 h 42"/>
                <a:gd name="T70" fmla="*/ 7 w 68"/>
                <a:gd name="T71" fmla="*/ 31 h 42"/>
                <a:gd name="T72" fmla="*/ 3 w 68"/>
                <a:gd name="T73" fmla="*/ 29 h 42"/>
                <a:gd name="T74" fmla="*/ 1 w 68"/>
                <a:gd name="T75" fmla="*/ 23 h 42"/>
                <a:gd name="T76" fmla="*/ 5 w 68"/>
                <a:gd name="T77" fmla="*/ 18 h 42"/>
                <a:gd name="T78" fmla="*/ 5 w 68"/>
                <a:gd name="T79" fmla="*/ 12 h 42"/>
                <a:gd name="T80" fmla="*/ 0 w 68"/>
                <a:gd name="T81" fmla="*/ 4 h 42"/>
                <a:gd name="T82" fmla="*/ 1 w 68"/>
                <a:gd name="T8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8" h="42">
                  <a:moveTo>
                    <a:pt x="1" y="0"/>
                  </a:moveTo>
                  <a:lnTo>
                    <a:pt x="5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7" y="7"/>
                  </a:lnTo>
                  <a:lnTo>
                    <a:pt x="10" y="6"/>
                  </a:lnTo>
                  <a:lnTo>
                    <a:pt x="12" y="6"/>
                  </a:lnTo>
                  <a:lnTo>
                    <a:pt x="14" y="7"/>
                  </a:lnTo>
                  <a:lnTo>
                    <a:pt x="15" y="6"/>
                  </a:lnTo>
                  <a:lnTo>
                    <a:pt x="19" y="8"/>
                  </a:lnTo>
                  <a:lnTo>
                    <a:pt x="23" y="6"/>
                  </a:lnTo>
                  <a:lnTo>
                    <a:pt x="24" y="7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31" y="7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9" y="6"/>
                  </a:lnTo>
                  <a:lnTo>
                    <a:pt x="41" y="4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4" y="0"/>
                  </a:lnTo>
                  <a:lnTo>
                    <a:pt x="58" y="1"/>
                  </a:lnTo>
                  <a:lnTo>
                    <a:pt x="60" y="3"/>
                  </a:lnTo>
                  <a:lnTo>
                    <a:pt x="61" y="3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10"/>
                  </a:lnTo>
                  <a:lnTo>
                    <a:pt x="67" y="11"/>
                  </a:lnTo>
                  <a:lnTo>
                    <a:pt x="64" y="11"/>
                  </a:lnTo>
                  <a:lnTo>
                    <a:pt x="61" y="14"/>
                  </a:lnTo>
                  <a:lnTo>
                    <a:pt x="61" y="19"/>
                  </a:lnTo>
                  <a:lnTo>
                    <a:pt x="61" y="22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60" y="26"/>
                  </a:lnTo>
                  <a:lnTo>
                    <a:pt x="63" y="29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1" y="31"/>
                  </a:lnTo>
                  <a:lnTo>
                    <a:pt x="60" y="33"/>
                  </a:lnTo>
                  <a:lnTo>
                    <a:pt x="57" y="30"/>
                  </a:lnTo>
                  <a:lnTo>
                    <a:pt x="53" y="30"/>
                  </a:lnTo>
                  <a:lnTo>
                    <a:pt x="52" y="31"/>
                  </a:lnTo>
                  <a:lnTo>
                    <a:pt x="50" y="31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3" y="35"/>
                  </a:lnTo>
                  <a:lnTo>
                    <a:pt x="43" y="38"/>
                  </a:lnTo>
                  <a:lnTo>
                    <a:pt x="45" y="41"/>
                  </a:lnTo>
                  <a:lnTo>
                    <a:pt x="43" y="42"/>
                  </a:lnTo>
                  <a:lnTo>
                    <a:pt x="38" y="42"/>
                  </a:lnTo>
                  <a:lnTo>
                    <a:pt x="35" y="42"/>
                  </a:lnTo>
                  <a:lnTo>
                    <a:pt x="34" y="41"/>
                  </a:lnTo>
                  <a:lnTo>
                    <a:pt x="31" y="41"/>
                  </a:lnTo>
                  <a:lnTo>
                    <a:pt x="30" y="42"/>
                  </a:lnTo>
                  <a:lnTo>
                    <a:pt x="27" y="42"/>
                  </a:lnTo>
                  <a:lnTo>
                    <a:pt x="27" y="41"/>
                  </a:lnTo>
                  <a:lnTo>
                    <a:pt x="24" y="41"/>
                  </a:lnTo>
                  <a:lnTo>
                    <a:pt x="22" y="41"/>
                  </a:lnTo>
                  <a:lnTo>
                    <a:pt x="19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7" y="31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4" y="26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5" y="18"/>
                  </a:lnTo>
                  <a:lnTo>
                    <a:pt x="7" y="15"/>
                  </a:lnTo>
                  <a:lnTo>
                    <a:pt x="5" y="12"/>
                  </a:lnTo>
                  <a:lnTo>
                    <a:pt x="1" y="8"/>
                  </a:lnTo>
                  <a:lnTo>
                    <a:pt x="0" y="4"/>
                  </a:lnTo>
                  <a:lnTo>
                    <a:pt x="3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6" name="Freeform 46"/>
            <p:cNvSpPr>
              <a:spLocks/>
            </p:cNvSpPr>
            <p:nvPr/>
          </p:nvSpPr>
          <p:spPr bwMode="auto">
            <a:xfrm>
              <a:off x="2194" y="1471"/>
              <a:ext cx="29" cy="23"/>
            </a:xfrm>
            <a:custGeom>
              <a:avLst/>
              <a:gdLst>
                <a:gd name="T0" fmla="*/ 21 w 29"/>
                <a:gd name="T1" fmla="*/ 0 h 23"/>
                <a:gd name="T2" fmla="*/ 25 w 29"/>
                <a:gd name="T3" fmla="*/ 2 h 23"/>
                <a:gd name="T4" fmla="*/ 29 w 29"/>
                <a:gd name="T5" fmla="*/ 8 h 23"/>
                <a:gd name="T6" fmla="*/ 29 w 29"/>
                <a:gd name="T7" fmla="*/ 10 h 23"/>
                <a:gd name="T8" fmla="*/ 29 w 29"/>
                <a:gd name="T9" fmla="*/ 13 h 23"/>
                <a:gd name="T10" fmla="*/ 28 w 29"/>
                <a:gd name="T11" fmla="*/ 15 h 23"/>
                <a:gd name="T12" fmla="*/ 26 w 29"/>
                <a:gd name="T13" fmla="*/ 15 h 23"/>
                <a:gd name="T14" fmla="*/ 23 w 29"/>
                <a:gd name="T15" fmla="*/ 16 h 23"/>
                <a:gd name="T16" fmla="*/ 17 w 29"/>
                <a:gd name="T17" fmla="*/ 16 h 23"/>
                <a:gd name="T18" fmla="*/ 15 w 29"/>
                <a:gd name="T19" fmla="*/ 17 h 23"/>
                <a:gd name="T20" fmla="*/ 15 w 29"/>
                <a:gd name="T21" fmla="*/ 19 h 23"/>
                <a:gd name="T22" fmla="*/ 11 w 29"/>
                <a:gd name="T23" fmla="*/ 20 h 23"/>
                <a:gd name="T24" fmla="*/ 7 w 29"/>
                <a:gd name="T25" fmla="*/ 23 h 23"/>
                <a:gd name="T26" fmla="*/ 7 w 29"/>
                <a:gd name="T27" fmla="*/ 23 h 23"/>
                <a:gd name="T28" fmla="*/ 4 w 29"/>
                <a:gd name="T29" fmla="*/ 21 h 23"/>
                <a:gd name="T30" fmla="*/ 3 w 29"/>
                <a:gd name="T31" fmla="*/ 19 h 23"/>
                <a:gd name="T32" fmla="*/ 2 w 29"/>
                <a:gd name="T33" fmla="*/ 15 h 23"/>
                <a:gd name="T34" fmla="*/ 0 w 29"/>
                <a:gd name="T35" fmla="*/ 10 h 23"/>
                <a:gd name="T36" fmla="*/ 0 w 29"/>
                <a:gd name="T37" fmla="*/ 6 h 23"/>
                <a:gd name="T38" fmla="*/ 0 w 29"/>
                <a:gd name="T39" fmla="*/ 6 h 23"/>
                <a:gd name="T40" fmla="*/ 2 w 29"/>
                <a:gd name="T41" fmla="*/ 6 h 23"/>
                <a:gd name="T42" fmla="*/ 2 w 29"/>
                <a:gd name="T43" fmla="*/ 4 h 23"/>
                <a:gd name="T44" fmla="*/ 4 w 29"/>
                <a:gd name="T45" fmla="*/ 2 h 23"/>
                <a:gd name="T46" fmla="*/ 7 w 29"/>
                <a:gd name="T47" fmla="*/ 2 h 23"/>
                <a:gd name="T48" fmla="*/ 8 w 29"/>
                <a:gd name="T49" fmla="*/ 1 h 23"/>
                <a:gd name="T50" fmla="*/ 14 w 29"/>
                <a:gd name="T51" fmla="*/ 0 h 23"/>
                <a:gd name="T52" fmla="*/ 15 w 29"/>
                <a:gd name="T53" fmla="*/ 0 h 23"/>
                <a:gd name="T54" fmla="*/ 19 w 29"/>
                <a:gd name="T55" fmla="*/ 0 h 23"/>
                <a:gd name="T56" fmla="*/ 21 w 29"/>
                <a:gd name="T5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23">
                  <a:moveTo>
                    <a:pt x="21" y="0"/>
                  </a:moveTo>
                  <a:lnTo>
                    <a:pt x="25" y="2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3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3" y="16"/>
                  </a:lnTo>
                  <a:lnTo>
                    <a:pt x="17" y="16"/>
                  </a:lnTo>
                  <a:lnTo>
                    <a:pt x="15" y="17"/>
                  </a:lnTo>
                  <a:lnTo>
                    <a:pt x="15" y="19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3" y="19"/>
                  </a:lnTo>
                  <a:lnTo>
                    <a:pt x="2" y="15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4" y="2"/>
                  </a:lnTo>
                  <a:lnTo>
                    <a:pt x="7" y="2"/>
                  </a:lnTo>
                  <a:lnTo>
                    <a:pt x="8" y="1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7" name="Freeform 47"/>
            <p:cNvSpPr>
              <a:spLocks/>
            </p:cNvSpPr>
            <p:nvPr/>
          </p:nvSpPr>
          <p:spPr bwMode="auto">
            <a:xfrm>
              <a:off x="2179" y="1467"/>
              <a:ext cx="22" cy="42"/>
            </a:xfrm>
            <a:custGeom>
              <a:avLst/>
              <a:gdLst>
                <a:gd name="T0" fmla="*/ 15 w 22"/>
                <a:gd name="T1" fmla="*/ 10 h 42"/>
                <a:gd name="T2" fmla="*/ 15 w 22"/>
                <a:gd name="T3" fmla="*/ 14 h 42"/>
                <a:gd name="T4" fmla="*/ 17 w 22"/>
                <a:gd name="T5" fmla="*/ 19 h 42"/>
                <a:gd name="T6" fmla="*/ 18 w 22"/>
                <a:gd name="T7" fmla="*/ 23 h 42"/>
                <a:gd name="T8" fmla="*/ 19 w 22"/>
                <a:gd name="T9" fmla="*/ 25 h 42"/>
                <a:gd name="T10" fmla="*/ 22 w 22"/>
                <a:gd name="T11" fmla="*/ 27 h 42"/>
                <a:gd name="T12" fmla="*/ 21 w 22"/>
                <a:gd name="T13" fmla="*/ 29 h 42"/>
                <a:gd name="T14" fmla="*/ 19 w 22"/>
                <a:gd name="T15" fmla="*/ 34 h 42"/>
                <a:gd name="T16" fmla="*/ 15 w 22"/>
                <a:gd name="T17" fmla="*/ 35 h 42"/>
                <a:gd name="T18" fmla="*/ 14 w 22"/>
                <a:gd name="T19" fmla="*/ 38 h 42"/>
                <a:gd name="T20" fmla="*/ 13 w 22"/>
                <a:gd name="T21" fmla="*/ 40 h 42"/>
                <a:gd name="T22" fmla="*/ 11 w 22"/>
                <a:gd name="T23" fmla="*/ 42 h 42"/>
                <a:gd name="T24" fmla="*/ 10 w 22"/>
                <a:gd name="T25" fmla="*/ 40 h 42"/>
                <a:gd name="T26" fmla="*/ 7 w 22"/>
                <a:gd name="T27" fmla="*/ 35 h 42"/>
                <a:gd name="T28" fmla="*/ 3 w 22"/>
                <a:gd name="T29" fmla="*/ 35 h 42"/>
                <a:gd name="T30" fmla="*/ 2 w 22"/>
                <a:gd name="T31" fmla="*/ 34 h 42"/>
                <a:gd name="T32" fmla="*/ 3 w 22"/>
                <a:gd name="T33" fmla="*/ 31 h 42"/>
                <a:gd name="T34" fmla="*/ 2 w 22"/>
                <a:gd name="T35" fmla="*/ 28 h 42"/>
                <a:gd name="T36" fmla="*/ 2 w 22"/>
                <a:gd name="T37" fmla="*/ 25 h 42"/>
                <a:gd name="T38" fmla="*/ 2 w 22"/>
                <a:gd name="T39" fmla="*/ 23 h 42"/>
                <a:gd name="T40" fmla="*/ 0 w 22"/>
                <a:gd name="T41" fmla="*/ 20 h 42"/>
                <a:gd name="T42" fmla="*/ 2 w 22"/>
                <a:gd name="T43" fmla="*/ 14 h 42"/>
                <a:gd name="T44" fmla="*/ 3 w 22"/>
                <a:gd name="T45" fmla="*/ 13 h 42"/>
                <a:gd name="T46" fmla="*/ 3 w 22"/>
                <a:gd name="T47" fmla="*/ 12 h 42"/>
                <a:gd name="T48" fmla="*/ 0 w 22"/>
                <a:gd name="T49" fmla="*/ 10 h 42"/>
                <a:gd name="T50" fmla="*/ 0 w 22"/>
                <a:gd name="T51" fmla="*/ 6 h 42"/>
                <a:gd name="T52" fmla="*/ 2 w 22"/>
                <a:gd name="T53" fmla="*/ 2 h 42"/>
                <a:gd name="T54" fmla="*/ 4 w 22"/>
                <a:gd name="T55" fmla="*/ 0 h 42"/>
                <a:gd name="T56" fmla="*/ 6 w 22"/>
                <a:gd name="T57" fmla="*/ 0 h 42"/>
                <a:gd name="T58" fmla="*/ 7 w 22"/>
                <a:gd name="T59" fmla="*/ 2 h 42"/>
                <a:gd name="T60" fmla="*/ 9 w 22"/>
                <a:gd name="T61" fmla="*/ 0 h 42"/>
                <a:gd name="T62" fmla="*/ 9 w 22"/>
                <a:gd name="T63" fmla="*/ 0 h 42"/>
                <a:gd name="T64" fmla="*/ 10 w 22"/>
                <a:gd name="T65" fmla="*/ 0 h 42"/>
                <a:gd name="T66" fmla="*/ 11 w 22"/>
                <a:gd name="T67" fmla="*/ 2 h 42"/>
                <a:gd name="T68" fmla="*/ 13 w 22"/>
                <a:gd name="T69" fmla="*/ 2 h 42"/>
                <a:gd name="T70" fmla="*/ 14 w 22"/>
                <a:gd name="T71" fmla="*/ 4 h 42"/>
                <a:gd name="T72" fmla="*/ 15 w 22"/>
                <a:gd name="T73" fmla="*/ 6 h 42"/>
                <a:gd name="T74" fmla="*/ 15 w 22"/>
                <a:gd name="T75" fmla="*/ 9 h 42"/>
                <a:gd name="T76" fmla="*/ 15 w 22"/>
                <a:gd name="T77" fmla="*/ 1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" h="42">
                  <a:moveTo>
                    <a:pt x="15" y="10"/>
                  </a:moveTo>
                  <a:lnTo>
                    <a:pt x="15" y="14"/>
                  </a:lnTo>
                  <a:lnTo>
                    <a:pt x="17" y="19"/>
                  </a:lnTo>
                  <a:lnTo>
                    <a:pt x="18" y="23"/>
                  </a:lnTo>
                  <a:lnTo>
                    <a:pt x="19" y="25"/>
                  </a:lnTo>
                  <a:lnTo>
                    <a:pt x="22" y="27"/>
                  </a:lnTo>
                  <a:lnTo>
                    <a:pt x="21" y="29"/>
                  </a:lnTo>
                  <a:lnTo>
                    <a:pt x="19" y="34"/>
                  </a:lnTo>
                  <a:lnTo>
                    <a:pt x="15" y="35"/>
                  </a:lnTo>
                  <a:lnTo>
                    <a:pt x="14" y="38"/>
                  </a:lnTo>
                  <a:lnTo>
                    <a:pt x="13" y="40"/>
                  </a:lnTo>
                  <a:lnTo>
                    <a:pt x="11" y="42"/>
                  </a:lnTo>
                  <a:lnTo>
                    <a:pt x="10" y="40"/>
                  </a:lnTo>
                  <a:lnTo>
                    <a:pt x="7" y="35"/>
                  </a:lnTo>
                  <a:lnTo>
                    <a:pt x="3" y="35"/>
                  </a:lnTo>
                  <a:lnTo>
                    <a:pt x="2" y="34"/>
                  </a:lnTo>
                  <a:lnTo>
                    <a:pt x="3" y="31"/>
                  </a:lnTo>
                  <a:lnTo>
                    <a:pt x="2" y="28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7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4" y="4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8" name="Freeform 48"/>
            <p:cNvSpPr>
              <a:spLocks/>
            </p:cNvSpPr>
            <p:nvPr/>
          </p:nvSpPr>
          <p:spPr bwMode="auto">
            <a:xfrm>
              <a:off x="2171" y="1415"/>
              <a:ext cx="48" cy="62"/>
            </a:xfrm>
            <a:custGeom>
              <a:avLst/>
              <a:gdLst>
                <a:gd name="T0" fmla="*/ 2 w 48"/>
                <a:gd name="T1" fmla="*/ 4 h 62"/>
                <a:gd name="T2" fmla="*/ 7 w 48"/>
                <a:gd name="T3" fmla="*/ 4 h 62"/>
                <a:gd name="T4" fmla="*/ 10 w 48"/>
                <a:gd name="T5" fmla="*/ 0 h 62"/>
                <a:gd name="T6" fmla="*/ 14 w 48"/>
                <a:gd name="T7" fmla="*/ 1 h 62"/>
                <a:gd name="T8" fmla="*/ 19 w 48"/>
                <a:gd name="T9" fmla="*/ 4 h 62"/>
                <a:gd name="T10" fmla="*/ 23 w 48"/>
                <a:gd name="T11" fmla="*/ 11 h 62"/>
                <a:gd name="T12" fmla="*/ 29 w 48"/>
                <a:gd name="T13" fmla="*/ 15 h 62"/>
                <a:gd name="T14" fmla="*/ 29 w 48"/>
                <a:gd name="T15" fmla="*/ 19 h 62"/>
                <a:gd name="T16" fmla="*/ 33 w 48"/>
                <a:gd name="T17" fmla="*/ 22 h 62"/>
                <a:gd name="T18" fmla="*/ 38 w 48"/>
                <a:gd name="T19" fmla="*/ 23 h 62"/>
                <a:gd name="T20" fmla="*/ 44 w 48"/>
                <a:gd name="T21" fmla="*/ 20 h 62"/>
                <a:gd name="T22" fmla="*/ 42 w 48"/>
                <a:gd name="T23" fmla="*/ 24 h 62"/>
                <a:gd name="T24" fmla="*/ 41 w 48"/>
                <a:gd name="T25" fmla="*/ 31 h 62"/>
                <a:gd name="T26" fmla="*/ 46 w 48"/>
                <a:gd name="T27" fmla="*/ 39 h 62"/>
                <a:gd name="T28" fmla="*/ 46 w 48"/>
                <a:gd name="T29" fmla="*/ 45 h 62"/>
                <a:gd name="T30" fmla="*/ 42 w 48"/>
                <a:gd name="T31" fmla="*/ 50 h 62"/>
                <a:gd name="T32" fmla="*/ 44 w 48"/>
                <a:gd name="T33" fmla="*/ 56 h 62"/>
                <a:gd name="T34" fmla="*/ 38 w 48"/>
                <a:gd name="T35" fmla="*/ 56 h 62"/>
                <a:gd name="T36" fmla="*/ 31 w 48"/>
                <a:gd name="T37" fmla="*/ 57 h 62"/>
                <a:gd name="T38" fmla="*/ 27 w 48"/>
                <a:gd name="T39" fmla="*/ 58 h 62"/>
                <a:gd name="T40" fmla="*/ 25 w 48"/>
                <a:gd name="T41" fmla="*/ 62 h 62"/>
                <a:gd name="T42" fmla="*/ 23 w 48"/>
                <a:gd name="T43" fmla="*/ 61 h 62"/>
                <a:gd name="T44" fmla="*/ 22 w 48"/>
                <a:gd name="T45" fmla="*/ 56 h 62"/>
                <a:gd name="T46" fmla="*/ 19 w 48"/>
                <a:gd name="T47" fmla="*/ 54 h 62"/>
                <a:gd name="T48" fmla="*/ 17 w 48"/>
                <a:gd name="T49" fmla="*/ 52 h 62"/>
                <a:gd name="T50" fmla="*/ 19 w 48"/>
                <a:gd name="T51" fmla="*/ 49 h 62"/>
                <a:gd name="T52" fmla="*/ 15 w 48"/>
                <a:gd name="T53" fmla="*/ 45 h 62"/>
                <a:gd name="T54" fmla="*/ 11 w 48"/>
                <a:gd name="T55" fmla="*/ 43 h 62"/>
                <a:gd name="T56" fmla="*/ 10 w 48"/>
                <a:gd name="T57" fmla="*/ 41 h 62"/>
                <a:gd name="T58" fmla="*/ 8 w 48"/>
                <a:gd name="T59" fmla="*/ 37 h 62"/>
                <a:gd name="T60" fmla="*/ 6 w 48"/>
                <a:gd name="T61" fmla="*/ 31 h 62"/>
                <a:gd name="T62" fmla="*/ 8 w 48"/>
                <a:gd name="T63" fmla="*/ 33 h 62"/>
                <a:gd name="T64" fmla="*/ 8 w 48"/>
                <a:gd name="T65" fmla="*/ 30 h 62"/>
                <a:gd name="T66" fmla="*/ 3 w 48"/>
                <a:gd name="T67" fmla="*/ 27 h 62"/>
                <a:gd name="T68" fmla="*/ 6 w 48"/>
                <a:gd name="T69" fmla="*/ 22 h 62"/>
                <a:gd name="T70" fmla="*/ 4 w 48"/>
                <a:gd name="T71" fmla="*/ 18 h 62"/>
                <a:gd name="T72" fmla="*/ 3 w 48"/>
                <a:gd name="T73" fmla="*/ 18 h 62"/>
                <a:gd name="T74" fmla="*/ 4 w 48"/>
                <a:gd name="T75" fmla="*/ 15 h 62"/>
                <a:gd name="T76" fmla="*/ 6 w 48"/>
                <a:gd name="T77" fmla="*/ 15 h 62"/>
                <a:gd name="T78" fmla="*/ 3 w 48"/>
                <a:gd name="T79" fmla="*/ 13 h 62"/>
                <a:gd name="T80" fmla="*/ 0 w 48"/>
                <a:gd name="T81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" h="62">
                  <a:moveTo>
                    <a:pt x="0" y="7"/>
                  </a:moveTo>
                  <a:lnTo>
                    <a:pt x="2" y="4"/>
                  </a:lnTo>
                  <a:lnTo>
                    <a:pt x="4" y="3"/>
                  </a:lnTo>
                  <a:lnTo>
                    <a:pt x="7" y="4"/>
                  </a:lnTo>
                  <a:lnTo>
                    <a:pt x="7" y="3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4" y="1"/>
                  </a:lnTo>
                  <a:lnTo>
                    <a:pt x="18" y="3"/>
                  </a:lnTo>
                  <a:lnTo>
                    <a:pt x="19" y="4"/>
                  </a:lnTo>
                  <a:lnTo>
                    <a:pt x="22" y="8"/>
                  </a:lnTo>
                  <a:lnTo>
                    <a:pt x="23" y="11"/>
                  </a:lnTo>
                  <a:lnTo>
                    <a:pt x="26" y="12"/>
                  </a:lnTo>
                  <a:lnTo>
                    <a:pt x="29" y="15"/>
                  </a:lnTo>
                  <a:lnTo>
                    <a:pt x="27" y="18"/>
                  </a:lnTo>
                  <a:lnTo>
                    <a:pt x="29" y="19"/>
                  </a:lnTo>
                  <a:lnTo>
                    <a:pt x="33" y="20"/>
                  </a:lnTo>
                  <a:lnTo>
                    <a:pt x="33" y="22"/>
                  </a:lnTo>
                  <a:lnTo>
                    <a:pt x="36" y="20"/>
                  </a:lnTo>
                  <a:lnTo>
                    <a:pt x="38" y="23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1" y="23"/>
                  </a:lnTo>
                  <a:lnTo>
                    <a:pt x="42" y="24"/>
                  </a:lnTo>
                  <a:lnTo>
                    <a:pt x="44" y="30"/>
                  </a:lnTo>
                  <a:lnTo>
                    <a:pt x="41" y="31"/>
                  </a:lnTo>
                  <a:lnTo>
                    <a:pt x="42" y="35"/>
                  </a:lnTo>
                  <a:lnTo>
                    <a:pt x="46" y="39"/>
                  </a:lnTo>
                  <a:lnTo>
                    <a:pt x="48" y="42"/>
                  </a:lnTo>
                  <a:lnTo>
                    <a:pt x="46" y="45"/>
                  </a:lnTo>
                  <a:lnTo>
                    <a:pt x="42" y="49"/>
                  </a:lnTo>
                  <a:lnTo>
                    <a:pt x="42" y="50"/>
                  </a:lnTo>
                  <a:lnTo>
                    <a:pt x="45" y="53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38" y="56"/>
                  </a:lnTo>
                  <a:lnTo>
                    <a:pt x="37" y="56"/>
                  </a:lnTo>
                  <a:lnTo>
                    <a:pt x="31" y="57"/>
                  </a:lnTo>
                  <a:lnTo>
                    <a:pt x="30" y="58"/>
                  </a:lnTo>
                  <a:lnTo>
                    <a:pt x="27" y="58"/>
                  </a:lnTo>
                  <a:lnTo>
                    <a:pt x="25" y="60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3" y="61"/>
                  </a:lnTo>
                  <a:lnTo>
                    <a:pt x="23" y="58"/>
                  </a:lnTo>
                  <a:lnTo>
                    <a:pt x="22" y="56"/>
                  </a:lnTo>
                  <a:lnTo>
                    <a:pt x="21" y="54"/>
                  </a:lnTo>
                  <a:lnTo>
                    <a:pt x="19" y="54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9" y="49"/>
                  </a:lnTo>
                  <a:lnTo>
                    <a:pt x="18" y="46"/>
                  </a:lnTo>
                  <a:lnTo>
                    <a:pt x="15" y="45"/>
                  </a:lnTo>
                  <a:lnTo>
                    <a:pt x="14" y="43"/>
                  </a:lnTo>
                  <a:lnTo>
                    <a:pt x="11" y="43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7" y="38"/>
                  </a:lnTo>
                  <a:lnTo>
                    <a:pt x="8" y="37"/>
                  </a:lnTo>
                  <a:lnTo>
                    <a:pt x="6" y="34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3"/>
                  </a:lnTo>
                  <a:lnTo>
                    <a:pt x="10" y="31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3" y="27"/>
                  </a:lnTo>
                  <a:lnTo>
                    <a:pt x="3" y="24"/>
                  </a:lnTo>
                  <a:lnTo>
                    <a:pt x="6" y="22"/>
                  </a:lnTo>
                  <a:lnTo>
                    <a:pt x="6" y="19"/>
                  </a:lnTo>
                  <a:lnTo>
                    <a:pt x="4" y="18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D9D9D9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49" name="Freeform 49"/>
            <p:cNvSpPr>
              <a:spLocks/>
            </p:cNvSpPr>
            <p:nvPr/>
          </p:nvSpPr>
          <p:spPr bwMode="auto">
            <a:xfrm>
              <a:off x="2168" y="1452"/>
              <a:ext cx="22" cy="25"/>
            </a:xfrm>
            <a:custGeom>
              <a:avLst/>
              <a:gdLst>
                <a:gd name="T0" fmla="*/ 11 w 22"/>
                <a:gd name="T1" fmla="*/ 25 h 25"/>
                <a:gd name="T2" fmla="*/ 11 w 22"/>
                <a:gd name="T3" fmla="*/ 21 h 25"/>
                <a:gd name="T4" fmla="*/ 13 w 22"/>
                <a:gd name="T5" fmla="*/ 17 h 25"/>
                <a:gd name="T6" fmla="*/ 15 w 22"/>
                <a:gd name="T7" fmla="*/ 15 h 25"/>
                <a:gd name="T8" fmla="*/ 17 w 22"/>
                <a:gd name="T9" fmla="*/ 15 h 25"/>
                <a:gd name="T10" fmla="*/ 18 w 22"/>
                <a:gd name="T11" fmla="*/ 17 h 25"/>
                <a:gd name="T12" fmla="*/ 20 w 22"/>
                <a:gd name="T13" fmla="*/ 15 h 25"/>
                <a:gd name="T14" fmla="*/ 20 w 22"/>
                <a:gd name="T15" fmla="*/ 13 h 25"/>
                <a:gd name="T16" fmla="*/ 22 w 22"/>
                <a:gd name="T17" fmla="*/ 12 h 25"/>
                <a:gd name="T18" fmla="*/ 21 w 22"/>
                <a:gd name="T19" fmla="*/ 9 h 25"/>
                <a:gd name="T20" fmla="*/ 18 w 22"/>
                <a:gd name="T21" fmla="*/ 8 h 25"/>
                <a:gd name="T22" fmla="*/ 17 w 22"/>
                <a:gd name="T23" fmla="*/ 6 h 25"/>
                <a:gd name="T24" fmla="*/ 14 w 22"/>
                <a:gd name="T25" fmla="*/ 6 h 25"/>
                <a:gd name="T26" fmla="*/ 13 w 22"/>
                <a:gd name="T27" fmla="*/ 5 h 25"/>
                <a:gd name="T28" fmla="*/ 13 w 22"/>
                <a:gd name="T29" fmla="*/ 4 h 25"/>
                <a:gd name="T30" fmla="*/ 10 w 22"/>
                <a:gd name="T31" fmla="*/ 1 h 25"/>
                <a:gd name="T32" fmla="*/ 10 w 22"/>
                <a:gd name="T33" fmla="*/ 1 h 25"/>
                <a:gd name="T34" fmla="*/ 9 w 22"/>
                <a:gd name="T35" fmla="*/ 1 h 25"/>
                <a:gd name="T36" fmla="*/ 6 w 22"/>
                <a:gd name="T37" fmla="*/ 0 h 25"/>
                <a:gd name="T38" fmla="*/ 5 w 22"/>
                <a:gd name="T39" fmla="*/ 0 h 25"/>
                <a:gd name="T40" fmla="*/ 5 w 22"/>
                <a:gd name="T41" fmla="*/ 2 h 25"/>
                <a:gd name="T42" fmla="*/ 7 w 22"/>
                <a:gd name="T43" fmla="*/ 4 h 25"/>
                <a:gd name="T44" fmla="*/ 7 w 22"/>
                <a:gd name="T45" fmla="*/ 5 h 25"/>
                <a:gd name="T46" fmla="*/ 6 w 22"/>
                <a:gd name="T47" fmla="*/ 6 h 25"/>
                <a:gd name="T48" fmla="*/ 5 w 22"/>
                <a:gd name="T49" fmla="*/ 6 h 25"/>
                <a:gd name="T50" fmla="*/ 3 w 22"/>
                <a:gd name="T51" fmla="*/ 8 h 25"/>
                <a:gd name="T52" fmla="*/ 3 w 22"/>
                <a:gd name="T53" fmla="*/ 12 h 25"/>
                <a:gd name="T54" fmla="*/ 2 w 22"/>
                <a:gd name="T55" fmla="*/ 15 h 25"/>
                <a:gd name="T56" fmla="*/ 0 w 22"/>
                <a:gd name="T57" fmla="*/ 15 h 25"/>
                <a:gd name="T58" fmla="*/ 2 w 22"/>
                <a:gd name="T59" fmla="*/ 16 h 25"/>
                <a:gd name="T60" fmla="*/ 3 w 22"/>
                <a:gd name="T61" fmla="*/ 16 h 25"/>
                <a:gd name="T62" fmla="*/ 9 w 22"/>
                <a:gd name="T63" fmla="*/ 23 h 25"/>
                <a:gd name="T64" fmla="*/ 9 w 22"/>
                <a:gd name="T65" fmla="*/ 24 h 25"/>
                <a:gd name="T66" fmla="*/ 11 w 22"/>
                <a:gd name="T6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" h="25">
                  <a:moveTo>
                    <a:pt x="11" y="25"/>
                  </a:moveTo>
                  <a:lnTo>
                    <a:pt x="11" y="21"/>
                  </a:lnTo>
                  <a:lnTo>
                    <a:pt x="13" y="17"/>
                  </a:lnTo>
                  <a:lnTo>
                    <a:pt x="15" y="15"/>
                  </a:lnTo>
                  <a:lnTo>
                    <a:pt x="17" y="15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2" y="12"/>
                  </a:lnTo>
                  <a:lnTo>
                    <a:pt x="21" y="9"/>
                  </a:lnTo>
                  <a:lnTo>
                    <a:pt x="18" y="8"/>
                  </a:lnTo>
                  <a:lnTo>
                    <a:pt x="17" y="6"/>
                  </a:lnTo>
                  <a:lnTo>
                    <a:pt x="14" y="6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7" y="4"/>
                  </a:lnTo>
                  <a:lnTo>
                    <a:pt x="7" y="5"/>
                  </a:lnTo>
                  <a:lnTo>
                    <a:pt x="6" y="6"/>
                  </a:lnTo>
                  <a:lnTo>
                    <a:pt x="5" y="6"/>
                  </a:lnTo>
                  <a:lnTo>
                    <a:pt x="3" y="8"/>
                  </a:lnTo>
                  <a:lnTo>
                    <a:pt x="3" y="12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11" y="2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0" name="Freeform 50"/>
            <p:cNvSpPr>
              <a:spLocks/>
            </p:cNvSpPr>
            <p:nvPr/>
          </p:nvSpPr>
          <p:spPr bwMode="auto">
            <a:xfrm>
              <a:off x="2113" y="1414"/>
              <a:ext cx="64" cy="48"/>
            </a:xfrm>
            <a:custGeom>
              <a:avLst/>
              <a:gdLst>
                <a:gd name="T0" fmla="*/ 61 w 64"/>
                <a:gd name="T1" fmla="*/ 17 h 48"/>
                <a:gd name="T2" fmla="*/ 64 w 64"/>
                <a:gd name="T3" fmla="*/ 16 h 48"/>
                <a:gd name="T4" fmla="*/ 61 w 64"/>
                <a:gd name="T5" fmla="*/ 14 h 48"/>
                <a:gd name="T6" fmla="*/ 60 w 64"/>
                <a:gd name="T7" fmla="*/ 10 h 48"/>
                <a:gd name="T8" fmla="*/ 57 w 64"/>
                <a:gd name="T9" fmla="*/ 6 h 48"/>
                <a:gd name="T10" fmla="*/ 50 w 64"/>
                <a:gd name="T11" fmla="*/ 8 h 48"/>
                <a:gd name="T12" fmla="*/ 43 w 64"/>
                <a:gd name="T13" fmla="*/ 5 h 48"/>
                <a:gd name="T14" fmla="*/ 35 w 64"/>
                <a:gd name="T15" fmla="*/ 0 h 48"/>
                <a:gd name="T16" fmla="*/ 34 w 64"/>
                <a:gd name="T17" fmla="*/ 0 h 48"/>
                <a:gd name="T18" fmla="*/ 21 w 64"/>
                <a:gd name="T19" fmla="*/ 4 h 48"/>
                <a:gd name="T20" fmla="*/ 17 w 64"/>
                <a:gd name="T21" fmla="*/ 8 h 48"/>
                <a:gd name="T22" fmla="*/ 13 w 64"/>
                <a:gd name="T23" fmla="*/ 13 h 48"/>
                <a:gd name="T24" fmla="*/ 8 w 64"/>
                <a:gd name="T25" fmla="*/ 12 h 48"/>
                <a:gd name="T26" fmla="*/ 0 w 64"/>
                <a:gd name="T27" fmla="*/ 13 h 48"/>
                <a:gd name="T28" fmla="*/ 1 w 64"/>
                <a:gd name="T29" fmla="*/ 19 h 48"/>
                <a:gd name="T30" fmla="*/ 4 w 64"/>
                <a:gd name="T31" fmla="*/ 21 h 48"/>
                <a:gd name="T32" fmla="*/ 7 w 64"/>
                <a:gd name="T33" fmla="*/ 19 h 48"/>
                <a:gd name="T34" fmla="*/ 9 w 64"/>
                <a:gd name="T35" fmla="*/ 13 h 48"/>
                <a:gd name="T36" fmla="*/ 13 w 64"/>
                <a:gd name="T37" fmla="*/ 16 h 48"/>
                <a:gd name="T38" fmla="*/ 16 w 64"/>
                <a:gd name="T39" fmla="*/ 21 h 48"/>
                <a:gd name="T40" fmla="*/ 21 w 64"/>
                <a:gd name="T41" fmla="*/ 28 h 48"/>
                <a:gd name="T42" fmla="*/ 24 w 64"/>
                <a:gd name="T43" fmla="*/ 29 h 48"/>
                <a:gd name="T44" fmla="*/ 20 w 64"/>
                <a:gd name="T45" fmla="*/ 29 h 48"/>
                <a:gd name="T46" fmla="*/ 20 w 64"/>
                <a:gd name="T47" fmla="*/ 34 h 48"/>
                <a:gd name="T48" fmla="*/ 26 w 64"/>
                <a:gd name="T49" fmla="*/ 36 h 48"/>
                <a:gd name="T50" fmla="*/ 28 w 64"/>
                <a:gd name="T51" fmla="*/ 39 h 48"/>
                <a:gd name="T52" fmla="*/ 32 w 64"/>
                <a:gd name="T53" fmla="*/ 40 h 48"/>
                <a:gd name="T54" fmla="*/ 41 w 64"/>
                <a:gd name="T55" fmla="*/ 42 h 48"/>
                <a:gd name="T56" fmla="*/ 45 w 64"/>
                <a:gd name="T57" fmla="*/ 48 h 48"/>
                <a:gd name="T58" fmla="*/ 43 w 64"/>
                <a:gd name="T59" fmla="*/ 48 h 48"/>
                <a:gd name="T60" fmla="*/ 46 w 64"/>
                <a:gd name="T61" fmla="*/ 48 h 48"/>
                <a:gd name="T62" fmla="*/ 39 w 64"/>
                <a:gd name="T63" fmla="*/ 38 h 48"/>
                <a:gd name="T64" fmla="*/ 28 w 64"/>
                <a:gd name="T65" fmla="*/ 28 h 48"/>
                <a:gd name="T66" fmla="*/ 28 w 64"/>
                <a:gd name="T67" fmla="*/ 25 h 48"/>
                <a:gd name="T68" fmla="*/ 26 w 64"/>
                <a:gd name="T69" fmla="*/ 20 h 48"/>
                <a:gd name="T70" fmla="*/ 24 w 64"/>
                <a:gd name="T71" fmla="*/ 19 h 48"/>
                <a:gd name="T72" fmla="*/ 24 w 64"/>
                <a:gd name="T73" fmla="*/ 14 h 48"/>
                <a:gd name="T74" fmla="*/ 28 w 64"/>
                <a:gd name="T75" fmla="*/ 16 h 48"/>
                <a:gd name="T76" fmla="*/ 31 w 64"/>
                <a:gd name="T77" fmla="*/ 17 h 48"/>
                <a:gd name="T78" fmla="*/ 32 w 64"/>
                <a:gd name="T79" fmla="*/ 16 h 48"/>
                <a:gd name="T80" fmla="*/ 35 w 64"/>
                <a:gd name="T81" fmla="*/ 14 h 48"/>
                <a:gd name="T82" fmla="*/ 38 w 64"/>
                <a:gd name="T83" fmla="*/ 14 h 48"/>
                <a:gd name="T84" fmla="*/ 42 w 64"/>
                <a:gd name="T85" fmla="*/ 17 h 48"/>
                <a:gd name="T86" fmla="*/ 46 w 64"/>
                <a:gd name="T87" fmla="*/ 16 h 48"/>
                <a:gd name="T88" fmla="*/ 47 w 64"/>
                <a:gd name="T89" fmla="*/ 16 h 48"/>
                <a:gd name="T90" fmla="*/ 53 w 64"/>
                <a:gd name="T91" fmla="*/ 17 h 48"/>
                <a:gd name="T92" fmla="*/ 57 w 64"/>
                <a:gd name="T93" fmla="*/ 19 h 48"/>
                <a:gd name="T94" fmla="*/ 61 w 64"/>
                <a:gd name="T95" fmla="*/ 1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4" h="48">
                  <a:moveTo>
                    <a:pt x="61" y="19"/>
                  </a:moveTo>
                  <a:lnTo>
                    <a:pt x="61" y="17"/>
                  </a:lnTo>
                  <a:lnTo>
                    <a:pt x="62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0" y="10"/>
                  </a:lnTo>
                  <a:lnTo>
                    <a:pt x="58" y="8"/>
                  </a:lnTo>
                  <a:lnTo>
                    <a:pt x="57" y="6"/>
                  </a:lnTo>
                  <a:lnTo>
                    <a:pt x="55" y="9"/>
                  </a:lnTo>
                  <a:lnTo>
                    <a:pt x="50" y="8"/>
                  </a:lnTo>
                  <a:lnTo>
                    <a:pt x="45" y="6"/>
                  </a:lnTo>
                  <a:lnTo>
                    <a:pt x="43" y="5"/>
                  </a:lnTo>
                  <a:lnTo>
                    <a:pt x="41" y="4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1" y="4"/>
                  </a:lnTo>
                  <a:lnTo>
                    <a:pt x="20" y="6"/>
                  </a:lnTo>
                  <a:lnTo>
                    <a:pt x="17" y="8"/>
                  </a:lnTo>
                  <a:lnTo>
                    <a:pt x="16" y="12"/>
                  </a:lnTo>
                  <a:lnTo>
                    <a:pt x="13" y="13"/>
                  </a:lnTo>
                  <a:lnTo>
                    <a:pt x="9" y="10"/>
                  </a:lnTo>
                  <a:lnTo>
                    <a:pt x="8" y="12"/>
                  </a:lnTo>
                  <a:lnTo>
                    <a:pt x="4" y="13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1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7" y="19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2" y="13"/>
                  </a:lnTo>
                  <a:lnTo>
                    <a:pt x="13" y="16"/>
                  </a:lnTo>
                  <a:lnTo>
                    <a:pt x="15" y="17"/>
                  </a:lnTo>
                  <a:lnTo>
                    <a:pt x="16" y="21"/>
                  </a:lnTo>
                  <a:lnTo>
                    <a:pt x="17" y="24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19" y="32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6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30" y="40"/>
                  </a:lnTo>
                  <a:lnTo>
                    <a:pt x="32" y="40"/>
                  </a:lnTo>
                  <a:lnTo>
                    <a:pt x="38" y="40"/>
                  </a:lnTo>
                  <a:lnTo>
                    <a:pt x="41" y="42"/>
                  </a:lnTo>
                  <a:lnTo>
                    <a:pt x="46" y="47"/>
                  </a:lnTo>
                  <a:lnTo>
                    <a:pt x="45" y="48"/>
                  </a:lnTo>
                  <a:lnTo>
                    <a:pt x="42" y="46"/>
                  </a:lnTo>
                  <a:lnTo>
                    <a:pt x="43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7" y="47"/>
                  </a:lnTo>
                  <a:lnTo>
                    <a:pt x="39" y="38"/>
                  </a:lnTo>
                  <a:lnTo>
                    <a:pt x="30" y="29"/>
                  </a:lnTo>
                  <a:lnTo>
                    <a:pt x="28" y="28"/>
                  </a:lnTo>
                  <a:lnTo>
                    <a:pt x="30" y="27"/>
                  </a:lnTo>
                  <a:lnTo>
                    <a:pt x="28" y="25"/>
                  </a:lnTo>
                  <a:lnTo>
                    <a:pt x="28" y="23"/>
                  </a:lnTo>
                  <a:lnTo>
                    <a:pt x="26" y="20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4"/>
                  </a:lnTo>
                  <a:lnTo>
                    <a:pt x="26" y="13"/>
                  </a:lnTo>
                  <a:lnTo>
                    <a:pt x="28" y="16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5" y="16"/>
                  </a:lnTo>
                  <a:lnTo>
                    <a:pt x="35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2" y="17"/>
                  </a:lnTo>
                  <a:lnTo>
                    <a:pt x="43" y="16"/>
                  </a:lnTo>
                  <a:lnTo>
                    <a:pt x="46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3" y="17"/>
                  </a:lnTo>
                  <a:lnTo>
                    <a:pt x="54" y="17"/>
                  </a:lnTo>
                  <a:lnTo>
                    <a:pt x="57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1" name="Freeform 51"/>
            <p:cNvSpPr>
              <a:spLocks/>
            </p:cNvSpPr>
            <p:nvPr/>
          </p:nvSpPr>
          <p:spPr bwMode="auto">
            <a:xfrm>
              <a:off x="2137" y="1427"/>
              <a:ext cx="44" cy="40"/>
            </a:xfrm>
            <a:custGeom>
              <a:avLst/>
              <a:gdLst>
                <a:gd name="T0" fmla="*/ 23 w 44"/>
                <a:gd name="T1" fmla="*/ 34 h 40"/>
                <a:gd name="T2" fmla="*/ 6 w 44"/>
                <a:gd name="T3" fmla="*/ 16 h 40"/>
                <a:gd name="T4" fmla="*/ 6 w 44"/>
                <a:gd name="T5" fmla="*/ 14 h 40"/>
                <a:gd name="T6" fmla="*/ 4 w 44"/>
                <a:gd name="T7" fmla="*/ 10 h 40"/>
                <a:gd name="T8" fmla="*/ 0 w 44"/>
                <a:gd name="T9" fmla="*/ 7 h 40"/>
                <a:gd name="T10" fmla="*/ 0 w 44"/>
                <a:gd name="T11" fmla="*/ 6 h 40"/>
                <a:gd name="T12" fmla="*/ 2 w 44"/>
                <a:gd name="T13" fmla="*/ 0 h 40"/>
                <a:gd name="T14" fmla="*/ 6 w 44"/>
                <a:gd name="T15" fmla="*/ 4 h 40"/>
                <a:gd name="T16" fmla="*/ 7 w 44"/>
                <a:gd name="T17" fmla="*/ 3 h 40"/>
                <a:gd name="T18" fmla="*/ 11 w 44"/>
                <a:gd name="T19" fmla="*/ 3 h 40"/>
                <a:gd name="T20" fmla="*/ 14 w 44"/>
                <a:gd name="T21" fmla="*/ 1 h 40"/>
                <a:gd name="T22" fmla="*/ 17 w 44"/>
                <a:gd name="T23" fmla="*/ 1 h 40"/>
                <a:gd name="T24" fmla="*/ 19 w 44"/>
                <a:gd name="T25" fmla="*/ 3 h 40"/>
                <a:gd name="T26" fmla="*/ 23 w 44"/>
                <a:gd name="T27" fmla="*/ 3 h 40"/>
                <a:gd name="T28" fmla="*/ 27 w 44"/>
                <a:gd name="T29" fmla="*/ 3 h 40"/>
                <a:gd name="T30" fmla="*/ 30 w 44"/>
                <a:gd name="T31" fmla="*/ 4 h 40"/>
                <a:gd name="T32" fmla="*/ 37 w 44"/>
                <a:gd name="T33" fmla="*/ 6 h 40"/>
                <a:gd name="T34" fmla="*/ 38 w 44"/>
                <a:gd name="T35" fmla="*/ 6 h 40"/>
                <a:gd name="T36" fmla="*/ 40 w 44"/>
                <a:gd name="T37" fmla="*/ 10 h 40"/>
                <a:gd name="T38" fmla="*/ 37 w 44"/>
                <a:gd name="T39" fmla="*/ 15 h 40"/>
                <a:gd name="T40" fmla="*/ 42 w 44"/>
                <a:gd name="T41" fmla="*/ 18 h 40"/>
                <a:gd name="T42" fmla="*/ 42 w 44"/>
                <a:gd name="T43" fmla="*/ 21 h 40"/>
                <a:gd name="T44" fmla="*/ 40 w 44"/>
                <a:gd name="T45" fmla="*/ 19 h 40"/>
                <a:gd name="T46" fmla="*/ 42 w 44"/>
                <a:gd name="T47" fmla="*/ 25 h 40"/>
                <a:gd name="T48" fmla="*/ 40 w 44"/>
                <a:gd name="T49" fmla="*/ 26 h 40"/>
                <a:gd name="T50" fmla="*/ 36 w 44"/>
                <a:gd name="T51" fmla="*/ 25 h 40"/>
                <a:gd name="T52" fmla="*/ 38 w 44"/>
                <a:gd name="T53" fmla="*/ 29 h 40"/>
                <a:gd name="T54" fmla="*/ 37 w 44"/>
                <a:gd name="T55" fmla="*/ 31 h 40"/>
                <a:gd name="T56" fmla="*/ 34 w 44"/>
                <a:gd name="T57" fmla="*/ 33 h 40"/>
                <a:gd name="T58" fmla="*/ 33 w 44"/>
                <a:gd name="T59" fmla="*/ 40 h 40"/>
                <a:gd name="T60" fmla="*/ 29 w 44"/>
                <a:gd name="T61" fmla="*/ 35 h 40"/>
                <a:gd name="T62" fmla="*/ 23 w 44"/>
                <a:gd name="T63" fmla="*/ 35 h 40"/>
                <a:gd name="T64" fmla="*/ 22 w 44"/>
                <a:gd name="T6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" h="40">
                  <a:moveTo>
                    <a:pt x="22" y="35"/>
                  </a:moveTo>
                  <a:lnTo>
                    <a:pt x="23" y="34"/>
                  </a:lnTo>
                  <a:lnTo>
                    <a:pt x="15" y="25"/>
                  </a:lnTo>
                  <a:lnTo>
                    <a:pt x="6" y="16"/>
                  </a:lnTo>
                  <a:lnTo>
                    <a:pt x="4" y="15"/>
                  </a:lnTo>
                  <a:lnTo>
                    <a:pt x="6" y="14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7" y="1"/>
                  </a:lnTo>
                  <a:lnTo>
                    <a:pt x="18" y="4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7" y="3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3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8" y="6"/>
                  </a:lnTo>
                  <a:lnTo>
                    <a:pt x="40" y="7"/>
                  </a:lnTo>
                  <a:lnTo>
                    <a:pt x="40" y="10"/>
                  </a:lnTo>
                  <a:lnTo>
                    <a:pt x="37" y="12"/>
                  </a:lnTo>
                  <a:lnTo>
                    <a:pt x="37" y="15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4" y="19"/>
                  </a:lnTo>
                  <a:lnTo>
                    <a:pt x="42" y="21"/>
                  </a:lnTo>
                  <a:lnTo>
                    <a:pt x="41" y="19"/>
                  </a:lnTo>
                  <a:lnTo>
                    <a:pt x="40" y="19"/>
                  </a:lnTo>
                  <a:lnTo>
                    <a:pt x="40" y="22"/>
                  </a:lnTo>
                  <a:lnTo>
                    <a:pt x="42" y="25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7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7" y="31"/>
                  </a:lnTo>
                  <a:lnTo>
                    <a:pt x="36" y="31"/>
                  </a:lnTo>
                  <a:lnTo>
                    <a:pt x="34" y="33"/>
                  </a:lnTo>
                  <a:lnTo>
                    <a:pt x="34" y="37"/>
                  </a:lnTo>
                  <a:lnTo>
                    <a:pt x="33" y="40"/>
                  </a:lnTo>
                  <a:lnTo>
                    <a:pt x="31" y="40"/>
                  </a:lnTo>
                  <a:lnTo>
                    <a:pt x="29" y="35"/>
                  </a:lnTo>
                  <a:lnTo>
                    <a:pt x="27" y="37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2" name="Freeform 52"/>
            <p:cNvSpPr>
              <a:spLocks/>
            </p:cNvSpPr>
            <p:nvPr/>
          </p:nvSpPr>
          <p:spPr bwMode="auto">
            <a:xfrm>
              <a:off x="2113" y="1405"/>
              <a:ext cx="34" cy="22"/>
            </a:xfrm>
            <a:custGeom>
              <a:avLst/>
              <a:gdLst>
                <a:gd name="T0" fmla="*/ 0 w 34"/>
                <a:gd name="T1" fmla="*/ 22 h 22"/>
                <a:gd name="T2" fmla="*/ 4 w 34"/>
                <a:gd name="T3" fmla="*/ 22 h 22"/>
                <a:gd name="T4" fmla="*/ 8 w 34"/>
                <a:gd name="T5" fmla="*/ 21 h 22"/>
                <a:gd name="T6" fmla="*/ 9 w 34"/>
                <a:gd name="T7" fmla="*/ 19 h 22"/>
                <a:gd name="T8" fmla="*/ 13 w 34"/>
                <a:gd name="T9" fmla="*/ 22 h 22"/>
                <a:gd name="T10" fmla="*/ 16 w 34"/>
                <a:gd name="T11" fmla="*/ 21 h 22"/>
                <a:gd name="T12" fmla="*/ 17 w 34"/>
                <a:gd name="T13" fmla="*/ 17 h 22"/>
                <a:gd name="T14" fmla="*/ 20 w 34"/>
                <a:gd name="T15" fmla="*/ 15 h 22"/>
                <a:gd name="T16" fmla="*/ 21 w 34"/>
                <a:gd name="T17" fmla="*/ 13 h 22"/>
                <a:gd name="T18" fmla="*/ 28 w 34"/>
                <a:gd name="T19" fmla="*/ 9 h 22"/>
                <a:gd name="T20" fmla="*/ 34 w 34"/>
                <a:gd name="T21" fmla="*/ 9 h 22"/>
                <a:gd name="T22" fmla="*/ 32 w 34"/>
                <a:gd name="T23" fmla="*/ 4 h 22"/>
                <a:gd name="T24" fmla="*/ 30 w 34"/>
                <a:gd name="T25" fmla="*/ 0 h 22"/>
                <a:gd name="T26" fmla="*/ 27 w 34"/>
                <a:gd name="T27" fmla="*/ 2 h 22"/>
                <a:gd name="T28" fmla="*/ 21 w 34"/>
                <a:gd name="T29" fmla="*/ 4 h 22"/>
                <a:gd name="T30" fmla="*/ 20 w 34"/>
                <a:gd name="T31" fmla="*/ 4 h 22"/>
                <a:gd name="T32" fmla="*/ 19 w 34"/>
                <a:gd name="T33" fmla="*/ 4 h 22"/>
                <a:gd name="T34" fmla="*/ 16 w 34"/>
                <a:gd name="T35" fmla="*/ 6 h 22"/>
                <a:gd name="T36" fmla="*/ 13 w 34"/>
                <a:gd name="T37" fmla="*/ 6 h 22"/>
                <a:gd name="T38" fmla="*/ 11 w 34"/>
                <a:gd name="T39" fmla="*/ 7 h 22"/>
                <a:gd name="T40" fmla="*/ 9 w 34"/>
                <a:gd name="T41" fmla="*/ 6 h 22"/>
                <a:gd name="T42" fmla="*/ 4 w 34"/>
                <a:gd name="T43" fmla="*/ 6 h 22"/>
                <a:gd name="T44" fmla="*/ 2 w 34"/>
                <a:gd name="T45" fmla="*/ 4 h 22"/>
                <a:gd name="T46" fmla="*/ 0 w 34"/>
                <a:gd name="T47" fmla="*/ 9 h 22"/>
                <a:gd name="T48" fmla="*/ 1 w 34"/>
                <a:gd name="T49" fmla="*/ 11 h 22"/>
                <a:gd name="T50" fmla="*/ 0 w 34"/>
                <a:gd name="T51" fmla="*/ 13 h 22"/>
                <a:gd name="T52" fmla="*/ 0 w 34"/>
                <a:gd name="T53" fmla="*/ 17 h 22"/>
                <a:gd name="T54" fmla="*/ 0 w 34"/>
                <a:gd name="T55" fmla="*/ 17 h 22"/>
                <a:gd name="T56" fmla="*/ 2 w 34"/>
                <a:gd name="T57" fmla="*/ 18 h 22"/>
                <a:gd name="T58" fmla="*/ 2 w 34"/>
                <a:gd name="T59" fmla="*/ 19 h 22"/>
                <a:gd name="T60" fmla="*/ 0 w 34"/>
                <a:gd name="T61" fmla="*/ 21 h 22"/>
                <a:gd name="T62" fmla="*/ 0 w 34"/>
                <a:gd name="T6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" h="22">
                  <a:moveTo>
                    <a:pt x="0" y="22"/>
                  </a:moveTo>
                  <a:lnTo>
                    <a:pt x="4" y="22"/>
                  </a:lnTo>
                  <a:lnTo>
                    <a:pt x="8" y="21"/>
                  </a:lnTo>
                  <a:lnTo>
                    <a:pt x="9" y="19"/>
                  </a:lnTo>
                  <a:lnTo>
                    <a:pt x="13" y="22"/>
                  </a:lnTo>
                  <a:lnTo>
                    <a:pt x="16" y="21"/>
                  </a:lnTo>
                  <a:lnTo>
                    <a:pt x="17" y="17"/>
                  </a:lnTo>
                  <a:lnTo>
                    <a:pt x="20" y="15"/>
                  </a:lnTo>
                  <a:lnTo>
                    <a:pt x="21" y="13"/>
                  </a:lnTo>
                  <a:lnTo>
                    <a:pt x="28" y="9"/>
                  </a:lnTo>
                  <a:lnTo>
                    <a:pt x="34" y="9"/>
                  </a:lnTo>
                  <a:lnTo>
                    <a:pt x="32" y="4"/>
                  </a:lnTo>
                  <a:lnTo>
                    <a:pt x="30" y="0"/>
                  </a:lnTo>
                  <a:lnTo>
                    <a:pt x="27" y="2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16" y="6"/>
                  </a:lnTo>
                  <a:lnTo>
                    <a:pt x="13" y="6"/>
                  </a:lnTo>
                  <a:lnTo>
                    <a:pt x="11" y="7"/>
                  </a:lnTo>
                  <a:lnTo>
                    <a:pt x="9" y="6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9"/>
                  </a:lnTo>
                  <a:lnTo>
                    <a:pt x="1" y="11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2" y="18"/>
                  </a:lnTo>
                  <a:lnTo>
                    <a:pt x="2" y="19"/>
                  </a:lnTo>
                  <a:lnTo>
                    <a:pt x="0" y="21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3" name="Freeform 53"/>
            <p:cNvSpPr>
              <a:spLocks/>
            </p:cNvSpPr>
            <p:nvPr/>
          </p:nvSpPr>
          <p:spPr bwMode="auto">
            <a:xfrm>
              <a:off x="2068" y="1373"/>
              <a:ext cx="81" cy="39"/>
            </a:xfrm>
            <a:custGeom>
              <a:avLst/>
              <a:gdLst>
                <a:gd name="T0" fmla="*/ 49 w 81"/>
                <a:gd name="T1" fmla="*/ 38 h 39"/>
                <a:gd name="T2" fmla="*/ 56 w 81"/>
                <a:gd name="T3" fmla="*/ 39 h 39"/>
                <a:gd name="T4" fmla="*/ 61 w 81"/>
                <a:gd name="T5" fmla="*/ 38 h 39"/>
                <a:gd name="T6" fmla="*/ 65 w 81"/>
                <a:gd name="T7" fmla="*/ 36 h 39"/>
                <a:gd name="T8" fmla="*/ 72 w 81"/>
                <a:gd name="T9" fmla="*/ 34 h 39"/>
                <a:gd name="T10" fmla="*/ 77 w 81"/>
                <a:gd name="T11" fmla="*/ 31 h 39"/>
                <a:gd name="T12" fmla="*/ 76 w 81"/>
                <a:gd name="T13" fmla="*/ 26 h 39"/>
                <a:gd name="T14" fmla="*/ 75 w 81"/>
                <a:gd name="T15" fmla="*/ 21 h 39"/>
                <a:gd name="T16" fmla="*/ 81 w 81"/>
                <a:gd name="T17" fmla="*/ 20 h 39"/>
                <a:gd name="T18" fmla="*/ 81 w 81"/>
                <a:gd name="T19" fmla="*/ 15 h 39"/>
                <a:gd name="T20" fmla="*/ 80 w 81"/>
                <a:gd name="T21" fmla="*/ 5 h 39"/>
                <a:gd name="T22" fmla="*/ 73 w 81"/>
                <a:gd name="T23" fmla="*/ 2 h 39"/>
                <a:gd name="T24" fmla="*/ 68 w 81"/>
                <a:gd name="T25" fmla="*/ 2 h 39"/>
                <a:gd name="T26" fmla="*/ 60 w 81"/>
                <a:gd name="T27" fmla="*/ 1 h 39"/>
                <a:gd name="T28" fmla="*/ 57 w 81"/>
                <a:gd name="T29" fmla="*/ 2 h 39"/>
                <a:gd name="T30" fmla="*/ 56 w 81"/>
                <a:gd name="T31" fmla="*/ 5 h 39"/>
                <a:gd name="T32" fmla="*/ 52 w 81"/>
                <a:gd name="T33" fmla="*/ 7 h 39"/>
                <a:gd name="T34" fmla="*/ 43 w 81"/>
                <a:gd name="T35" fmla="*/ 2 h 39"/>
                <a:gd name="T36" fmla="*/ 43 w 81"/>
                <a:gd name="T37" fmla="*/ 7 h 39"/>
                <a:gd name="T38" fmla="*/ 41 w 81"/>
                <a:gd name="T39" fmla="*/ 9 h 39"/>
                <a:gd name="T40" fmla="*/ 34 w 81"/>
                <a:gd name="T41" fmla="*/ 15 h 39"/>
                <a:gd name="T42" fmla="*/ 37 w 81"/>
                <a:gd name="T43" fmla="*/ 17 h 39"/>
                <a:gd name="T44" fmla="*/ 37 w 81"/>
                <a:gd name="T45" fmla="*/ 20 h 39"/>
                <a:gd name="T46" fmla="*/ 31 w 81"/>
                <a:gd name="T47" fmla="*/ 20 h 39"/>
                <a:gd name="T48" fmla="*/ 27 w 81"/>
                <a:gd name="T49" fmla="*/ 20 h 39"/>
                <a:gd name="T50" fmla="*/ 20 w 81"/>
                <a:gd name="T51" fmla="*/ 23 h 39"/>
                <a:gd name="T52" fmla="*/ 16 w 81"/>
                <a:gd name="T53" fmla="*/ 23 h 39"/>
                <a:gd name="T54" fmla="*/ 12 w 81"/>
                <a:gd name="T55" fmla="*/ 20 h 39"/>
                <a:gd name="T56" fmla="*/ 9 w 81"/>
                <a:gd name="T57" fmla="*/ 23 h 39"/>
                <a:gd name="T58" fmla="*/ 5 w 81"/>
                <a:gd name="T59" fmla="*/ 23 h 39"/>
                <a:gd name="T60" fmla="*/ 1 w 81"/>
                <a:gd name="T61" fmla="*/ 21 h 39"/>
                <a:gd name="T62" fmla="*/ 0 w 81"/>
                <a:gd name="T63" fmla="*/ 23 h 39"/>
                <a:gd name="T64" fmla="*/ 1 w 81"/>
                <a:gd name="T65" fmla="*/ 26 h 39"/>
                <a:gd name="T66" fmla="*/ 3 w 81"/>
                <a:gd name="T67" fmla="*/ 28 h 39"/>
                <a:gd name="T68" fmla="*/ 5 w 81"/>
                <a:gd name="T69" fmla="*/ 28 h 39"/>
                <a:gd name="T70" fmla="*/ 9 w 81"/>
                <a:gd name="T71" fmla="*/ 28 h 39"/>
                <a:gd name="T72" fmla="*/ 12 w 81"/>
                <a:gd name="T73" fmla="*/ 31 h 39"/>
                <a:gd name="T74" fmla="*/ 16 w 81"/>
                <a:gd name="T75" fmla="*/ 32 h 39"/>
                <a:gd name="T76" fmla="*/ 26 w 81"/>
                <a:gd name="T77" fmla="*/ 30 h 39"/>
                <a:gd name="T78" fmla="*/ 28 w 81"/>
                <a:gd name="T79" fmla="*/ 31 h 39"/>
                <a:gd name="T80" fmla="*/ 42 w 81"/>
                <a:gd name="T81" fmla="*/ 36 h 39"/>
                <a:gd name="T82" fmla="*/ 47 w 81"/>
                <a:gd name="T83" fmla="*/ 3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1" h="39">
                  <a:moveTo>
                    <a:pt x="47" y="36"/>
                  </a:moveTo>
                  <a:lnTo>
                    <a:pt x="49" y="38"/>
                  </a:lnTo>
                  <a:lnTo>
                    <a:pt x="54" y="38"/>
                  </a:lnTo>
                  <a:lnTo>
                    <a:pt x="56" y="39"/>
                  </a:lnTo>
                  <a:lnTo>
                    <a:pt x="58" y="38"/>
                  </a:lnTo>
                  <a:lnTo>
                    <a:pt x="61" y="38"/>
                  </a:lnTo>
                  <a:lnTo>
                    <a:pt x="64" y="36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72" y="34"/>
                  </a:lnTo>
                  <a:lnTo>
                    <a:pt x="76" y="32"/>
                  </a:lnTo>
                  <a:lnTo>
                    <a:pt x="77" y="31"/>
                  </a:lnTo>
                  <a:lnTo>
                    <a:pt x="76" y="28"/>
                  </a:lnTo>
                  <a:lnTo>
                    <a:pt x="76" y="26"/>
                  </a:lnTo>
                  <a:lnTo>
                    <a:pt x="77" y="23"/>
                  </a:lnTo>
                  <a:lnTo>
                    <a:pt x="75" y="21"/>
                  </a:lnTo>
                  <a:lnTo>
                    <a:pt x="76" y="20"/>
                  </a:lnTo>
                  <a:lnTo>
                    <a:pt x="81" y="20"/>
                  </a:lnTo>
                  <a:lnTo>
                    <a:pt x="81" y="17"/>
                  </a:lnTo>
                  <a:lnTo>
                    <a:pt x="81" y="15"/>
                  </a:lnTo>
                  <a:lnTo>
                    <a:pt x="80" y="9"/>
                  </a:lnTo>
                  <a:lnTo>
                    <a:pt x="80" y="5"/>
                  </a:lnTo>
                  <a:lnTo>
                    <a:pt x="76" y="4"/>
                  </a:lnTo>
                  <a:lnTo>
                    <a:pt x="73" y="2"/>
                  </a:lnTo>
                  <a:lnTo>
                    <a:pt x="71" y="2"/>
                  </a:lnTo>
                  <a:lnTo>
                    <a:pt x="68" y="2"/>
                  </a:lnTo>
                  <a:lnTo>
                    <a:pt x="64" y="1"/>
                  </a:lnTo>
                  <a:lnTo>
                    <a:pt x="60" y="1"/>
                  </a:lnTo>
                  <a:lnTo>
                    <a:pt x="58" y="0"/>
                  </a:lnTo>
                  <a:lnTo>
                    <a:pt x="57" y="2"/>
                  </a:lnTo>
                  <a:lnTo>
                    <a:pt x="56" y="2"/>
                  </a:lnTo>
                  <a:lnTo>
                    <a:pt x="56" y="5"/>
                  </a:lnTo>
                  <a:lnTo>
                    <a:pt x="52" y="5"/>
                  </a:lnTo>
                  <a:lnTo>
                    <a:pt x="52" y="7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3" y="5"/>
                  </a:lnTo>
                  <a:lnTo>
                    <a:pt x="43" y="7"/>
                  </a:lnTo>
                  <a:lnTo>
                    <a:pt x="42" y="7"/>
                  </a:lnTo>
                  <a:lnTo>
                    <a:pt x="41" y="9"/>
                  </a:lnTo>
                  <a:lnTo>
                    <a:pt x="38" y="11"/>
                  </a:lnTo>
                  <a:lnTo>
                    <a:pt x="34" y="15"/>
                  </a:lnTo>
                  <a:lnTo>
                    <a:pt x="34" y="16"/>
                  </a:lnTo>
                  <a:lnTo>
                    <a:pt x="37" y="17"/>
                  </a:lnTo>
                  <a:lnTo>
                    <a:pt x="38" y="20"/>
                  </a:lnTo>
                  <a:lnTo>
                    <a:pt x="37" y="20"/>
                  </a:lnTo>
                  <a:lnTo>
                    <a:pt x="34" y="19"/>
                  </a:lnTo>
                  <a:lnTo>
                    <a:pt x="31" y="20"/>
                  </a:lnTo>
                  <a:lnTo>
                    <a:pt x="28" y="19"/>
                  </a:lnTo>
                  <a:lnTo>
                    <a:pt x="27" y="20"/>
                  </a:lnTo>
                  <a:lnTo>
                    <a:pt x="23" y="21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6" y="23"/>
                  </a:lnTo>
                  <a:lnTo>
                    <a:pt x="15" y="21"/>
                  </a:lnTo>
                  <a:lnTo>
                    <a:pt x="12" y="20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8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1" y="21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4"/>
                  </a:lnTo>
                  <a:lnTo>
                    <a:pt x="1" y="26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8" y="30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2" y="31"/>
                  </a:lnTo>
                  <a:lnTo>
                    <a:pt x="13" y="30"/>
                  </a:lnTo>
                  <a:lnTo>
                    <a:pt x="16" y="32"/>
                  </a:lnTo>
                  <a:lnTo>
                    <a:pt x="23" y="28"/>
                  </a:lnTo>
                  <a:lnTo>
                    <a:pt x="26" y="30"/>
                  </a:lnTo>
                  <a:lnTo>
                    <a:pt x="30" y="28"/>
                  </a:lnTo>
                  <a:lnTo>
                    <a:pt x="28" y="31"/>
                  </a:lnTo>
                  <a:lnTo>
                    <a:pt x="35" y="35"/>
                  </a:lnTo>
                  <a:lnTo>
                    <a:pt x="42" y="36"/>
                  </a:lnTo>
                  <a:lnTo>
                    <a:pt x="46" y="35"/>
                  </a:lnTo>
                  <a:lnTo>
                    <a:pt x="47" y="36"/>
                  </a:lnTo>
                  <a:lnTo>
                    <a:pt x="47" y="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4" name="Freeform 54"/>
            <p:cNvSpPr>
              <a:spLocks/>
            </p:cNvSpPr>
            <p:nvPr/>
          </p:nvSpPr>
          <p:spPr bwMode="auto">
            <a:xfrm>
              <a:off x="2114" y="1279"/>
              <a:ext cx="108" cy="91"/>
            </a:xfrm>
            <a:custGeom>
              <a:avLst/>
              <a:gdLst>
                <a:gd name="T0" fmla="*/ 65 w 108"/>
                <a:gd name="T1" fmla="*/ 91 h 91"/>
                <a:gd name="T2" fmla="*/ 68 w 108"/>
                <a:gd name="T3" fmla="*/ 88 h 91"/>
                <a:gd name="T4" fmla="*/ 72 w 108"/>
                <a:gd name="T5" fmla="*/ 88 h 91"/>
                <a:gd name="T6" fmla="*/ 76 w 108"/>
                <a:gd name="T7" fmla="*/ 90 h 91"/>
                <a:gd name="T8" fmla="*/ 80 w 108"/>
                <a:gd name="T9" fmla="*/ 87 h 91"/>
                <a:gd name="T10" fmla="*/ 83 w 108"/>
                <a:gd name="T11" fmla="*/ 88 h 91"/>
                <a:gd name="T12" fmla="*/ 93 w 108"/>
                <a:gd name="T13" fmla="*/ 91 h 91"/>
                <a:gd name="T14" fmla="*/ 95 w 108"/>
                <a:gd name="T15" fmla="*/ 87 h 91"/>
                <a:gd name="T16" fmla="*/ 102 w 108"/>
                <a:gd name="T17" fmla="*/ 76 h 91"/>
                <a:gd name="T18" fmla="*/ 105 w 108"/>
                <a:gd name="T19" fmla="*/ 71 h 91"/>
                <a:gd name="T20" fmla="*/ 108 w 108"/>
                <a:gd name="T21" fmla="*/ 67 h 91"/>
                <a:gd name="T22" fmla="*/ 106 w 108"/>
                <a:gd name="T23" fmla="*/ 64 h 91"/>
                <a:gd name="T24" fmla="*/ 105 w 108"/>
                <a:gd name="T25" fmla="*/ 61 h 91"/>
                <a:gd name="T26" fmla="*/ 102 w 108"/>
                <a:gd name="T27" fmla="*/ 56 h 91"/>
                <a:gd name="T28" fmla="*/ 102 w 108"/>
                <a:gd name="T29" fmla="*/ 48 h 91"/>
                <a:gd name="T30" fmla="*/ 98 w 108"/>
                <a:gd name="T31" fmla="*/ 41 h 91"/>
                <a:gd name="T32" fmla="*/ 102 w 108"/>
                <a:gd name="T33" fmla="*/ 37 h 91"/>
                <a:gd name="T34" fmla="*/ 101 w 108"/>
                <a:gd name="T35" fmla="*/ 28 h 91"/>
                <a:gd name="T36" fmla="*/ 99 w 108"/>
                <a:gd name="T37" fmla="*/ 23 h 91"/>
                <a:gd name="T38" fmla="*/ 95 w 108"/>
                <a:gd name="T39" fmla="*/ 14 h 91"/>
                <a:gd name="T40" fmla="*/ 94 w 108"/>
                <a:gd name="T41" fmla="*/ 7 h 91"/>
                <a:gd name="T42" fmla="*/ 90 w 108"/>
                <a:gd name="T43" fmla="*/ 4 h 91"/>
                <a:gd name="T44" fmla="*/ 60 w 108"/>
                <a:gd name="T45" fmla="*/ 5 h 91"/>
                <a:gd name="T46" fmla="*/ 54 w 108"/>
                <a:gd name="T47" fmla="*/ 9 h 91"/>
                <a:gd name="T48" fmla="*/ 50 w 108"/>
                <a:gd name="T49" fmla="*/ 9 h 91"/>
                <a:gd name="T50" fmla="*/ 56 w 108"/>
                <a:gd name="T51" fmla="*/ 4 h 91"/>
                <a:gd name="T52" fmla="*/ 53 w 108"/>
                <a:gd name="T53" fmla="*/ 7 h 91"/>
                <a:gd name="T54" fmla="*/ 44 w 108"/>
                <a:gd name="T55" fmla="*/ 7 h 91"/>
                <a:gd name="T56" fmla="*/ 44 w 108"/>
                <a:gd name="T57" fmla="*/ 3 h 91"/>
                <a:gd name="T58" fmla="*/ 48 w 108"/>
                <a:gd name="T59" fmla="*/ 4 h 91"/>
                <a:gd name="T60" fmla="*/ 44 w 108"/>
                <a:gd name="T61" fmla="*/ 1 h 91"/>
                <a:gd name="T62" fmla="*/ 33 w 108"/>
                <a:gd name="T63" fmla="*/ 3 h 91"/>
                <a:gd name="T64" fmla="*/ 26 w 108"/>
                <a:gd name="T65" fmla="*/ 4 h 91"/>
                <a:gd name="T66" fmla="*/ 20 w 108"/>
                <a:gd name="T67" fmla="*/ 7 h 91"/>
                <a:gd name="T68" fmla="*/ 19 w 108"/>
                <a:gd name="T69" fmla="*/ 11 h 91"/>
                <a:gd name="T70" fmla="*/ 10 w 108"/>
                <a:gd name="T71" fmla="*/ 14 h 91"/>
                <a:gd name="T72" fmla="*/ 4 w 108"/>
                <a:gd name="T73" fmla="*/ 16 h 91"/>
                <a:gd name="T74" fmla="*/ 3 w 108"/>
                <a:gd name="T75" fmla="*/ 20 h 91"/>
                <a:gd name="T76" fmla="*/ 1 w 108"/>
                <a:gd name="T77" fmla="*/ 22 h 91"/>
                <a:gd name="T78" fmla="*/ 3 w 108"/>
                <a:gd name="T79" fmla="*/ 30 h 91"/>
                <a:gd name="T80" fmla="*/ 0 w 108"/>
                <a:gd name="T81" fmla="*/ 34 h 91"/>
                <a:gd name="T82" fmla="*/ 3 w 108"/>
                <a:gd name="T83" fmla="*/ 39 h 91"/>
                <a:gd name="T84" fmla="*/ 4 w 108"/>
                <a:gd name="T85" fmla="*/ 43 h 91"/>
                <a:gd name="T86" fmla="*/ 4 w 108"/>
                <a:gd name="T87" fmla="*/ 49 h 91"/>
                <a:gd name="T88" fmla="*/ 8 w 108"/>
                <a:gd name="T89" fmla="*/ 54 h 91"/>
                <a:gd name="T90" fmla="*/ 10 w 108"/>
                <a:gd name="T91" fmla="*/ 62 h 91"/>
                <a:gd name="T92" fmla="*/ 10 w 108"/>
                <a:gd name="T93" fmla="*/ 65 h 91"/>
                <a:gd name="T94" fmla="*/ 14 w 108"/>
                <a:gd name="T95" fmla="*/ 64 h 91"/>
                <a:gd name="T96" fmla="*/ 19 w 108"/>
                <a:gd name="T97" fmla="*/ 64 h 91"/>
                <a:gd name="T98" fmla="*/ 20 w 108"/>
                <a:gd name="T99" fmla="*/ 68 h 91"/>
                <a:gd name="T100" fmla="*/ 25 w 108"/>
                <a:gd name="T101" fmla="*/ 69 h 91"/>
                <a:gd name="T102" fmla="*/ 25 w 108"/>
                <a:gd name="T103" fmla="*/ 73 h 91"/>
                <a:gd name="T104" fmla="*/ 25 w 108"/>
                <a:gd name="T105" fmla="*/ 76 h 91"/>
                <a:gd name="T106" fmla="*/ 27 w 108"/>
                <a:gd name="T107" fmla="*/ 75 h 91"/>
                <a:gd name="T108" fmla="*/ 26 w 108"/>
                <a:gd name="T109" fmla="*/ 72 h 91"/>
                <a:gd name="T110" fmla="*/ 33 w 108"/>
                <a:gd name="T111" fmla="*/ 73 h 91"/>
                <a:gd name="T112" fmla="*/ 35 w 108"/>
                <a:gd name="T113" fmla="*/ 76 h 91"/>
                <a:gd name="T114" fmla="*/ 44 w 108"/>
                <a:gd name="T115" fmla="*/ 76 h 91"/>
                <a:gd name="T116" fmla="*/ 53 w 108"/>
                <a:gd name="T117" fmla="*/ 83 h 91"/>
                <a:gd name="T118" fmla="*/ 57 w 108"/>
                <a:gd name="T119" fmla="*/ 87 h 91"/>
                <a:gd name="T120" fmla="*/ 61 w 108"/>
                <a:gd name="T121" fmla="*/ 86 h 91"/>
                <a:gd name="T122" fmla="*/ 64 w 108"/>
                <a:gd name="T12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" h="91">
                  <a:moveTo>
                    <a:pt x="64" y="91"/>
                  </a:moveTo>
                  <a:lnTo>
                    <a:pt x="65" y="91"/>
                  </a:lnTo>
                  <a:lnTo>
                    <a:pt x="67" y="91"/>
                  </a:lnTo>
                  <a:lnTo>
                    <a:pt x="68" y="88"/>
                  </a:lnTo>
                  <a:lnTo>
                    <a:pt x="71" y="88"/>
                  </a:lnTo>
                  <a:lnTo>
                    <a:pt x="72" y="88"/>
                  </a:lnTo>
                  <a:lnTo>
                    <a:pt x="75" y="88"/>
                  </a:lnTo>
                  <a:lnTo>
                    <a:pt x="76" y="90"/>
                  </a:lnTo>
                  <a:lnTo>
                    <a:pt x="78" y="88"/>
                  </a:lnTo>
                  <a:lnTo>
                    <a:pt x="80" y="87"/>
                  </a:lnTo>
                  <a:lnTo>
                    <a:pt x="82" y="88"/>
                  </a:lnTo>
                  <a:lnTo>
                    <a:pt x="83" y="88"/>
                  </a:lnTo>
                  <a:lnTo>
                    <a:pt x="87" y="88"/>
                  </a:lnTo>
                  <a:lnTo>
                    <a:pt x="93" y="91"/>
                  </a:lnTo>
                  <a:lnTo>
                    <a:pt x="95" y="91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102" y="76"/>
                  </a:lnTo>
                  <a:lnTo>
                    <a:pt x="103" y="72"/>
                  </a:lnTo>
                  <a:lnTo>
                    <a:pt x="105" y="71"/>
                  </a:lnTo>
                  <a:lnTo>
                    <a:pt x="106" y="71"/>
                  </a:lnTo>
                  <a:lnTo>
                    <a:pt x="108" y="67"/>
                  </a:lnTo>
                  <a:lnTo>
                    <a:pt x="106" y="65"/>
                  </a:lnTo>
                  <a:lnTo>
                    <a:pt x="106" y="64"/>
                  </a:lnTo>
                  <a:lnTo>
                    <a:pt x="108" y="62"/>
                  </a:lnTo>
                  <a:lnTo>
                    <a:pt x="105" y="61"/>
                  </a:lnTo>
                  <a:lnTo>
                    <a:pt x="103" y="57"/>
                  </a:lnTo>
                  <a:lnTo>
                    <a:pt x="102" y="56"/>
                  </a:lnTo>
                  <a:lnTo>
                    <a:pt x="101" y="50"/>
                  </a:lnTo>
                  <a:lnTo>
                    <a:pt x="102" y="48"/>
                  </a:lnTo>
                  <a:lnTo>
                    <a:pt x="99" y="43"/>
                  </a:lnTo>
                  <a:lnTo>
                    <a:pt x="98" y="41"/>
                  </a:lnTo>
                  <a:lnTo>
                    <a:pt x="101" y="37"/>
                  </a:lnTo>
                  <a:lnTo>
                    <a:pt x="102" y="37"/>
                  </a:lnTo>
                  <a:lnTo>
                    <a:pt x="102" y="28"/>
                  </a:lnTo>
                  <a:lnTo>
                    <a:pt x="101" y="28"/>
                  </a:lnTo>
                  <a:lnTo>
                    <a:pt x="101" y="24"/>
                  </a:lnTo>
                  <a:lnTo>
                    <a:pt x="99" y="23"/>
                  </a:lnTo>
                  <a:lnTo>
                    <a:pt x="97" y="18"/>
                  </a:lnTo>
                  <a:lnTo>
                    <a:pt x="95" y="14"/>
                  </a:lnTo>
                  <a:lnTo>
                    <a:pt x="95" y="11"/>
                  </a:lnTo>
                  <a:lnTo>
                    <a:pt x="94" y="7"/>
                  </a:lnTo>
                  <a:lnTo>
                    <a:pt x="93" y="7"/>
                  </a:lnTo>
                  <a:lnTo>
                    <a:pt x="90" y="4"/>
                  </a:lnTo>
                  <a:lnTo>
                    <a:pt x="75" y="5"/>
                  </a:lnTo>
                  <a:lnTo>
                    <a:pt x="60" y="5"/>
                  </a:lnTo>
                  <a:lnTo>
                    <a:pt x="59" y="5"/>
                  </a:lnTo>
                  <a:lnTo>
                    <a:pt x="54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3" y="7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3" y="7"/>
                  </a:lnTo>
                  <a:lnTo>
                    <a:pt x="49" y="9"/>
                  </a:lnTo>
                  <a:lnTo>
                    <a:pt x="44" y="7"/>
                  </a:lnTo>
                  <a:lnTo>
                    <a:pt x="42" y="4"/>
                  </a:lnTo>
                  <a:lnTo>
                    <a:pt x="44" y="3"/>
                  </a:lnTo>
                  <a:lnTo>
                    <a:pt x="46" y="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4" y="1"/>
                  </a:lnTo>
                  <a:lnTo>
                    <a:pt x="38" y="0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6" y="4"/>
                  </a:lnTo>
                  <a:lnTo>
                    <a:pt x="25" y="7"/>
                  </a:lnTo>
                  <a:lnTo>
                    <a:pt x="20" y="7"/>
                  </a:lnTo>
                  <a:lnTo>
                    <a:pt x="19" y="9"/>
                  </a:lnTo>
                  <a:lnTo>
                    <a:pt x="19" y="11"/>
                  </a:lnTo>
                  <a:lnTo>
                    <a:pt x="15" y="11"/>
                  </a:lnTo>
                  <a:lnTo>
                    <a:pt x="10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2"/>
                  </a:lnTo>
                  <a:lnTo>
                    <a:pt x="1" y="22"/>
                  </a:lnTo>
                  <a:lnTo>
                    <a:pt x="3" y="27"/>
                  </a:lnTo>
                  <a:lnTo>
                    <a:pt x="3" y="30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3" y="38"/>
                  </a:lnTo>
                  <a:lnTo>
                    <a:pt x="3" y="39"/>
                  </a:lnTo>
                  <a:lnTo>
                    <a:pt x="4" y="42"/>
                  </a:lnTo>
                  <a:lnTo>
                    <a:pt x="4" y="43"/>
                  </a:lnTo>
                  <a:lnTo>
                    <a:pt x="6" y="46"/>
                  </a:lnTo>
                  <a:lnTo>
                    <a:pt x="4" y="49"/>
                  </a:lnTo>
                  <a:lnTo>
                    <a:pt x="7" y="53"/>
                  </a:lnTo>
                  <a:lnTo>
                    <a:pt x="8" y="54"/>
                  </a:lnTo>
                  <a:lnTo>
                    <a:pt x="10" y="56"/>
                  </a:lnTo>
                  <a:lnTo>
                    <a:pt x="10" y="62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11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9" y="64"/>
                  </a:lnTo>
                  <a:lnTo>
                    <a:pt x="19" y="65"/>
                  </a:lnTo>
                  <a:lnTo>
                    <a:pt x="20" y="68"/>
                  </a:lnTo>
                  <a:lnTo>
                    <a:pt x="23" y="68"/>
                  </a:lnTo>
                  <a:lnTo>
                    <a:pt x="25" y="69"/>
                  </a:lnTo>
                  <a:lnTo>
                    <a:pt x="23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6"/>
                  </a:lnTo>
                  <a:lnTo>
                    <a:pt x="27" y="76"/>
                  </a:lnTo>
                  <a:lnTo>
                    <a:pt x="27" y="75"/>
                  </a:lnTo>
                  <a:lnTo>
                    <a:pt x="29" y="75"/>
                  </a:lnTo>
                  <a:lnTo>
                    <a:pt x="26" y="72"/>
                  </a:lnTo>
                  <a:lnTo>
                    <a:pt x="27" y="71"/>
                  </a:lnTo>
                  <a:lnTo>
                    <a:pt x="33" y="73"/>
                  </a:lnTo>
                  <a:lnTo>
                    <a:pt x="37" y="73"/>
                  </a:lnTo>
                  <a:lnTo>
                    <a:pt x="35" y="76"/>
                  </a:lnTo>
                  <a:lnTo>
                    <a:pt x="38" y="77"/>
                  </a:lnTo>
                  <a:lnTo>
                    <a:pt x="44" y="76"/>
                  </a:lnTo>
                  <a:lnTo>
                    <a:pt x="46" y="77"/>
                  </a:lnTo>
                  <a:lnTo>
                    <a:pt x="53" y="83"/>
                  </a:lnTo>
                  <a:lnTo>
                    <a:pt x="56" y="87"/>
                  </a:lnTo>
                  <a:lnTo>
                    <a:pt x="57" y="87"/>
                  </a:lnTo>
                  <a:lnTo>
                    <a:pt x="59" y="86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4" y="91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5" name="Freeform 55"/>
            <p:cNvSpPr>
              <a:spLocks/>
            </p:cNvSpPr>
            <p:nvPr/>
          </p:nvSpPr>
          <p:spPr bwMode="auto">
            <a:xfrm>
              <a:off x="2092" y="1341"/>
              <a:ext cx="86" cy="39"/>
            </a:xfrm>
            <a:custGeom>
              <a:avLst/>
              <a:gdLst>
                <a:gd name="T0" fmla="*/ 32 w 86"/>
                <a:gd name="T1" fmla="*/ 3 h 39"/>
                <a:gd name="T2" fmla="*/ 36 w 86"/>
                <a:gd name="T3" fmla="*/ 2 h 39"/>
                <a:gd name="T4" fmla="*/ 41 w 86"/>
                <a:gd name="T5" fmla="*/ 2 h 39"/>
                <a:gd name="T6" fmla="*/ 42 w 86"/>
                <a:gd name="T7" fmla="*/ 6 h 39"/>
                <a:gd name="T8" fmla="*/ 47 w 86"/>
                <a:gd name="T9" fmla="*/ 7 h 39"/>
                <a:gd name="T10" fmla="*/ 47 w 86"/>
                <a:gd name="T11" fmla="*/ 11 h 39"/>
                <a:gd name="T12" fmla="*/ 47 w 86"/>
                <a:gd name="T13" fmla="*/ 14 h 39"/>
                <a:gd name="T14" fmla="*/ 49 w 86"/>
                <a:gd name="T15" fmla="*/ 13 h 39"/>
                <a:gd name="T16" fmla="*/ 48 w 86"/>
                <a:gd name="T17" fmla="*/ 10 h 39"/>
                <a:gd name="T18" fmla="*/ 55 w 86"/>
                <a:gd name="T19" fmla="*/ 11 h 39"/>
                <a:gd name="T20" fmla="*/ 57 w 86"/>
                <a:gd name="T21" fmla="*/ 14 h 39"/>
                <a:gd name="T22" fmla="*/ 66 w 86"/>
                <a:gd name="T23" fmla="*/ 14 h 39"/>
                <a:gd name="T24" fmla="*/ 75 w 86"/>
                <a:gd name="T25" fmla="*/ 21 h 39"/>
                <a:gd name="T26" fmla="*/ 79 w 86"/>
                <a:gd name="T27" fmla="*/ 25 h 39"/>
                <a:gd name="T28" fmla="*/ 83 w 86"/>
                <a:gd name="T29" fmla="*/ 24 h 39"/>
                <a:gd name="T30" fmla="*/ 86 w 86"/>
                <a:gd name="T31" fmla="*/ 29 h 39"/>
                <a:gd name="T32" fmla="*/ 78 w 86"/>
                <a:gd name="T33" fmla="*/ 30 h 39"/>
                <a:gd name="T34" fmla="*/ 72 w 86"/>
                <a:gd name="T35" fmla="*/ 34 h 39"/>
                <a:gd name="T36" fmla="*/ 63 w 86"/>
                <a:gd name="T37" fmla="*/ 36 h 39"/>
                <a:gd name="T38" fmla="*/ 60 w 86"/>
                <a:gd name="T39" fmla="*/ 36 h 39"/>
                <a:gd name="T40" fmla="*/ 52 w 86"/>
                <a:gd name="T41" fmla="*/ 36 h 39"/>
                <a:gd name="T42" fmla="*/ 47 w 86"/>
                <a:gd name="T43" fmla="*/ 34 h 39"/>
                <a:gd name="T44" fmla="*/ 40 w 86"/>
                <a:gd name="T45" fmla="*/ 33 h 39"/>
                <a:gd name="T46" fmla="*/ 34 w 86"/>
                <a:gd name="T47" fmla="*/ 32 h 39"/>
                <a:gd name="T48" fmla="*/ 32 w 86"/>
                <a:gd name="T49" fmla="*/ 34 h 39"/>
                <a:gd name="T50" fmla="*/ 28 w 86"/>
                <a:gd name="T51" fmla="*/ 37 h 39"/>
                <a:gd name="T52" fmla="*/ 21 w 86"/>
                <a:gd name="T53" fmla="*/ 34 h 39"/>
                <a:gd name="T54" fmla="*/ 19 w 86"/>
                <a:gd name="T55" fmla="*/ 34 h 39"/>
                <a:gd name="T56" fmla="*/ 13 w 86"/>
                <a:gd name="T57" fmla="*/ 28 h 39"/>
                <a:gd name="T58" fmla="*/ 6 w 86"/>
                <a:gd name="T59" fmla="*/ 24 h 39"/>
                <a:gd name="T60" fmla="*/ 6 w 86"/>
                <a:gd name="T61" fmla="*/ 20 h 39"/>
                <a:gd name="T62" fmla="*/ 0 w 86"/>
                <a:gd name="T63" fmla="*/ 14 h 39"/>
                <a:gd name="T64" fmla="*/ 2 w 86"/>
                <a:gd name="T65" fmla="*/ 11 h 39"/>
                <a:gd name="T66" fmla="*/ 4 w 86"/>
                <a:gd name="T67" fmla="*/ 13 h 39"/>
                <a:gd name="T68" fmla="*/ 10 w 86"/>
                <a:gd name="T69" fmla="*/ 9 h 39"/>
                <a:gd name="T70" fmla="*/ 15 w 86"/>
                <a:gd name="T71" fmla="*/ 6 h 39"/>
                <a:gd name="T72" fmla="*/ 21 w 86"/>
                <a:gd name="T73" fmla="*/ 5 h 39"/>
                <a:gd name="T74" fmla="*/ 23 w 86"/>
                <a:gd name="T75" fmla="*/ 3 h 39"/>
                <a:gd name="T76" fmla="*/ 28 w 86"/>
                <a:gd name="T77" fmla="*/ 2 h 39"/>
                <a:gd name="T78" fmla="*/ 30 w 86"/>
                <a:gd name="T79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" h="39">
                  <a:moveTo>
                    <a:pt x="32" y="2"/>
                  </a:moveTo>
                  <a:lnTo>
                    <a:pt x="32" y="3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2" y="6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45" y="10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48" y="10"/>
                  </a:lnTo>
                  <a:lnTo>
                    <a:pt x="49" y="9"/>
                  </a:lnTo>
                  <a:lnTo>
                    <a:pt x="55" y="11"/>
                  </a:lnTo>
                  <a:lnTo>
                    <a:pt x="59" y="11"/>
                  </a:lnTo>
                  <a:lnTo>
                    <a:pt x="57" y="14"/>
                  </a:lnTo>
                  <a:lnTo>
                    <a:pt x="60" y="15"/>
                  </a:lnTo>
                  <a:lnTo>
                    <a:pt x="66" y="14"/>
                  </a:lnTo>
                  <a:lnTo>
                    <a:pt x="68" y="15"/>
                  </a:lnTo>
                  <a:lnTo>
                    <a:pt x="75" y="21"/>
                  </a:lnTo>
                  <a:lnTo>
                    <a:pt x="78" y="25"/>
                  </a:lnTo>
                  <a:lnTo>
                    <a:pt x="79" y="25"/>
                  </a:lnTo>
                  <a:lnTo>
                    <a:pt x="81" y="24"/>
                  </a:lnTo>
                  <a:lnTo>
                    <a:pt x="83" y="24"/>
                  </a:lnTo>
                  <a:lnTo>
                    <a:pt x="86" y="25"/>
                  </a:lnTo>
                  <a:lnTo>
                    <a:pt x="86" y="29"/>
                  </a:lnTo>
                  <a:lnTo>
                    <a:pt x="81" y="28"/>
                  </a:lnTo>
                  <a:lnTo>
                    <a:pt x="78" y="30"/>
                  </a:lnTo>
                  <a:lnTo>
                    <a:pt x="75" y="30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0" y="36"/>
                  </a:lnTo>
                  <a:lnTo>
                    <a:pt x="57" y="37"/>
                  </a:lnTo>
                  <a:lnTo>
                    <a:pt x="52" y="36"/>
                  </a:lnTo>
                  <a:lnTo>
                    <a:pt x="49" y="34"/>
                  </a:lnTo>
                  <a:lnTo>
                    <a:pt x="47" y="34"/>
                  </a:lnTo>
                  <a:lnTo>
                    <a:pt x="44" y="34"/>
                  </a:lnTo>
                  <a:lnTo>
                    <a:pt x="40" y="33"/>
                  </a:lnTo>
                  <a:lnTo>
                    <a:pt x="36" y="33"/>
                  </a:lnTo>
                  <a:lnTo>
                    <a:pt x="34" y="32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2" y="37"/>
                  </a:lnTo>
                  <a:lnTo>
                    <a:pt x="28" y="37"/>
                  </a:lnTo>
                  <a:lnTo>
                    <a:pt x="28" y="39"/>
                  </a:lnTo>
                  <a:lnTo>
                    <a:pt x="21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5" y="29"/>
                  </a:lnTo>
                  <a:lnTo>
                    <a:pt x="13" y="28"/>
                  </a:lnTo>
                  <a:lnTo>
                    <a:pt x="8" y="25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3" y="15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7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8" y="2"/>
                  </a:lnTo>
                  <a:lnTo>
                    <a:pt x="29" y="0"/>
                  </a:lnTo>
                  <a:lnTo>
                    <a:pt x="30" y="2"/>
                  </a:lnTo>
                  <a:lnTo>
                    <a:pt x="32" y="2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6" name="Freeform 56"/>
            <p:cNvSpPr>
              <a:spLocks/>
            </p:cNvSpPr>
            <p:nvPr/>
          </p:nvSpPr>
          <p:spPr bwMode="auto">
            <a:xfrm>
              <a:off x="2029" y="1281"/>
              <a:ext cx="98" cy="117"/>
            </a:xfrm>
            <a:custGeom>
              <a:avLst/>
              <a:gdLst>
                <a:gd name="T0" fmla="*/ 36 w 98"/>
                <a:gd name="T1" fmla="*/ 2 h 117"/>
                <a:gd name="T2" fmla="*/ 40 w 98"/>
                <a:gd name="T3" fmla="*/ 7 h 117"/>
                <a:gd name="T4" fmla="*/ 43 w 98"/>
                <a:gd name="T5" fmla="*/ 11 h 117"/>
                <a:gd name="T6" fmla="*/ 47 w 98"/>
                <a:gd name="T7" fmla="*/ 10 h 117"/>
                <a:gd name="T8" fmla="*/ 54 w 98"/>
                <a:gd name="T9" fmla="*/ 10 h 117"/>
                <a:gd name="T10" fmla="*/ 49 w 98"/>
                <a:gd name="T11" fmla="*/ 15 h 117"/>
                <a:gd name="T12" fmla="*/ 55 w 98"/>
                <a:gd name="T13" fmla="*/ 17 h 117"/>
                <a:gd name="T14" fmla="*/ 65 w 98"/>
                <a:gd name="T15" fmla="*/ 13 h 117"/>
                <a:gd name="T16" fmla="*/ 68 w 98"/>
                <a:gd name="T17" fmla="*/ 8 h 117"/>
                <a:gd name="T18" fmla="*/ 68 w 98"/>
                <a:gd name="T19" fmla="*/ 10 h 117"/>
                <a:gd name="T20" fmla="*/ 72 w 98"/>
                <a:gd name="T21" fmla="*/ 10 h 117"/>
                <a:gd name="T22" fmla="*/ 79 w 98"/>
                <a:gd name="T23" fmla="*/ 14 h 117"/>
                <a:gd name="T24" fmla="*/ 84 w 98"/>
                <a:gd name="T25" fmla="*/ 19 h 117"/>
                <a:gd name="T26" fmla="*/ 91 w 98"/>
                <a:gd name="T27" fmla="*/ 26 h 117"/>
                <a:gd name="T28" fmla="*/ 91 w 98"/>
                <a:gd name="T29" fmla="*/ 37 h 117"/>
                <a:gd name="T30" fmla="*/ 94 w 98"/>
                <a:gd name="T31" fmla="*/ 45 h 117"/>
                <a:gd name="T32" fmla="*/ 98 w 98"/>
                <a:gd name="T33" fmla="*/ 55 h 117"/>
                <a:gd name="T34" fmla="*/ 94 w 98"/>
                <a:gd name="T35" fmla="*/ 63 h 117"/>
                <a:gd name="T36" fmla="*/ 87 w 98"/>
                <a:gd name="T37" fmla="*/ 66 h 117"/>
                <a:gd name="T38" fmla="*/ 76 w 98"/>
                <a:gd name="T39" fmla="*/ 70 h 117"/>
                <a:gd name="T40" fmla="*/ 68 w 98"/>
                <a:gd name="T41" fmla="*/ 72 h 117"/>
                <a:gd name="T42" fmla="*/ 72 w 98"/>
                <a:gd name="T43" fmla="*/ 81 h 117"/>
                <a:gd name="T44" fmla="*/ 79 w 98"/>
                <a:gd name="T45" fmla="*/ 89 h 117"/>
                <a:gd name="T46" fmla="*/ 85 w 98"/>
                <a:gd name="T47" fmla="*/ 100 h 117"/>
                <a:gd name="T48" fmla="*/ 76 w 98"/>
                <a:gd name="T49" fmla="*/ 108 h 117"/>
                <a:gd name="T50" fmla="*/ 79 w 98"/>
                <a:gd name="T51" fmla="*/ 113 h 117"/>
                <a:gd name="T52" fmla="*/ 69 w 98"/>
                <a:gd name="T53" fmla="*/ 113 h 117"/>
                <a:gd name="T54" fmla="*/ 58 w 98"/>
                <a:gd name="T55" fmla="*/ 116 h 117"/>
                <a:gd name="T56" fmla="*/ 51 w 98"/>
                <a:gd name="T57" fmla="*/ 116 h 117"/>
                <a:gd name="T58" fmla="*/ 43 w 98"/>
                <a:gd name="T59" fmla="*/ 114 h 117"/>
                <a:gd name="T60" fmla="*/ 38 w 98"/>
                <a:gd name="T61" fmla="*/ 112 h 117"/>
                <a:gd name="T62" fmla="*/ 32 w 98"/>
                <a:gd name="T63" fmla="*/ 110 h 117"/>
                <a:gd name="T64" fmla="*/ 27 w 98"/>
                <a:gd name="T65" fmla="*/ 113 h 117"/>
                <a:gd name="T66" fmla="*/ 21 w 98"/>
                <a:gd name="T67" fmla="*/ 112 h 117"/>
                <a:gd name="T68" fmla="*/ 21 w 98"/>
                <a:gd name="T69" fmla="*/ 101 h 117"/>
                <a:gd name="T70" fmla="*/ 24 w 98"/>
                <a:gd name="T71" fmla="*/ 91 h 117"/>
                <a:gd name="T72" fmla="*/ 15 w 98"/>
                <a:gd name="T73" fmla="*/ 91 h 117"/>
                <a:gd name="T74" fmla="*/ 9 w 98"/>
                <a:gd name="T75" fmla="*/ 89 h 117"/>
                <a:gd name="T76" fmla="*/ 5 w 98"/>
                <a:gd name="T77" fmla="*/ 82 h 117"/>
                <a:gd name="T78" fmla="*/ 2 w 98"/>
                <a:gd name="T79" fmla="*/ 72 h 117"/>
                <a:gd name="T80" fmla="*/ 1 w 98"/>
                <a:gd name="T81" fmla="*/ 64 h 117"/>
                <a:gd name="T82" fmla="*/ 1 w 98"/>
                <a:gd name="T83" fmla="*/ 53 h 117"/>
                <a:gd name="T84" fmla="*/ 11 w 98"/>
                <a:gd name="T85" fmla="*/ 49 h 117"/>
                <a:gd name="T86" fmla="*/ 13 w 98"/>
                <a:gd name="T87" fmla="*/ 42 h 117"/>
                <a:gd name="T88" fmla="*/ 9 w 98"/>
                <a:gd name="T89" fmla="*/ 38 h 117"/>
                <a:gd name="T90" fmla="*/ 13 w 98"/>
                <a:gd name="T91" fmla="*/ 34 h 117"/>
                <a:gd name="T92" fmla="*/ 16 w 98"/>
                <a:gd name="T93" fmla="*/ 29 h 117"/>
                <a:gd name="T94" fmla="*/ 12 w 98"/>
                <a:gd name="T95" fmla="*/ 25 h 117"/>
                <a:gd name="T96" fmla="*/ 21 w 98"/>
                <a:gd name="T97" fmla="*/ 22 h 117"/>
                <a:gd name="T98" fmla="*/ 24 w 98"/>
                <a:gd name="T99" fmla="*/ 23 h 117"/>
                <a:gd name="T100" fmla="*/ 26 w 98"/>
                <a:gd name="T101" fmla="*/ 26 h 117"/>
                <a:gd name="T102" fmla="*/ 27 w 98"/>
                <a:gd name="T103" fmla="*/ 21 h 117"/>
                <a:gd name="T104" fmla="*/ 35 w 98"/>
                <a:gd name="T105" fmla="*/ 18 h 117"/>
                <a:gd name="T106" fmla="*/ 35 w 98"/>
                <a:gd name="T107" fmla="*/ 18 h 117"/>
                <a:gd name="T108" fmla="*/ 32 w 98"/>
                <a:gd name="T109" fmla="*/ 14 h 117"/>
                <a:gd name="T110" fmla="*/ 28 w 98"/>
                <a:gd name="T111" fmla="*/ 8 h 117"/>
                <a:gd name="T112" fmla="*/ 30 w 98"/>
                <a:gd name="T113" fmla="*/ 3 h 117"/>
                <a:gd name="T114" fmla="*/ 27 w 98"/>
                <a:gd name="T11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8" h="117">
                  <a:moveTo>
                    <a:pt x="27" y="0"/>
                  </a:moveTo>
                  <a:lnTo>
                    <a:pt x="30" y="0"/>
                  </a:lnTo>
                  <a:lnTo>
                    <a:pt x="35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3"/>
                  </a:lnTo>
                  <a:lnTo>
                    <a:pt x="42" y="4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2" y="10"/>
                  </a:lnTo>
                  <a:lnTo>
                    <a:pt x="43" y="11"/>
                  </a:lnTo>
                  <a:lnTo>
                    <a:pt x="45" y="10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7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1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49" y="15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5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61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8" y="10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69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6" y="11"/>
                  </a:lnTo>
                  <a:lnTo>
                    <a:pt x="68" y="13"/>
                  </a:lnTo>
                  <a:lnTo>
                    <a:pt x="70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4" y="11"/>
                  </a:lnTo>
                  <a:lnTo>
                    <a:pt x="76" y="11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3" y="15"/>
                  </a:lnTo>
                  <a:lnTo>
                    <a:pt x="83" y="18"/>
                  </a:lnTo>
                  <a:lnTo>
                    <a:pt x="84" y="19"/>
                  </a:lnTo>
                  <a:lnTo>
                    <a:pt x="87" y="19"/>
                  </a:lnTo>
                  <a:lnTo>
                    <a:pt x="88" y="21"/>
                  </a:lnTo>
                  <a:lnTo>
                    <a:pt x="89" y="21"/>
                  </a:lnTo>
                  <a:lnTo>
                    <a:pt x="91" y="26"/>
                  </a:lnTo>
                  <a:lnTo>
                    <a:pt x="91" y="29"/>
                  </a:lnTo>
                  <a:lnTo>
                    <a:pt x="88" y="32"/>
                  </a:lnTo>
                  <a:lnTo>
                    <a:pt x="88" y="33"/>
                  </a:lnTo>
                  <a:lnTo>
                    <a:pt x="91" y="37"/>
                  </a:lnTo>
                  <a:lnTo>
                    <a:pt x="91" y="38"/>
                  </a:lnTo>
                  <a:lnTo>
                    <a:pt x="92" y="41"/>
                  </a:lnTo>
                  <a:lnTo>
                    <a:pt x="92" y="42"/>
                  </a:lnTo>
                  <a:lnTo>
                    <a:pt x="94" y="45"/>
                  </a:lnTo>
                  <a:lnTo>
                    <a:pt x="92" y="48"/>
                  </a:lnTo>
                  <a:lnTo>
                    <a:pt x="95" y="52"/>
                  </a:lnTo>
                  <a:lnTo>
                    <a:pt x="96" y="53"/>
                  </a:lnTo>
                  <a:lnTo>
                    <a:pt x="98" y="55"/>
                  </a:lnTo>
                  <a:lnTo>
                    <a:pt x="98" y="61"/>
                  </a:lnTo>
                  <a:lnTo>
                    <a:pt x="96" y="63"/>
                  </a:lnTo>
                  <a:lnTo>
                    <a:pt x="95" y="61"/>
                  </a:lnTo>
                  <a:lnTo>
                    <a:pt x="94" y="63"/>
                  </a:lnTo>
                  <a:lnTo>
                    <a:pt x="89" y="63"/>
                  </a:lnTo>
                  <a:lnTo>
                    <a:pt x="89" y="64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3" y="66"/>
                  </a:lnTo>
                  <a:lnTo>
                    <a:pt x="81" y="67"/>
                  </a:lnTo>
                  <a:lnTo>
                    <a:pt x="79" y="67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0" y="74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5"/>
                  </a:lnTo>
                  <a:lnTo>
                    <a:pt x="69" y="76"/>
                  </a:lnTo>
                  <a:lnTo>
                    <a:pt x="72" y="81"/>
                  </a:lnTo>
                  <a:lnTo>
                    <a:pt x="72" y="83"/>
                  </a:lnTo>
                  <a:lnTo>
                    <a:pt x="72" y="85"/>
                  </a:lnTo>
                  <a:lnTo>
                    <a:pt x="74" y="86"/>
                  </a:lnTo>
                  <a:lnTo>
                    <a:pt x="79" y="89"/>
                  </a:lnTo>
                  <a:lnTo>
                    <a:pt x="81" y="90"/>
                  </a:lnTo>
                  <a:lnTo>
                    <a:pt x="85" y="95"/>
                  </a:lnTo>
                  <a:lnTo>
                    <a:pt x="85" y="98"/>
                  </a:lnTo>
                  <a:lnTo>
                    <a:pt x="85" y="100"/>
                  </a:lnTo>
                  <a:lnTo>
                    <a:pt x="84" y="100"/>
                  </a:lnTo>
                  <a:lnTo>
                    <a:pt x="83" y="102"/>
                  </a:lnTo>
                  <a:lnTo>
                    <a:pt x="80" y="104"/>
                  </a:lnTo>
                  <a:lnTo>
                    <a:pt x="76" y="108"/>
                  </a:lnTo>
                  <a:lnTo>
                    <a:pt x="76" y="109"/>
                  </a:lnTo>
                  <a:lnTo>
                    <a:pt x="79" y="110"/>
                  </a:lnTo>
                  <a:lnTo>
                    <a:pt x="80" y="113"/>
                  </a:lnTo>
                  <a:lnTo>
                    <a:pt x="79" y="113"/>
                  </a:lnTo>
                  <a:lnTo>
                    <a:pt x="76" y="112"/>
                  </a:lnTo>
                  <a:lnTo>
                    <a:pt x="73" y="113"/>
                  </a:lnTo>
                  <a:lnTo>
                    <a:pt x="70" y="112"/>
                  </a:lnTo>
                  <a:lnTo>
                    <a:pt x="69" y="113"/>
                  </a:lnTo>
                  <a:lnTo>
                    <a:pt x="65" y="114"/>
                  </a:lnTo>
                  <a:lnTo>
                    <a:pt x="62" y="116"/>
                  </a:lnTo>
                  <a:lnTo>
                    <a:pt x="61" y="114"/>
                  </a:lnTo>
                  <a:lnTo>
                    <a:pt x="58" y="116"/>
                  </a:lnTo>
                  <a:lnTo>
                    <a:pt x="57" y="114"/>
                  </a:lnTo>
                  <a:lnTo>
                    <a:pt x="54" y="113"/>
                  </a:lnTo>
                  <a:lnTo>
                    <a:pt x="51" y="114"/>
                  </a:lnTo>
                  <a:lnTo>
                    <a:pt x="51" y="116"/>
                  </a:lnTo>
                  <a:lnTo>
                    <a:pt x="50" y="117"/>
                  </a:lnTo>
                  <a:lnTo>
                    <a:pt x="47" y="116"/>
                  </a:lnTo>
                  <a:lnTo>
                    <a:pt x="46" y="114"/>
                  </a:lnTo>
                  <a:lnTo>
                    <a:pt x="43" y="114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40" y="114"/>
                  </a:lnTo>
                  <a:lnTo>
                    <a:pt x="38" y="112"/>
                  </a:lnTo>
                  <a:lnTo>
                    <a:pt x="35" y="112"/>
                  </a:lnTo>
                  <a:lnTo>
                    <a:pt x="35" y="113"/>
                  </a:lnTo>
                  <a:lnTo>
                    <a:pt x="34" y="113"/>
                  </a:lnTo>
                  <a:lnTo>
                    <a:pt x="32" y="110"/>
                  </a:lnTo>
                  <a:lnTo>
                    <a:pt x="30" y="112"/>
                  </a:lnTo>
                  <a:lnTo>
                    <a:pt x="30" y="113"/>
                  </a:lnTo>
                  <a:lnTo>
                    <a:pt x="30" y="114"/>
                  </a:lnTo>
                  <a:lnTo>
                    <a:pt x="27" y="113"/>
                  </a:lnTo>
                  <a:lnTo>
                    <a:pt x="24" y="114"/>
                  </a:lnTo>
                  <a:lnTo>
                    <a:pt x="23" y="114"/>
                  </a:lnTo>
                  <a:lnTo>
                    <a:pt x="23" y="114"/>
                  </a:lnTo>
                  <a:lnTo>
                    <a:pt x="21" y="112"/>
                  </a:lnTo>
                  <a:lnTo>
                    <a:pt x="19" y="110"/>
                  </a:lnTo>
                  <a:lnTo>
                    <a:pt x="19" y="108"/>
                  </a:lnTo>
                  <a:lnTo>
                    <a:pt x="20" y="104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3" y="97"/>
                  </a:lnTo>
                  <a:lnTo>
                    <a:pt x="26" y="94"/>
                  </a:lnTo>
                  <a:lnTo>
                    <a:pt x="24" y="91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3" y="91"/>
                  </a:lnTo>
                  <a:lnTo>
                    <a:pt x="11" y="91"/>
                  </a:lnTo>
                  <a:lnTo>
                    <a:pt x="9" y="90"/>
                  </a:lnTo>
                  <a:lnTo>
                    <a:pt x="9" y="89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83"/>
                  </a:lnTo>
                  <a:lnTo>
                    <a:pt x="5" y="82"/>
                  </a:lnTo>
                  <a:lnTo>
                    <a:pt x="5" y="79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1" y="71"/>
                  </a:lnTo>
                  <a:lnTo>
                    <a:pt x="1" y="70"/>
                  </a:lnTo>
                  <a:lnTo>
                    <a:pt x="0" y="66"/>
                  </a:lnTo>
                  <a:lnTo>
                    <a:pt x="1" y="64"/>
                  </a:lnTo>
                  <a:lnTo>
                    <a:pt x="0" y="64"/>
                  </a:lnTo>
                  <a:lnTo>
                    <a:pt x="1" y="61"/>
                  </a:lnTo>
                  <a:lnTo>
                    <a:pt x="2" y="57"/>
                  </a:lnTo>
                  <a:lnTo>
                    <a:pt x="1" y="53"/>
                  </a:lnTo>
                  <a:lnTo>
                    <a:pt x="2" y="52"/>
                  </a:lnTo>
                  <a:lnTo>
                    <a:pt x="4" y="49"/>
                  </a:lnTo>
                  <a:lnTo>
                    <a:pt x="8" y="49"/>
                  </a:lnTo>
                  <a:lnTo>
                    <a:pt x="11" y="49"/>
                  </a:lnTo>
                  <a:lnTo>
                    <a:pt x="12" y="49"/>
                  </a:lnTo>
                  <a:lnTo>
                    <a:pt x="11" y="47"/>
                  </a:lnTo>
                  <a:lnTo>
                    <a:pt x="12" y="45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2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5" y="32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7"/>
                  </a:lnTo>
                  <a:lnTo>
                    <a:pt x="13" y="26"/>
                  </a:lnTo>
                  <a:lnTo>
                    <a:pt x="12" y="25"/>
                  </a:lnTo>
                  <a:lnTo>
                    <a:pt x="12" y="22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2"/>
                  </a:lnTo>
                  <a:lnTo>
                    <a:pt x="21" y="25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7" y="23"/>
                  </a:lnTo>
                  <a:lnTo>
                    <a:pt x="26" y="26"/>
                  </a:lnTo>
                  <a:lnTo>
                    <a:pt x="28" y="29"/>
                  </a:lnTo>
                  <a:lnTo>
                    <a:pt x="28" y="26"/>
                  </a:lnTo>
                  <a:lnTo>
                    <a:pt x="28" y="23"/>
                  </a:lnTo>
                  <a:lnTo>
                    <a:pt x="27" y="21"/>
                  </a:lnTo>
                  <a:lnTo>
                    <a:pt x="28" y="19"/>
                  </a:lnTo>
                  <a:lnTo>
                    <a:pt x="31" y="18"/>
                  </a:lnTo>
                  <a:lnTo>
                    <a:pt x="32" y="19"/>
                  </a:lnTo>
                  <a:lnTo>
                    <a:pt x="35" y="18"/>
                  </a:lnTo>
                  <a:lnTo>
                    <a:pt x="39" y="22"/>
                  </a:lnTo>
                  <a:lnTo>
                    <a:pt x="43" y="23"/>
                  </a:lnTo>
                  <a:lnTo>
                    <a:pt x="39" y="22"/>
                  </a:lnTo>
                  <a:lnTo>
                    <a:pt x="35" y="18"/>
                  </a:lnTo>
                  <a:lnTo>
                    <a:pt x="32" y="18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2" y="14"/>
                  </a:lnTo>
                  <a:lnTo>
                    <a:pt x="31" y="13"/>
                  </a:lnTo>
                  <a:lnTo>
                    <a:pt x="31" y="10"/>
                  </a:lnTo>
                  <a:lnTo>
                    <a:pt x="28" y="10"/>
                  </a:lnTo>
                  <a:lnTo>
                    <a:pt x="28" y="8"/>
                  </a:lnTo>
                  <a:lnTo>
                    <a:pt x="30" y="8"/>
                  </a:lnTo>
                  <a:lnTo>
                    <a:pt x="32" y="7"/>
                  </a:lnTo>
                  <a:lnTo>
                    <a:pt x="30" y="6"/>
                  </a:lnTo>
                  <a:lnTo>
                    <a:pt x="30" y="3"/>
                  </a:lnTo>
                  <a:lnTo>
                    <a:pt x="28" y="3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9D9D9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7" name="Freeform 57"/>
            <p:cNvSpPr>
              <a:spLocks/>
            </p:cNvSpPr>
            <p:nvPr/>
          </p:nvSpPr>
          <p:spPr bwMode="auto">
            <a:xfrm>
              <a:off x="2068" y="1399"/>
              <a:ext cx="3" cy="2"/>
            </a:xfrm>
            <a:custGeom>
              <a:avLst/>
              <a:gdLst>
                <a:gd name="T0" fmla="*/ 1 w 3"/>
                <a:gd name="T1" fmla="*/ 0 h 2"/>
                <a:gd name="T2" fmla="*/ 3 w 3"/>
                <a:gd name="T3" fmla="*/ 0 h 2"/>
                <a:gd name="T4" fmla="*/ 3 w 3"/>
                <a:gd name="T5" fmla="*/ 2 h 2"/>
                <a:gd name="T6" fmla="*/ 1 w 3"/>
                <a:gd name="T7" fmla="*/ 2 h 2"/>
                <a:gd name="T8" fmla="*/ 0 w 3"/>
                <a:gd name="T9" fmla="*/ 1 h 2"/>
                <a:gd name="T10" fmla="*/ 1 w 3"/>
                <a:gd name="T11" fmla="*/ 0 h 2"/>
                <a:gd name="T12" fmla="*/ 1 w 3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8" name="Freeform 58"/>
            <p:cNvSpPr>
              <a:spLocks/>
            </p:cNvSpPr>
            <p:nvPr/>
          </p:nvSpPr>
          <p:spPr bwMode="auto">
            <a:xfrm>
              <a:off x="2028" y="1390"/>
              <a:ext cx="52" cy="30"/>
            </a:xfrm>
            <a:custGeom>
              <a:avLst/>
              <a:gdLst>
                <a:gd name="T0" fmla="*/ 22 w 52"/>
                <a:gd name="T1" fmla="*/ 4 h 30"/>
                <a:gd name="T2" fmla="*/ 28 w 52"/>
                <a:gd name="T3" fmla="*/ 4 h 30"/>
                <a:gd name="T4" fmla="*/ 28 w 52"/>
                <a:gd name="T5" fmla="*/ 2 h 30"/>
                <a:gd name="T6" fmla="*/ 32 w 52"/>
                <a:gd name="T7" fmla="*/ 3 h 30"/>
                <a:gd name="T8" fmla="*/ 33 w 52"/>
                <a:gd name="T9" fmla="*/ 2 h 30"/>
                <a:gd name="T10" fmla="*/ 38 w 52"/>
                <a:gd name="T11" fmla="*/ 4 h 30"/>
                <a:gd name="T12" fmla="*/ 41 w 52"/>
                <a:gd name="T13" fmla="*/ 9 h 30"/>
                <a:gd name="T14" fmla="*/ 41 w 52"/>
                <a:gd name="T15" fmla="*/ 11 h 30"/>
                <a:gd name="T16" fmla="*/ 45 w 52"/>
                <a:gd name="T17" fmla="*/ 11 h 30"/>
                <a:gd name="T18" fmla="*/ 49 w 52"/>
                <a:gd name="T19" fmla="*/ 11 h 30"/>
                <a:gd name="T20" fmla="*/ 52 w 52"/>
                <a:gd name="T21" fmla="*/ 14 h 30"/>
                <a:gd name="T22" fmla="*/ 52 w 52"/>
                <a:gd name="T23" fmla="*/ 19 h 30"/>
                <a:gd name="T24" fmla="*/ 47 w 52"/>
                <a:gd name="T25" fmla="*/ 25 h 30"/>
                <a:gd name="T26" fmla="*/ 43 w 52"/>
                <a:gd name="T27" fmla="*/ 24 h 30"/>
                <a:gd name="T28" fmla="*/ 37 w 52"/>
                <a:gd name="T29" fmla="*/ 26 h 30"/>
                <a:gd name="T30" fmla="*/ 34 w 52"/>
                <a:gd name="T31" fmla="*/ 28 h 30"/>
                <a:gd name="T32" fmla="*/ 30 w 52"/>
                <a:gd name="T33" fmla="*/ 24 h 30"/>
                <a:gd name="T34" fmla="*/ 24 w 52"/>
                <a:gd name="T35" fmla="*/ 29 h 30"/>
                <a:gd name="T36" fmla="*/ 15 w 52"/>
                <a:gd name="T37" fmla="*/ 30 h 30"/>
                <a:gd name="T38" fmla="*/ 13 w 52"/>
                <a:gd name="T39" fmla="*/ 28 h 30"/>
                <a:gd name="T40" fmla="*/ 11 w 52"/>
                <a:gd name="T41" fmla="*/ 24 h 30"/>
                <a:gd name="T42" fmla="*/ 6 w 52"/>
                <a:gd name="T43" fmla="*/ 21 h 30"/>
                <a:gd name="T44" fmla="*/ 6 w 52"/>
                <a:gd name="T45" fmla="*/ 26 h 30"/>
                <a:gd name="T46" fmla="*/ 0 w 52"/>
                <a:gd name="T47" fmla="*/ 26 h 30"/>
                <a:gd name="T48" fmla="*/ 2 w 52"/>
                <a:gd name="T49" fmla="*/ 24 h 30"/>
                <a:gd name="T50" fmla="*/ 3 w 52"/>
                <a:gd name="T51" fmla="*/ 22 h 30"/>
                <a:gd name="T52" fmla="*/ 6 w 52"/>
                <a:gd name="T53" fmla="*/ 14 h 30"/>
                <a:gd name="T54" fmla="*/ 10 w 52"/>
                <a:gd name="T55" fmla="*/ 10 h 30"/>
                <a:gd name="T56" fmla="*/ 13 w 52"/>
                <a:gd name="T57" fmla="*/ 7 h 30"/>
                <a:gd name="T58" fmla="*/ 11 w 52"/>
                <a:gd name="T59" fmla="*/ 3 h 30"/>
                <a:gd name="T60" fmla="*/ 14 w 52"/>
                <a:gd name="T61" fmla="*/ 4 h 30"/>
                <a:gd name="T62" fmla="*/ 21 w 52"/>
                <a:gd name="T63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" h="30">
                  <a:moveTo>
                    <a:pt x="21" y="4"/>
                  </a:moveTo>
                  <a:lnTo>
                    <a:pt x="22" y="4"/>
                  </a:lnTo>
                  <a:lnTo>
                    <a:pt x="25" y="3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41" y="7"/>
                  </a:lnTo>
                  <a:lnTo>
                    <a:pt x="41" y="9"/>
                  </a:lnTo>
                  <a:lnTo>
                    <a:pt x="40" y="10"/>
                  </a:lnTo>
                  <a:lnTo>
                    <a:pt x="41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8" y="13"/>
                  </a:lnTo>
                  <a:lnTo>
                    <a:pt x="49" y="11"/>
                  </a:lnTo>
                  <a:lnTo>
                    <a:pt x="52" y="11"/>
                  </a:lnTo>
                  <a:lnTo>
                    <a:pt x="52" y="14"/>
                  </a:lnTo>
                  <a:lnTo>
                    <a:pt x="51" y="17"/>
                  </a:lnTo>
                  <a:lnTo>
                    <a:pt x="52" y="19"/>
                  </a:lnTo>
                  <a:lnTo>
                    <a:pt x="47" y="21"/>
                  </a:lnTo>
                  <a:lnTo>
                    <a:pt x="47" y="25"/>
                  </a:lnTo>
                  <a:lnTo>
                    <a:pt x="44" y="24"/>
                  </a:lnTo>
                  <a:lnTo>
                    <a:pt x="43" y="24"/>
                  </a:lnTo>
                  <a:lnTo>
                    <a:pt x="37" y="22"/>
                  </a:lnTo>
                  <a:lnTo>
                    <a:pt x="37" y="26"/>
                  </a:lnTo>
                  <a:lnTo>
                    <a:pt x="34" y="30"/>
                  </a:lnTo>
                  <a:lnTo>
                    <a:pt x="34" y="28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28" y="21"/>
                  </a:lnTo>
                  <a:lnTo>
                    <a:pt x="24" y="29"/>
                  </a:lnTo>
                  <a:lnTo>
                    <a:pt x="21" y="28"/>
                  </a:lnTo>
                  <a:lnTo>
                    <a:pt x="15" y="30"/>
                  </a:lnTo>
                  <a:lnTo>
                    <a:pt x="14" y="29"/>
                  </a:lnTo>
                  <a:lnTo>
                    <a:pt x="13" y="28"/>
                  </a:lnTo>
                  <a:lnTo>
                    <a:pt x="11" y="26"/>
                  </a:lnTo>
                  <a:lnTo>
                    <a:pt x="11" y="24"/>
                  </a:lnTo>
                  <a:lnTo>
                    <a:pt x="10" y="22"/>
                  </a:lnTo>
                  <a:lnTo>
                    <a:pt x="6" y="21"/>
                  </a:lnTo>
                  <a:lnTo>
                    <a:pt x="4" y="22"/>
                  </a:lnTo>
                  <a:lnTo>
                    <a:pt x="6" y="26"/>
                  </a:lnTo>
                  <a:lnTo>
                    <a:pt x="3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2"/>
                  </a:lnTo>
                  <a:lnTo>
                    <a:pt x="3" y="18"/>
                  </a:lnTo>
                  <a:lnTo>
                    <a:pt x="6" y="14"/>
                  </a:lnTo>
                  <a:lnTo>
                    <a:pt x="9" y="13"/>
                  </a:lnTo>
                  <a:lnTo>
                    <a:pt x="10" y="10"/>
                  </a:lnTo>
                  <a:lnTo>
                    <a:pt x="13" y="9"/>
                  </a:lnTo>
                  <a:lnTo>
                    <a:pt x="13" y="7"/>
                  </a:lnTo>
                  <a:lnTo>
                    <a:pt x="10" y="6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7" y="6"/>
                  </a:lnTo>
                  <a:lnTo>
                    <a:pt x="21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59" name="Freeform 59"/>
            <p:cNvSpPr>
              <a:spLocks/>
            </p:cNvSpPr>
            <p:nvPr/>
          </p:nvSpPr>
          <p:spPr bwMode="auto">
            <a:xfrm>
              <a:off x="2000" y="1305"/>
              <a:ext cx="42" cy="39"/>
            </a:xfrm>
            <a:custGeom>
              <a:avLst/>
              <a:gdLst>
                <a:gd name="T0" fmla="*/ 27 w 42"/>
                <a:gd name="T1" fmla="*/ 36 h 39"/>
                <a:gd name="T2" fmla="*/ 27 w 42"/>
                <a:gd name="T3" fmla="*/ 28 h 39"/>
                <a:gd name="T4" fmla="*/ 30 w 42"/>
                <a:gd name="T5" fmla="*/ 24 h 39"/>
                <a:gd name="T6" fmla="*/ 37 w 42"/>
                <a:gd name="T7" fmla="*/ 24 h 39"/>
                <a:gd name="T8" fmla="*/ 37 w 42"/>
                <a:gd name="T9" fmla="*/ 22 h 39"/>
                <a:gd name="T10" fmla="*/ 39 w 42"/>
                <a:gd name="T11" fmla="*/ 17 h 39"/>
                <a:gd name="T12" fmla="*/ 38 w 42"/>
                <a:gd name="T13" fmla="*/ 15 h 39"/>
                <a:gd name="T14" fmla="*/ 35 w 42"/>
                <a:gd name="T15" fmla="*/ 13 h 39"/>
                <a:gd name="T16" fmla="*/ 38 w 42"/>
                <a:gd name="T17" fmla="*/ 12 h 39"/>
                <a:gd name="T18" fmla="*/ 39 w 42"/>
                <a:gd name="T19" fmla="*/ 9 h 39"/>
                <a:gd name="T20" fmla="*/ 41 w 42"/>
                <a:gd name="T21" fmla="*/ 5 h 39"/>
                <a:gd name="T22" fmla="*/ 42 w 42"/>
                <a:gd name="T23" fmla="*/ 4 h 39"/>
                <a:gd name="T24" fmla="*/ 38 w 42"/>
                <a:gd name="T25" fmla="*/ 2 h 39"/>
                <a:gd name="T26" fmla="*/ 31 w 42"/>
                <a:gd name="T27" fmla="*/ 1 h 39"/>
                <a:gd name="T28" fmla="*/ 27 w 42"/>
                <a:gd name="T29" fmla="*/ 2 h 39"/>
                <a:gd name="T30" fmla="*/ 23 w 42"/>
                <a:gd name="T31" fmla="*/ 2 h 39"/>
                <a:gd name="T32" fmla="*/ 16 w 42"/>
                <a:gd name="T33" fmla="*/ 8 h 39"/>
                <a:gd name="T34" fmla="*/ 12 w 42"/>
                <a:gd name="T35" fmla="*/ 8 h 39"/>
                <a:gd name="T36" fmla="*/ 11 w 42"/>
                <a:gd name="T37" fmla="*/ 13 h 39"/>
                <a:gd name="T38" fmla="*/ 11 w 42"/>
                <a:gd name="T39" fmla="*/ 19 h 39"/>
                <a:gd name="T40" fmla="*/ 8 w 42"/>
                <a:gd name="T41" fmla="*/ 22 h 39"/>
                <a:gd name="T42" fmla="*/ 7 w 42"/>
                <a:gd name="T43" fmla="*/ 24 h 39"/>
                <a:gd name="T44" fmla="*/ 12 w 42"/>
                <a:gd name="T45" fmla="*/ 28 h 39"/>
                <a:gd name="T46" fmla="*/ 8 w 42"/>
                <a:gd name="T47" fmla="*/ 28 h 39"/>
                <a:gd name="T48" fmla="*/ 8 w 42"/>
                <a:gd name="T49" fmla="*/ 31 h 39"/>
                <a:gd name="T50" fmla="*/ 9 w 42"/>
                <a:gd name="T51" fmla="*/ 32 h 39"/>
                <a:gd name="T52" fmla="*/ 5 w 42"/>
                <a:gd name="T53" fmla="*/ 30 h 39"/>
                <a:gd name="T54" fmla="*/ 1 w 42"/>
                <a:gd name="T55" fmla="*/ 30 h 39"/>
                <a:gd name="T56" fmla="*/ 4 w 42"/>
                <a:gd name="T57" fmla="*/ 31 h 39"/>
                <a:gd name="T58" fmla="*/ 7 w 42"/>
                <a:gd name="T59" fmla="*/ 32 h 39"/>
                <a:gd name="T60" fmla="*/ 7 w 42"/>
                <a:gd name="T61" fmla="*/ 34 h 39"/>
                <a:gd name="T62" fmla="*/ 3 w 42"/>
                <a:gd name="T63" fmla="*/ 32 h 39"/>
                <a:gd name="T64" fmla="*/ 0 w 42"/>
                <a:gd name="T65" fmla="*/ 32 h 39"/>
                <a:gd name="T66" fmla="*/ 3 w 42"/>
                <a:gd name="T67" fmla="*/ 35 h 39"/>
                <a:gd name="T68" fmla="*/ 5 w 42"/>
                <a:gd name="T69" fmla="*/ 36 h 39"/>
                <a:gd name="T70" fmla="*/ 9 w 42"/>
                <a:gd name="T71" fmla="*/ 34 h 39"/>
                <a:gd name="T72" fmla="*/ 11 w 42"/>
                <a:gd name="T73" fmla="*/ 34 h 39"/>
                <a:gd name="T74" fmla="*/ 16 w 42"/>
                <a:gd name="T75" fmla="*/ 32 h 39"/>
                <a:gd name="T76" fmla="*/ 19 w 42"/>
                <a:gd name="T77" fmla="*/ 34 h 39"/>
                <a:gd name="T78" fmla="*/ 23 w 42"/>
                <a:gd name="T79" fmla="*/ 35 h 39"/>
                <a:gd name="T80" fmla="*/ 24 w 42"/>
                <a:gd name="T81" fmla="*/ 38 h 39"/>
                <a:gd name="T82" fmla="*/ 26 w 42"/>
                <a:gd name="T8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" h="39">
                  <a:moveTo>
                    <a:pt x="26" y="39"/>
                  </a:moveTo>
                  <a:lnTo>
                    <a:pt x="27" y="36"/>
                  </a:lnTo>
                  <a:lnTo>
                    <a:pt x="28" y="32"/>
                  </a:lnTo>
                  <a:lnTo>
                    <a:pt x="27" y="28"/>
                  </a:lnTo>
                  <a:lnTo>
                    <a:pt x="28" y="27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7" y="22"/>
                  </a:lnTo>
                  <a:lnTo>
                    <a:pt x="38" y="20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38" y="15"/>
                  </a:lnTo>
                  <a:lnTo>
                    <a:pt x="35" y="15"/>
                  </a:lnTo>
                  <a:lnTo>
                    <a:pt x="35" y="13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9"/>
                  </a:lnTo>
                  <a:lnTo>
                    <a:pt x="41" y="7"/>
                  </a:lnTo>
                  <a:lnTo>
                    <a:pt x="41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39" y="4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31" y="1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3" y="2"/>
                  </a:lnTo>
                  <a:lnTo>
                    <a:pt x="20" y="5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2" y="8"/>
                  </a:lnTo>
                  <a:lnTo>
                    <a:pt x="12" y="11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9"/>
                  </a:lnTo>
                  <a:lnTo>
                    <a:pt x="9" y="20"/>
                  </a:lnTo>
                  <a:lnTo>
                    <a:pt x="8" y="22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9" y="27"/>
                  </a:lnTo>
                  <a:lnTo>
                    <a:pt x="12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30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1" y="30"/>
                  </a:lnTo>
                  <a:lnTo>
                    <a:pt x="3" y="31"/>
                  </a:lnTo>
                  <a:lnTo>
                    <a:pt x="4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9" y="34"/>
                  </a:lnTo>
                  <a:lnTo>
                    <a:pt x="7" y="34"/>
                  </a:lnTo>
                  <a:lnTo>
                    <a:pt x="5" y="34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4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5" y="36"/>
                  </a:lnTo>
                  <a:lnTo>
                    <a:pt x="7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1" y="34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20" y="35"/>
                  </a:lnTo>
                  <a:lnTo>
                    <a:pt x="23" y="35"/>
                  </a:lnTo>
                  <a:lnTo>
                    <a:pt x="24" y="36"/>
                  </a:lnTo>
                  <a:lnTo>
                    <a:pt x="24" y="38"/>
                  </a:lnTo>
                  <a:lnTo>
                    <a:pt x="26" y="39"/>
                  </a:lnTo>
                  <a:lnTo>
                    <a:pt x="26" y="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0" name="Freeform 60"/>
            <p:cNvSpPr>
              <a:spLocks/>
            </p:cNvSpPr>
            <p:nvPr/>
          </p:nvSpPr>
          <p:spPr bwMode="auto">
            <a:xfrm>
              <a:off x="1996" y="1337"/>
              <a:ext cx="32" cy="28"/>
            </a:xfrm>
            <a:custGeom>
              <a:avLst/>
              <a:gdLst>
                <a:gd name="T0" fmla="*/ 31 w 32"/>
                <a:gd name="T1" fmla="*/ 19 h 28"/>
                <a:gd name="T2" fmla="*/ 32 w 32"/>
                <a:gd name="T3" fmla="*/ 15 h 28"/>
                <a:gd name="T4" fmla="*/ 31 w 32"/>
                <a:gd name="T5" fmla="*/ 14 h 28"/>
                <a:gd name="T6" fmla="*/ 31 w 32"/>
                <a:gd name="T7" fmla="*/ 13 h 28"/>
                <a:gd name="T8" fmla="*/ 30 w 32"/>
                <a:gd name="T9" fmla="*/ 9 h 28"/>
                <a:gd name="T10" fmla="*/ 31 w 32"/>
                <a:gd name="T11" fmla="*/ 7 h 28"/>
                <a:gd name="T12" fmla="*/ 28 w 32"/>
                <a:gd name="T13" fmla="*/ 6 h 28"/>
                <a:gd name="T14" fmla="*/ 28 w 32"/>
                <a:gd name="T15" fmla="*/ 4 h 28"/>
                <a:gd name="T16" fmla="*/ 27 w 32"/>
                <a:gd name="T17" fmla="*/ 3 h 28"/>
                <a:gd name="T18" fmla="*/ 24 w 32"/>
                <a:gd name="T19" fmla="*/ 3 h 28"/>
                <a:gd name="T20" fmla="*/ 23 w 32"/>
                <a:gd name="T21" fmla="*/ 2 h 28"/>
                <a:gd name="T22" fmla="*/ 22 w 32"/>
                <a:gd name="T23" fmla="*/ 2 h 28"/>
                <a:gd name="T24" fmla="*/ 20 w 32"/>
                <a:gd name="T25" fmla="*/ 0 h 28"/>
                <a:gd name="T26" fmla="*/ 16 w 32"/>
                <a:gd name="T27" fmla="*/ 0 h 28"/>
                <a:gd name="T28" fmla="*/ 15 w 32"/>
                <a:gd name="T29" fmla="*/ 2 h 28"/>
                <a:gd name="T30" fmla="*/ 13 w 32"/>
                <a:gd name="T31" fmla="*/ 2 h 28"/>
                <a:gd name="T32" fmla="*/ 13 w 32"/>
                <a:gd name="T33" fmla="*/ 2 h 28"/>
                <a:gd name="T34" fmla="*/ 11 w 32"/>
                <a:gd name="T35" fmla="*/ 3 h 28"/>
                <a:gd name="T36" fmla="*/ 9 w 32"/>
                <a:gd name="T37" fmla="*/ 4 h 28"/>
                <a:gd name="T38" fmla="*/ 8 w 32"/>
                <a:gd name="T39" fmla="*/ 3 h 28"/>
                <a:gd name="T40" fmla="*/ 7 w 32"/>
                <a:gd name="T41" fmla="*/ 3 h 28"/>
                <a:gd name="T42" fmla="*/ 5 w 32"/>
                <a:gd name="T43" fmla="*/ 2 h 28"/>
                <a:gd name="T44" fmla="*/ 4 w 32"/>
                <a:gd name="T45" fmla="*/ 0 h 28"/>
                <a:gd name="T46" fmla="*/ 1 w 32"/>
                <a:gd name="T47" fmla="*/ 2 h 28"/>
                <a:gd name="T48" fmla="*/ 0 w 32"/>
                <a:gd name="T49" fmla="*/ 6 h 28"/>
                <a:gd name="T50" fmla="*/ 1 w 32"/>
                <a:gd name="T51" fmla="*/ 6 h 28"/>
                <a:gd name="T52" fmla="*/ 2 w 32"/>
                <a:gd name="T53" fmla="*/ 10 h 28"/>
                <a:gd name="T54" fmla="*/ 5 w 32"/>
                <a:gd name="T55" fmla="*/ 11 h 28"/>
                <a:gd name="T56" fmla="*/ 5 w 32"/>
                <a:gd name="T57" fmla="*/ 13 h 28"/>
                <a:gd name="T58" fmla="*/ 8 w 32"/>
                <a:gd name="T59" fmla="*/ 15 h 28"/>
                <a:gd name="T60" fmla="*/ 9 w 32"/>
                <a:gd name="T61" fmla="*/ 15 h 28"/>
                <a:gd name="T62" fmla="*/ 11 w 32"/>
                <a:gd name="T63" fmla="*/ 17 h 28"/>
                <a:gd name="T64" fmla="*/ 13 w 32"/>
                <a:gd name="T65" fmla="*/ 18 h 28"/>
                <a:gd name="T66" fmla="*/ 13 w 32"/>
                <a:gd name="T67" fmla="*/ 21 h 28"/>
                <a:gd name="T68" fmla="*/ 16 w 32"/>
                <a:gd name="T69" fmla="*/ 22 h 28"/>
                <a:gd name="T70" fmla="*/ 16 w 32"/>
                <a:gd name="T71" fmla="*/ 21 h 28"/>
                <a:gd name="T72" fmla="*/ 19 w 32"/>
                <a:gd name="T73" fmla="*/ 21 h 28"/>
                <a:gd name="T74" fmla="*/ 19 w 32"/>
                <a:gd name="T75" fmla="*/ 22 h 28"/>
                <a:gd name="T76" fmla="*/ 20 w 32"/>
                <a:gd name="T77" fmla="*/ 24 h 28"/>
                <a:gd name="T78" fmla="*/ 23 w 32"/>
                <a:gd name="T79" fmla="*/ 26 h 28"/>
                <a:gd name="T80" fmla="*/ 26 w 32"/>
                <a:gd name="T81" fmla="*/ 26 h 28"/>
                <a:gd name="T82" fmla="*/ 28 w 32"/>
                <a:gd name="T83" fmla="*/ 28 h 28"/>
                <a:gd name="T84" fmla="*/ 28 w 32"/>
                <a:gd name="T85" fmla="*/ 28 h 28"/>
                <a:gd name="T86" fmla="*/ 31 w 32"/>
                <a:gd name="T87" fmla="*/ 28 h 28"/>
                <a:gd name="T88" fmla="*/ 31 w 32"/>
                <a:gd name="T89" fmla="*/ 26 h 28"/>
                <a:gd name="T90" fmla="*/ 30 w 32"/>
                <a:gd name="T91" fmla="*/ 25 h 28"/>
                <a:gd name="T92" fmla="*/ 30 w 32"/>
                <a:gd name="T93" fmla="*/ 24 h 28"/>
                <a:gd name="T94" fmla="*/ 28 w 32"/>
                <a:gd name="T95" fmla="*/ 22 h 28"/>
                <a:gd name="T96" fmla="*/ 30 w 32"/>
                <a:gd name="T97" fmla="*/ 21 h 28"/>
                <a:gd name="T98" fmla="*/ 31 w 32"/>
                <a:gd name="T99" fmla="*/ 19 h 28"/>
                <a:gd name="T100" fmla="*/ 31 w 32"/>
                <a:gd name="T10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2" h="28">
                  <a:moveTo>
                    <a:pt x="31" y="19"/>
                  </a:moveTo>
                  <a:lnTo>
                    <a:pt x="32" y="15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0" y="9"/>
                  </a:lnTo>
                  <a:lnTo>
                    <a:pt x="31" y="7"/>
                  </a:lnTo>
                  <a:lnTo>
                    <a:pt x="28" y="6"/>
                  </a:lnTo>
                  <a:lnTo>
                    <a:pt x="28" y="4"/>
                  </a:lnTo>
                  <a:lnTo>
                    <a:pt x="27" y="3"/>
                  </a:lnTo>
                  <a:lnTo>
                    <a:pt x="24" y="3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1" y="3"/>
                  </a:lnTo>
                  <a:lnTo>
                    <a:pt x="9" y="4"/>
                  </a:lnTo>
                  <a:lnTo>
                    <a:pt x="8" y="3"/>
                  </a:lnTo>
                  <a:lnTo>
                    <a:pt x="7" y="3"/>
                  </a:lnTo>
                  <a:lnTo>
                    <a:pt x="5" y="2"/>
                  </a:lnTo>
                  <a:lnTo>
                    <a:pt x="4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1" y="6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11" y="17"/>
                  </a:lnTo>
                  <a:lnTo>
                    <a:pt x="13" y="18"/>
                  </a:lnTo>
                  <a:lnTo>
                    <a:pt x="13" y="21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20" y="24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1" y="28"/>
                  </a:lnTo>
                  <a:lnTo>
                    <a:pt x="31" y="26"/>
                  </a:lnTo>
                  <a:lnTo>
                    <a:pt x="30" y="25"/>
                  </a:lnTo>
                  <a:lnTo>
                    <a:pt x="30" y="24"/>
                  </a:lnTo>
                  <a:lnTo>
                    <a:pt x="28" y="22"/>
                  </a:lnTo>
                  <a:lnTo>
                    <a:pt x="30" y="21"/>
                  </a:lnTo>
                  <a:lnTo>
                    <a:pt x="31" y="19"/>
                  </a:lnTo>
                  <a:lnTo>
                    <a:pt x="31" y="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1" name="Freeform 61"/>
            <p:cNvSpPr>
              <a:spLocks/>
            </p:cNvSpPr>
            <p:nvPr/>
          </p:nvSpPr>
          <p:spPr bwMode="auto">
            <a:xfrm>
              <a:off x="2024" y="1356"/>
              <a:ext cx="8" cy="11"/>
            </a:xfrm>
            <a:custGeom>
              <a:avLst/>
              <a:gdLst>
                <a:gd name="T0" fmla="*/ 3 w 8"/>
                <a:gd name="T1" fmla="*/ 9 h 11"/>
                <a:gd name="T2" fmla="*/ 3 w 8"/>
                <a:gd name="T3" fmla="*/ 7 h 11"/>
                <a:gd name="T4" fmla="*/ 2 w 8"/>
                <a:gd name="T5" fmla="*/ 6 h 11"/>
                <a:gd name="T6" fmla="*/ 2 w 8"/>
                <a:gd name="T7" fmla="*/ 5 h 11"/>
                <a:gd name="T8" fmla="*/ 0 w 8"/>
                <a:gd name="T9" fmla="*/ 3 h 11"/>
                <a:gd name="T10" fmla="*/ 2 w 8"/>
                <a:gd name="T11" fmla="*/ 2 h 11"/>
                <a:gd name="T12" fmla="*/ 3 w 8"/>
                <a:gd name="T13" fmla="*/ 0 h 11"/>
                <a:gd name="T14" fmla="*/ 4 w 8"/>
                <a:gd name="T15" fmla="*/ 0 h 11"/>
                <a:gd name="T16" fmla="*/ 7 w 8"/>
                <a:gd name="T17" fmla="*/ 3 h 11"/>
                <a:gd name="T18" fmla="*/ 7 w 8"/>
                <a:gd name="T19" fmla="*/ 6 h 11"/>
                <a:gd name="T20" fmla="*/ 8 w 8"/>
                <a:gd name="T21" fmla="*/ 7 h 11"/>
                <a:gd name="T22" fmla="*/ 8 w 8"/>
                <a:gd name="T23" fmla="*/ 11 h 11"/>
                <a:gd name="T24" fmla="*/ 7 w 8"/>
                <a:gd name="T25" fmla="*/ 11 h 11"/>
                <a:gd name="T26" fmla="*/ 4 w 8"/>
                <a:gd name="T27" fmla="*/ 10 h 11"/>
                <a:gd name="T28" fmla="*/ 3 w 8"/>
                <a:gd name="T29" fmla="*/ 9 h 11"/>
                <a:gd name="T30" fmla="*/ 3 w 8"/>
                <a:gd name="T3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1">
                  <a:moveTo>
                    <a:pt x="3" y="9"/>
                  </a:moveTo>
                  <a:lnTo>
                    <a:pt x="3" y="7"/>
                  </a:lnTo>
                  <a:lnTo>
                    <a:pt x="2" y="6"/>
                  </a:lnTo>
                  <a:lnTo>
                    <a:pt x="2" y="5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0"/>
                  </a:lnTo>
                  <a:lnTo>
                    <a:pt x="4" y="0"/>
                  </a:lnTo>
                  <a:lnTo>
                    <a:pt x="7" y="3"/>
                  </a:lnTo>
                  <a:lnTo>
                    <a:pt x="7" y="6"/>
                  </a:lnTo>
                  <a:lnTo>
                    <a:pt x="8" y="7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4" y="10"/>
                  </a:lnTo>
                  <a:lnTo>
                    <a:pt x="3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2" name="Freeform 62"/>
            <p:cNvSpPr>
              <a:spLocks/>
            </p:cNvSpPr>
            <p:nvPr/>
          </p:nvSpPr>
          <p:spPr bwMode="auto">
            <a:xfrm>
              <a:off x="1857" y="1272"/>
              <a:ext cx="48" cy="63"/>
            </a:xfrm>
            <a:custGeom>
              <a:avLst/>
              <a:gdLst>
                <a:gd name="T0" fmla="*/ 20 w 48"/>
                <a:gd name="T1" fmla="*/ 61 h 63"/>
                <a:gd name="T2" fmla="*/ 25 w 48"/>
                <a:gd name="T3" fmla="*/ 57 h 63"/>
                <a:gd name="T4" fmla="*/ 29 w 48"/>
                <a:gd name="T5" fmla="*/ 56 h 63"/>
                <a:gd name="T6" fmla="*/ 37 w 48"/>
                <a:gd name="T7" fmla="*/ 53 h 63"/>
                <a:gd name="T8" fmla="*/ 40 w 48"/>
                <a:gd name="T9" fmla="*/ 52 h 63"/>
                <a:gd name="T10" fmla="*/ 42 w 48"/>
                <a:gd name="T11" fmla="*/ 49 h 63"/>
                <a:gd name="T12" fmla="*/ 45 w 48"/>
                <a:gd name="T13" fmla="*/ 45 h 63"/>
                <a:gd name="T14" fmla="*/ 46 w 48"/>
                <a:gd name="T15" fmla="*/ 35 h 63"/>
                <a:gd name="T16" fmla="*/ 48 w 48"/>
                <a:gd name="T17" fmla="*/ 30 h 63"/>
                <a:gd name="T18" fmla="*/ 45 w 48"/>
                <a:gd name="T19" fmla="*/ 25 h 63"/>
                <a:gd name="T20" fmla="*/ 44 w 48"/>
                <a:gd name="T21" fmla="*/ 22 h 63"/>
                <a:gd name="T22" fmla="*/ 37 w 48"/>
                <a:gd name="T23" fmla="*/ 15 h 63"/>
                <a:gd name="T24" fmla="*/ 33 w 48"/>
                <a:gd name="T25" fmla="*/ 21 h 63"/>
                <a:gd name="T26" fmla="*/ 33 w 48"/>
                <a:gd name="T27" fmla="*/ 10 h 63"/>
                <a:gd name="T28" fmla="*/ 37 w 48"/>
                <a:gd name="T29" fmla="*/ 6 h 63"/>
                <a:gd name="T30" fmla="*/ 40 w 48"/>
                <a:gd name="T31" fmla="*/ 3 h 63"/>
                <a:gd name="T32" fmla="*/ 37 w 48"/>
                <a:gd name="T33" fmla="*/ 2 h 63"/>
                <a:gd name="T34" fmla="*/ 33 w 48"/>
                <a:gd name="T35" fmla="*/ 7 h 63"/>
                <a:gd name="T36" fmla="*/ 33 w 48"/>
                <a:gd name="T37" fmla="*/ 2 h 63"/>
                <a:gd name="T38" fmla="*/ 30 w 48"/>
                <a:gd name="T39" fmla="*/ 4 h 63"/>
                <a:gd name="T40" fmla="*/ 26 w 48"/>
                <a:gd name="T41" fmla="*/ 6 h 63"/>
                <a:gd name="T42" fmla="*/ 26 w 48"/>
                <a:gd name="T43" fmla="*/ 8 h 63"/>
                <a:gd name="T44" fmla="*/ 25 w 48"/>
                <a:gd name="T45" fmla="*/ 10 h 63"/>
                <a:gd name="T46" fmla="*/ 25 w 48"/>
                <a:gd name="T47" fmla="*/ 12 h 63"/>
                <a:gd name="T48" fmla="*/ 27 w 48"/>
                <a:gd name="T49" fmla="*/ 12 h 63"/>
                <a:gd name="T50" fmla="*/ 23 w 48"/>
                <a:gd name="T51" fmla="*/ 18 h 63"/>
                <a:gd name="T52" fmla="*/ 16 w 48"/>
                <a:gd name="T53" fmla="*/ 19 h 63"/>
                <a:gd name="T54" fmla="*/ 11 w 48"/>
                <a:gd name="T55" fmla="*/ 16 h 63"/>
                <a:gd name="T56" fmla="*/ 8 w 48"/>
                <a:gd name="T57" fmla="*/ 18 h 63"/>
                <a:gd name="T58" fmla="*/ 10 w 48"/>
                <a:gd name="T59" fmla="*/ 22 h 63"/>
                <a:gd name="T60" fmla="*/ 6 w 48"/>
                <a:gd name="T61" fmla="*/ 21 h 63"/>
                <a:gd name="T62" fmla="*/ 12 w 48"/>
                <a:gd name="T63" fmla="*/ 25 h 63"/>
                <a:gd name="T64" fmla="*/ 10 w 48"/>
                <a:gd name="T65" fmla="*/ 27 h 63"/>
                <a:gd name="T66" fmla="*/ 6 w 48"/>
                <a:gd name="T67" fmla="*/ 30 h 63"/>
                <a:gd name="T68" fmla="*/ 8 w 48"/>
                <a:gd name="T69" fmla="*/ 31 h 63"/>
                <a:gd name="T70" fmla="*/ 18 w 48"/>
                <a:gd name="T71" fmla="*/ 34 h 63"/>
                <a:gd name="T72" fmla="*/ 12 w 48"/>
                <a:gd name="T73" fmla="*/ 40 h 63"/>
                <a:gd name="T74" fmla="*/ 7 w 48"/>
                <a:gd name="T75" fmla="*/ 45 h 63"/>
                <a:gd name="T76" fmla="*/ 12 w 48"/>
                <a:gd name="T77" fmla="*/ 44 h 63"/>
                <a:gd name="T78" fmla="*/ 18 w 48"/>
                <a:gd name="T79" fmla="*/ 44 h 63"/>
                <a:gd name="T80" fmla="*/ 11 w 48"/>
                <a:gd name="T81" fmla="*/ 45 h 63"/>
                <a:gd name="T82" fmla="*/ 8 w 48"/>
                <a:gd name="T83" fmla="*/ 48 h 63"/>
                <a:gd name="T84" fmla="*/ 7 w 48"/>
                <a:gd name="T85" fmla="*/ 50 h 63"/>
                <a:gd name="T86" fmla="*/ 4 w 48"/>
                <a:gd name="T87" fmla="*/ 49 h 63"/>
                <a:gd name="T88" fmla="*/ 8 w 48"/>
                <a:gd name="T89" fmla="*/ 50 h 63"/>
                <a:gd name="T90" fmla="*/ 1 w 48"/>
                <a:gd name="T91" fmla="*/ 56 h 63"/>
                <a:gd name="T92" fmla="*/ 10 w 48"/>
                <a:gd name="T93" fmla="*/ 56 h 63"/>
                <a:gd name="T94" fmla="*/ 7 w 48"/>
                <a:gd name="T95" fmla="*/ 60 h 63"/>
                <a:gd name="T96" fmla="*/ 7 w 48"/>
                <a:gd name="T97" fmla="*/ 61 h 63"/>
                <a:gd name="T98" fmla="*/ 11 w 48"/>
                <a:gd name="T99" fmla="*/ 6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8" h="63">
                  <a:moveTo>
                    <a:pt x="12" y="63"/>
                  </a:moveTo>
                  <a:lnTo>
                    <a:pt x="16" y="61"/>
                  </a:lnTo>
                  <a:lnTo>
                    <a:pt x="20" y="61"/>
                  </a:lnTo>
                  <a:lnTo>
                    <a:pt x="23" y="59"/>
                  </a:lnTo>
                  <a:lnTo>
                    <a:pt x="22" y="56"/>
                  </a:lnTo>
                  <a:lnTo>
                    <a:pt x="25" y="57"/>
                  </a:lnTo>
                  <a:lnTo>
                    <a:pt x="23" y="59"/>
                  </a:lnTo>
                  <a:lnTo>
                    <a:pt x="26" y="59"/>
                  </a:lnTo>
                  <a:lnTo>
                    <a:pt x="29" y="56"/>
                  </a:lnTo>
                  <a:lnTo>
                    <a:pt x="30" y="56"/>
                  </a:lnTo>
                  <a:lnTo>
                    <a:pt x="30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8" y="53"/>
                  </a:lnTo>
                  <a:lnTo>
                    <a:pt x="40" y="52"/>
                  </a:lnTo>
                  <a:lnTo>
                    <a:pt x="41" y="52"/>
                  </a:lnTo>
                  <a:lnTo>
                    <a:pt x="45" y="52"/>
                  </a:lnTo>
                  <a:lnTo>
                    <a:pt x="42" y="49"/>
                  </a:lnTo>
                  <a:lnTo>
                    <a:pt x="44" y="49"/>
                  </a:lnTo>
                  <a:lnTo>
                    <a:pt x="46" y="46"/>
                  </a:lnTo>
                  <a:lnTo>
                    <a:pt x="45" y="45"/>
                  </a:lnTo>
                  <a:lnTo>
                    <a:pt x="48" y="42"/>
                  </a:lnTo>
                  <a:lnTo>
                    <a:pt x="48" y="40"/>
                  </a:lnTo>
                  <a:lnTo>
                    <a:pt x="46" y="35"/>
                  </a:lnTo>
                  <a:lnTo>
                    <a:pt x="45" y="34"/>
                  </a:lnTo>
                  <a:lnTo>
                    <a:pt x="48" y="33"/>
                  </a:lnTo>
                  <a:lnTo>
                    <a:pt x="48" y="30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5" y="25"/>
                  </a:lnTo>
                  <a:lnTo>
                    <a:pt x="45" y="23"/>
                  </a:lnTo>
                  <a:lnTo>
                    <a:pt x="46" y="23"/>
                  </a:lnTo>
                  <a:lnTo>
                    <a:pt x="44" y="22"/>
                  </a:lnTo>
                  <a:lnTo>
                    <a:pt x="42" y="22"/>
                  </a:lnTo>
                  <a:lnTo>
                    <a:pt x="41" y="16"/>
                  </a:lnTo>
                  <a:lnTo>
                    <a:pt x="37" y="15"/>
                  </a:lnTo>
                  <a:lnTo>
                    <a:pt x="35" y="16"/>
                  </a:lnTo>
                  <a:lnTo>
                    <a:pt x="35" y="19"/>
                  </a:lnTo>
                  <a:lnTo>
                    <a:pt x="33" y="21"/>
                  </a:lnTo>
                  <a:lnTo>
                    <a:pt x="29" y="15"/>
                  </a:lnTo>
                  <a:lnTo>
                    <a:pt x="31" y="10"/>
                  </a:lnTo>
                  <a:lnTo>
                    <a:pt x="33" y="10"/>
                  </a:lnTo>
                  <a:lnTo>
                    <a:pt x="34" y="8"/>
                  </a:lnTo>
                  <a:lnTo>
                    <a:pt x="35" y="7"/>
                  </a:lnTo>
                  <a:lnTo>
                    <a:pt x="37" y="6"/>
                  </a:lnTo>
                  <a:lnTo>
                    <a:pt x="35" y="6"/>
                  </a:lnTo>
                  <a:lnTo>
                    <a:pt x="38" y="4"/>
                  </a:lnTo>
                  <a:lnTo>
                    <a:pt x="40" y="3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37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4" y="4"/>
                  </a:lnTo>
                  <a:lnTo>
                    <a:pt x="33" y="2"/>
                  </a:lnTo>
                  <a:lnTo>
                    <a:pt x="31" y="3"/>
                  </a:lnTo>
                  <a:lnTo>
                    <a:pt x="33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6" y="15"/>
                  </a:lnTo>
                  <a:lnTo>
                    <a:pt x="22" y="16"/>
                  </a:lnTo>
                  <a:lnTo>
                    <a:pt x="23" y="18"/>
                  </a:lnTo>
                  <a:lnTo>
                    <a:pt x="20" y="18"/>
                  </a:lnTo>
                  <a:lnTo>
                    <a:pt x="18" y="16"/>
                  </a:lnTo>
                  <a:lnTo>
                    <a:pt x="16" y="19"/>
                  </a:lnTo>
                  <a:lnTo>
                    <a:pt x="16" y="16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7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10" y="21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6"/>
                  </a:lnTo>
                  <a:lnTo>
                    <a:pt x="10" y="27"/>
                  </a:lnTo>
                  <a:lnTo>
                    <a:pt x="7" y="27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8" y="31"/>
                  </a:lnTo>
                  <a:lnTo>
                    <a:pt x="10" y="30"/>
                  </a:lnTo>
                  <a:lnTo>
                    <a:pt x="8" y="31"/>
                  </a:lnTo>
                  <a:lnTo>
                    <a:pt x="11" y="31"/>
                  </a:lnTo>
                  <a:lnTo>
                    <a:pt x="12" y="34"/>
                  </a:lnTo>
                  <a:lnTo>
                    <a:pt x="18" y="34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1" y="42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5" y="44"/>
                  </a:lnTo>
                  <a:lnTo>
                    <a:pt x="16" y="42"/>
                  </a:lnTo>
                  <a:lnTo>
                    <a:pt x="18" y="44"/>
                  </a:lnTo>
                  <a:lnTo>
                    <a:pt x="19" y="44"/>
                  </a:lnTo>
                  <a:lnTo>
                    <a:pt x="14" y="45"/>
                  </a:lnTo>
                  <a:lnTo>
                    <a:pt x="11" y="45"/>
                  </a:lnTo>
                  <a:lnTo>
                    <a:pt x="10" y="46"/>
                  </a:lnTo>
                  <a:lnTo>
                    <a:pt x="7" y="48"/>
                  </a:lnTo>
                  <a:lnTo>
                    <a:pt x="8" y="48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7" y="50"/>
                  </a:lnTo>
                  <a:lnTo>
                    <a:pt x="6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1" y="52"/>
                  </a:lnTo>
                  <a:lnTo>
                    <a:pt x="8" y="50"/>
                  </a:lnTo>
                  <a:lnTo>
                    <a:pt x="6" y="53"/>
                  </a:lnTo>
                  <a:lnTo>
                    <a:pt x="3" y="53"/>
                  </a:lnTo>
                  <a:lnTo>
                    <a:pt x="1" y="56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10" y="56"/>
                  </a:lnTo>
                  <a:lnTo>
                    <a:pt x="6" y="59"/>
                  </a:lnTo>
                  <a:lnTo>
                    <a:pt x="4" y="60"/>
                  </a:lnTo>
                  <a:lnTo>
                    <a:pt x="7" y="60"/>
                  </a:lnTo>
                  <a:lnTo>
                    <a:pt x="11" y="57"/>
                  </a:lnTo>
                  <a:lnTo>
                    <a:pt x="10" y="60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11" y="61"/>
                  </a:lnTo>
                  <a:lnTo>
                    <a:pt x="12" y="6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3" name="Freeform 63"/>
            <p:cNvSpPr>
              <a:spLocks noEditPoints="1"/>
            </p:cNvSpPr>
            <p:nvPr/>
          </p:nvSpPr>
          <p:spPr bwMode="auto">
            <a:xfrm>
              <a:off x="1886" y="1219"/>
              <a:ext cx="100" cy="143"/>
            </a:xfrm>
            <a:custGeom>
              <a:avLst/>
              <a:gdLst>
                <a:gd name="T0" fmla="*/ 4 w 100"/>
                <a:gd name="T1" fmla="*/ 74 h 143"/>
                <a:gd name="T2" fmla="*/ 11 w 100"/>
                <a:gd name="T3" fmla="*/ 57 h 143"/>
                <a:gd name="T4" fmla="*/ 24 w 100"/>
                <a:gd name="T5" fmla="*/ 65 h 143"/>
                <a:gd name="T6" fmla="*/ 21 w 100"/>
                <a:gd name="T7" fmla="*/ 72 h 143"/>
                <a:gd name="T8" fmla="*/ 28 w 100"/>
                <a:gd name="T9" fmla="*/ 142 h 143"/>
                <a:gd name="T10" fmla="*/ 36 w 100"/>
                <a:gd name="T11" fmla="*/ 136 h 143"/>
                <a:gd name="T12" fmla="*/ 46 w 100"/>
                <a:gd name="T13" fmla="*/ 136 h 143"/>
                <a:gd name="T14" fmla="*/ 57 w 100"/>
                <a:gd name="T15" fmla="*/ 132 h 143"/>
                <a:gd name="T16" fmla="*/ 72 w 100"/>
                <a:gd name="T17" fmla="*/ 128 h 143"/>
                <a:gd name="T18" fmla="*/ 85 w 100"/>
                <a:gd name="T19" fmla="*/ 128 h 143"/>
                <a:gd name="T20" fmla="*/ 96 w 100"/>
                <a:gd name="T21" fmla="*/ 122 h 143"/>
                <a:gd name="T22" fmla="*/ 89 w 100"/>
                <a:gd name="T23" fmla="*/ 118 h 143"/>
                <a:gd name="T24" fmla="*/ 91 w 100"/>
                <a:gd name="T25" fmla="*/ 116 h 143"/>
                <a:gd name="T26" fmla="*/ 96 w 100"/>
                <a:gd name="T27" fmla="*/ 109 h 143"/>
                <a:gd name="T28" fmla="*/ 99 w 100"/>
                <a:gd name="T29" fmla="*/ 106 h 143"/>
                <a:gd name="T30" fmla="*/ 85 w 100"/>
                <a:gd name="T31" fmla="*/ 94 h 143"/>
                <a:gd name="T32" fmla="*/ 79 w 100"/>
                <a:gd name="T33" fmla="*/ 82 h 143"/>
                <a:gd name="T34" fmla="*/ 77 w 100"/>
                <a:gd name="T35" fmla="*/ 80 h 143"/>
                <a:gd name="T36" fmla="*/ 79 w 100"/>
                <a:gd name="T37" fmla="*/ 74 h 143"/>
                <a:gd name="T38" fmla="*/ 66 w 100"/>
                <a:gd name="T39" fmla="*/ 64 h 143"/>
                <a:gd name="T40" fmla="*/ 54 w 100"/>
                <a:gd name="T41" fmla="*/ 44 h 143"/>
                <a:gd name="T42" fmla="*/ 43 w 100"/>
                <a:gd name="T43" fmla="*/ 42 h 143"/>
                <a:gd name="T44" fmla="*/ 50 w 100"/>
                <a:gd name="T45" fmla="*/ 37 h 143"/>
                <a:gd name="T46" fmla="*/ 55 w 100"/>
                <a:gd name="T47" fmla="*/ 30 h 143"/>
                <a:gd name="T48" fmla="*/ 57 w 100"/>
                <a:gd name="T49" fmla="*/ 15 h 143"/>
                <a:gd name="T50" fmla="*/ 43 w 100"/>
                <a:gd name="T51" fmla="*/ 16 h 143"/>
                <a:gd name="T52" fmla="*/ 40 w 100"/>
                <a:gd name="T53" fmla="*/ 15 h 143"/>
                <a:gd name="T54" fmla="*/ 47 w 100"/>
                <a:gd name="T55" fmla="*/ 3 h 143"/>
                <a:gd name="T56" fmla="*/ 36 w 100"/>
                <a:gd name="T57" fmla="*/ 3 h 143"/>
                <a:gd name="T58" fmla="*/ 30 w 100"/>
                <a:gd name="T59" fmla="*/ 3 h 143"/>
                <a:gd name="T60" fmla="*/ 25 w 100"/>
                <a:gd name="T61" fmla="*/ 10 h 143"/>
                <a:gd name="T62" fmla="*/ 24 w 100"/>
                <a:gd name="T63" fmla="*/ 15 h 143"/>
                <a:gd name="T64" fmla="*/ 23 w 100"/>
                <a:gd name="T65" fmla="*/ 18 h 143"/>
                <a:gd name="T66" fmla="*/ 25 w 100"/>
                <a:gd name="T67" fmla="*/ 23 h 143"/>
                <a:gd name="T68" fmla="*/ 24 w 100"/>
                <a:gd name="T69" fmla="*/ 27 h 143"/>
                <a:gd name="T70" fmla="*/ 19 w 100"/>
                <a:gd name="T71" fmla="*/ 31 h 143"/>
                <a:gd name="T72" fmla="*/ 24 w 100"/>
                <a:gd name="T73" fmla="*/ 35 h 143"/>
                <a:gd name="T74" fmla="*/ 25 w 100"/>
                <a:gd name="T75" fmla="*/ 40 h 143"/>
                <a:gd name="T76" fmla="*/ 21 w 100"/>
                <a:gd name="T77" fmla="*/ 55 h 143"/>
                <a:gd name="T78" fmla="*/ 27 w 100"/>
                <a:gd name="T79" fmla="*/ 44 h 143"/>
                <a:gd name="T80" fmla="*/ 31 w 100"/>
                <a:gd name="T81" fmla="*/ 44 h 143"/>
                <a:gd name="T82" fmla="*/ 32 w 100"/>
                <a:gd name="T83" fmla="*/ 50 h 143"/>
                <a:gd name="T84" fmla="*/ 30 w 100"/>
                <a:gd name="T85" fmla="*/ 63 h 143"/>
                <a:gd name="T86" fmla="*/ 40 w 100"/>
                <a:gd name="T87" fmla="*/ 63 h 143"/>
                <a:gd name="T88" fmla="*/ 47 w 100"/>
                <a:gd name="T89" fmla="*/ 75 h 143"/>
                <a:gd name="T90" fmla="*/ 50 w 100"/>
                <a:gd name="T91" fmla="*/ 86 h 143"/>
                <a:gd name="T92" fmla="*/ 50 w 100"/>
                <a:gd name="T93" fmla="*/ 88 h 143"/>
                <a:gd name="T94" fmla="*/ 32 w 100"/>
                <a:gd name="T95" fmla="*/ 97 h 143"/>
                <a:gd name="T96" fmla="*/ 39 w 100"/>
                <a:gd name="T97" fmla="*/ 101 h 143"/>
                <a:gd name="T98" fmla="*/ 25 w 100"/>
                <a:gd name="T99" fmla="*/ 112 h 143"/>
                <a:gd name="T100" fmla="*/ 34 w 100"/>
                <a:gd name="T101" fmla="*/ 114 h 143"/>
                <a:gd name="T102" fmla="*/ 42 w 100"/>
                <a:gd name="T103" fmla="*/ 116 h 143"/>
                <a:gd name="T104" fmla="*/ 57 w 100"/>
                <a:gd name="T105" fmla="*/ 114 h 143"/>
                <a:gd name="T106" fmla="*/ 38 w 100"/>
                <a:gd name="T107" fmla="*/ 122 h 143"/>
                <a:gd name="T108" fmla="*/ 28 w 100"/>
                <a:gd name="T109" fmla="*/ 136 h 143"/>
                <a:gd name="T110" fmla="*/ 23 w 100"/>
                <a:gd name="T111" fmla="*/ 14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" h="143">
                  <a:moveTo>
                    <a:pt x="17" y="76"/>
                  </a:moveTo>
                  <a:lnTo>
                    <a:pt x="15" y="75"/>
                  </a:lnTo>
                  <a:lnTo>
                    <a:pt x="13" y="75"/>
                  </a:lnTo>
                  <a:lnTo>
                    <a:pt x="12" y="69"/>
                  </a:lnTo>
                  <a:lnTo>
                    <a:pt x="8" y="68"/>
                  </a:lnTo>
                  <a:lnTo>
                    <a:pt x="6" y="69"/>
                  </a:lnTo>
                  <a:lnTo>
                    <a:pt x="6" y="72"/>
                  </a:lnTo>
                  <a:lnTo>
                    <a:pt x="4" y="74"/>
                  </a:lnTo>
                  <a:lnTo>
                    <a:pt x="0" y="68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5" y="61"/>
                  </a:lnTo>
                  <a:lnTo>
                    <a:pt x="6" y="60"/>
                  </a:lnTo>
                  <a:lnTo>
                    <a:pt x="8" y="59"/>
                  </a:lnTo>
                  <a:lnTo>
                    <a:pt x="9" y="59"/>
                  </a:lnTo>
                  <a:lnTo>
                    <a:pt x="11" y="57"/>
                  </a:lnTo>
                  <a:lnTo>
                    <a:pt x="12" y="57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9" y="57"/>
                  </a:lnTo>
                  <a:lnTo>
                    <a:pt x="20" y="60"/>
                  </a:lnTo>
                  <a:lnTo>
                    <a:pt x="23" y="64"/>
                  </a:lnTo>
                  <a:lnTo>
                    <a:pt x="21" y="65"/>
                  </a:lnTo>
                  <a:lnTo>
                    <a:pt x="24" y="65"/>
                  </a:lnTo>
                  <a:lnTo>
                    <a:pt x="25" y="71"/>
                  </a:lnTo>
                  <a:lnTo>
                    <a:pt x="24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3" y="69"/>
                  </a:lnTo>
                  <a:lnTo>
                    <a:pt x="24" y="71"/>
                  </a:lnTo>
                  <a:lnTo>
                    <a:pt x="24" y="72"/>
                  </a:lnTo>
                  <a:lnTo>
                    <a:pt x="21" y="72"/>
                  </a:lnTo>
                  <a:lnTo>
                    <a:pt x="21" y="74"/>
                  </a:lnTo>
                  <a:lnTo>
                    <a:pt x="19" y="75"/>
                  </a:lnTo>
                  <a:lnTo>
                    <a:pt x="17" y="75"/>
                  </a:lnTo>
                  <a:lnTo>
                    <a:pt x="19" y="76"/>
                  </a:lnTo>
                  <a:lnTo>
                    <a:pt x="17" y="76"/>
                  </a:lnTo>
                  <a:lnTo>
                    <a:pt x="17" y="76"/>
                  </a:lnTo>
                  <a:close/>
                  <a:moveTo>
                    <a:pt x="27" y="143"/>
                  </a:moveTo>
                  <a:lnTo>
                    <a:pt x="28" y="142"/>
                  </a:lnTo>
                  <a:lnTo>
                    <a:pt x="28" y="140"/>
                  </a:lnTo>
                  <a:lnTo>
                    <a:pt x="28" y="139"/>
                  </a:lnTo>
                  <a:lnTo>
                    <a:pt x="30" y="140"/>
                  </a:lnTo>
                  <a:lnTo>
                    <a:pt x="31" y="139"/>
                  </a:lnTo>
                  <a:lnTo>
                    <a:pt x="32" y="139"/>
                  </a:lnTo>
                  <a:lnTo>
                    <a:pt x="32" y="136"/>
                  </a:lnTo>
                  <a:lnTo>
                    <a:pt x="35" y="137"/>
                  </a:lnTo>
                  <a:lnTo>
                    <a:pt x="36" y="136"/>
                  </a:lnTo>
                  <a:lnTo>
                    <a:pt x="38" y="136"/>
                  </a:lnTo>
                  <a:lnTo>
                    <a:pt x="39" y="136"/>
                  </a:lnTo>
                  <a:lnTo>
                    <a:pt x="39" y="137"/>
                  </a:lnTo>
                  <a:lnTo>
                    <a:pt x="40" y="137"/>
                  </a:lnTo>
                  <a:lnTo>
                    <a:pt x="42" y="139"/>
                  </a:lnTo>
                  <a:lnTo>
                    <a:pt x="45" y="139"/>
                  </a:lnTo>
                  <a:lnTo>
                    <a:pt x="45" y="137"/>
                  </a:lnTo>
                  <a:lnTo>
                    <a:pt x="46" y="136"/>
                  </a:lnTo>
                  <a:lnTo>
                    <a:pt x="46" y="135"/>
                  </a:lnTo>
                  <a:lnTo>
                    <a:pt x="46" y="133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49" y="131"/>
                  </a:lnTo>
                  <a:lnTo>
                    <a:pt x="53" y="131"/>
                  </a:lnTo>
                  <a:lnTo>
                    <a:pt x="54" y="131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61" y="132"/>
                  </a:lnTo>
                  <a:lnTo>
                    <a:pt x="62" y="132"/>
                  </a:lnTo>
                  <a:lnTo>
                    <a:pt x="62" y="131"/>
                  </a:lnTo>
                  <a:lnTo>
                    <a:pt x="65" y="129"/>
                  </a:lnTo>
                  <a:lnTo>
                    <a:pt x="68" y="129"/>
                  </a:lnTo>
                  <a:lnTo>
                    <a:pt x="69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3" y="128"/>
                  </a:lnTo>
                  <a:lnTo>
                    <a:pt x="73" y="128"/>
                  </a:lnTo>
                  <a:lnTo>
                    <a:pt x="76" y="129"/>
                  </a:lnTo>
                  <a:lnTo>
                    <a:pt x="77" y="128"/>
                  </a:lnTo>
                  <a:lnTo>
                    <a:pt x="81" y="128"/>
                  </a:lnTo>
                  <a:lnTo>
                    <a:pt x="83" y="128"/>
                  </a:lnTo>
                  <a:lnTo>
                    <a:pt x="85" y="128"/>
                  </a:lnTo>
                  <a:lnTo>
                    <a:pt x="87" y="128"/>
                  </a:lnTo>
                  <a:lnTo>
                    <a:pt x="88" y="127"/>
                  </a:lnTo>
                  <a:lnTo>
                    <a:pt x="91" y="127"/>
                  </a:lnTo>
                  <a:lnTo>
                    <a:pt x="92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3" y="124"/>
                  </a:lnTo>
                  <a:lnTo>
                    <a:pt x="96" y="122"/>
                  </a:lnTo>
                  <a:lnTo>
                    <a:pt x="99" y="122"/>
                  </a:lnTo>
                  <a:lnTo>
                    <a:pt x="99" y="120"/>
                  </a:lnTo>
                  <a:lnTo>
                    <a:pt x="98" y="118"/>
                  </a:lnTo>
                  <a:lnTo>
                    <a:pt x="99" y="117"/>
                  </a:lnTo>
                  <a:lnTo>
                    <a:pt x="95" y="117"/>
                  </a:lnTo>
                  <a:lnTo>
                    <a:pt x="93" y="118"/>
                  </a:lnTo>
                  <a:lnTo>
                    <a:pt x="92" y="118"/>
                  </a:lnTo>
                  <a:lnTo>
                    <a:pt x="89" y="118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91" y="117"/>
                  </a:lnTo>
                  <a:lnTo>
                    <a:pt x="91" y="117"/>
                  </a:lnTo>
                  <a:lnTo>
                    <a:pt x="89" y="116"/>
                  </a:lnTo>
                  <a:lnTo>
                    <a:pt x="87" y="117"/>
                  </a:lnTo>
                  <a:lnTo>
                    <a:pt x="89" y="116"/>
                  </a:lnTo>
                  <a:lnTo>
                    <a:pt x="91" y="116"/>
                  </a:lnTo>
                  <a:lnTo>
                    <a:pt x="92" y="114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92" y="112"/>
                  </a:lnTo>
                  <a:lnTo>
                    <a:pt x="92" y="110"/>
                  </a:lnTo>
                  <a:lnTo>
                    <a:pt x="93" y="112"/>
                  </a:lnTo>
                  <a:lnTo>
                    <a:pt x="95" y="110"/>
                  </a:lnTo>
                  <a:lnTo>
                    <a:pt x="96" y="109"/>
                  </a:lnTo>
                  <a:lnTo>
                    <a:pt x="95" y="109"/>
                  </a:lnTo>
                  <a:lnTo>
                    <a:pt x="96" y="109"/>
                  </a:lnTo>
                  <a:lnTo>
                    <a:pt x="93" y="109"/>
                  </a:lnTo>
                  <a:lnTo>
                    <a:pt x="95" y="108"/>
                  </a:lnTo>
                  <a:lnTo>
                    <a:pt x="96" y="108"/>
                  </a:lnTo>
                  <a:lnTo>
                    <a:pt x="96" y="109"/>
                  </a:lnTo>
                  <a:lnTo>
                    <a:pt x="98" y="106"/>
                  </a:lnTo>
                  <a:lnTo>
                    <a:pt x="99" y="106"/>
                  </a:lnTo>
                  <a:lnTo>
                    <a:pt x="99" y="102"/>
                  </a:lnTo>
                  <a:lnTo>
                    <a:pt x="100" y="99"/>
                  </a:lnTo>
                  <a:lnTo>
                    <a:pt x="99" y="98"/>
                  </a:lnTo>
                  <a:lnTo>
                    <a:pt x="99" y="95"/>
                  </a:lnTo>
                  <a:lnTo>
                    <a:pt x="95" y="93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4"/>
                  </a:lnTo>
                  <a:lnTo>
                    <a:pt x="85" y="97"/>
                  </a:lnTo>
                  <a:lnTo>
                    <a:pt x="84" y="94"/>
                  </a:lnTo>
                  <a:lnTo>
                    <a:pt x="81" y="94"/>
                  </a:lnTo>
                  <a:lnTo>
                    <a:pt x="84" y="90"/>
                  </a:lnTo>
                  <a:lnTo>
                    <a:pt x="84" y="88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79" y="82"/>
                  </a:lnTo>
                  <a:lnTo>
                    <a:pt x="77" y="80"/>
                  </a:lnTo>
                  <a:lnTo>
                    <a:pt x="76" y="80"/>
                  </a:lnTo>
                  <a:lnTo>
                    <a:pt x="76" y="82"/>
                  </a:lnTo>
                  <a:lnTo>
                    <a:pt x="74" y="80"/>
                  </a:lnTo>
                  <a:lnTo>
                    <a:pt x="73" y="80"/>
                  </a:lnTo>
                  <a:lnTo>
                    <a:pt x="74" y="80"/>
                  </a:lnTo>
                  <a:lnTo>
                    <a:pt x="76" y="80"/>
                  </a:lnTo>
                  <a:lnTo>
                    <a:pt x="77" y="80"/>
                  </a:lnTo>
                  <a:lnTo>
                    <a:pt x="79" y="80"/>
                  </a:lnTo>
                  <a:lnTo>
                    <a:pt x="80" y="82"/>
                  </a:lnTo>
                  <a:lnTo>
                    <a:pt x="81" y="82"/>
                  </a:lnTo>
                  <a:lnTo>
                    <a:pt x="81" y="82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7" y="74"/>
                  </a:lnTo>
                  <a:lnTo>
                    <a:pt x="77" y="72"/>
                  </a:lnTo>
                  <a:lnTo>
                    <a:pt x="76" y="72"/>
                  </a:lnTo>
                  <a:lnTo>
                    <a:pt x="74" y="68"/>
                  </a:lnTo>
                  <a:lnTo>
                    <a:pt x="72" y="67"/>
                  </a:lnTo>
                  <a:lnTo>
                    <a:pt x="68" y="67"/>
                  </a:lnTo>
                  <a:lnTo>
                    <a:pt x="68" y="64"/>
                  </a:lnTo>
                  <a:lnTo>
                    <a:pt x="66" y="64"/>
                  </a:lnTo>
                  <a:lnTo>
                    <a:pt x="65" y="60"/>
                  </a:lnTo>
                  <a:lnTo>
                    <a:pt x="64" y="57"/>
                  </a:lnTo>
                  <a:lnTo>
                    <a:pt x="64" y="52"/>
                  </a:lnTo>
                  <a:lnTo>
                    <a:pt x="62" y="50"/>
                  </a:lnTo>
                  <a:lnTo>
                    <a:pt x="61" y="50"/>
                  </a:lnTo>
                  <a:lnTo>
                    <a:pt x="57" y="45"/>
                  </a:lnTo>
                  <a:lnTo>
                    <a:pt x="55" y="45"/>
                  </a:lnTo>
                  <a:lnTo>
                    <a:pt x="54" y="44"/>
                  </a:lnTo>
                  <a:lnTo>
                    <a:pt x="51" y="42"/>
                  </a:lnTo>
                  <a:lnTo>
                    <a:pt x="50" y="44"/>
                  </a:lnTo>
                  <a:lnTo>
                    <a:pt x="49" y="45"/>
                  </a:lnTo>
                  <a:lnTo>
                    <a:pt x="46" y="44"/>
                  </a:lnTo>
                  <a:lnTo>
                    <a:pt x="45" y="44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6" y="44"/>
                  </a:lnTo>
                  <a:lnTo>
                    <a:pt x="47" y="42"/>
                  </a:lnTo>
                  <a:lnTo>
                    <a:pt x="49" y="41"/>
                  </a:lnTo>
                  <a:lnTo>
                    <a:pt x="51" y="41"/>
                  </a:lnTo>
                  <a:lnTo>
                    <a:pt x="53" y="40"/>
                  </a:lnTo>
                  <a:lnTo>
                    <a:pt x="51" y="38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47" y="38"/>
                  </a:lnTo>
                  <a:lnTo>
                    <a:pt x="46" y="37"/>
                  </a:lnTo>
                  <a:lnTo>
                    <a:pt x="49" y="35"/>
                  </a:lnTo>
                  <a:lnTo>
                    <a:pt x="51" y="35"/>
                  </a:lnTo>
                  <a:lnTo>
                    <a:pt x="53" y="34"/>
                  </a:lnTo>
                  <a:lnTo>
                    <a:pt x="53" y="33"/>
                  </a:lnTo>
                  <a:lnTo>
                    <a:pt x="54" y="33"/>
                  </a:lnTo>
                  <a:lnTo>
                    <a:pt x="55" y="30"/>
                  </a:lnTo>
                  <a:lnTo>
                    <a:pt x="57" y="29"/>
                  </a:lnTo>
                  <a:lnTo>
                    <a:pt x="57" y="27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8" y="22"/>
                  </a:lnTo>
                  <a:lnTo>
                    <a:pt x="59" y="21"/>
                  </a:lnTo>
                  <a:lnTo>
                    <a:pt x="59" y="18"/>
                  </a:lnTo>
                  <a:lnTo>
                    <a:pt x="57" y="15"/>
                  </a:lnTo>
                  <a:lnTo>
                    <a:pt x="57" y="16"/>
                  </a:lnTo>
                  <a:lnTo>
                    <a:pt x="53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2" y="16"/>
                  </a:lnTo>
                  <a:lnTo>
                    <a:pt x="40" y="18"/>
                  </a:lnTo>
                  <a:lnTo>
                    <a:pt x="39" y="18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9" y="16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38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45" y="8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5" y="1"/>
                  </a:lnTo>
                  <a:lnTo>
                    <a:pt x="43" y="1"/>
                  </a:lnTo>
                  <a:lnTo>
                    <a:pt x="40" y="1"/>
                  </a:lnTo>
                  <a:lnTo>
                    <a:pt x="39" y="1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1"/>
                  </a:lnTo>
                  <a:lnTo>
                    <a:pt x="32" y="4"/>
                  </a:lnTo>
                  <a:lnTo>
                    <a:pt x="32" y="1"/>
                  </a:lnTo>
                  <a:lnTo>
                    <a:pt x="31" y="1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28" y="7"/>
                  </a:lnTo>
                  <a:lnTo>
                    <a:pt x="27" y="7"/>
                  </a:lnTo>
                  <a:lnTo>
                    <a:pt x="28" y="8"/>
                  </a:lnTo>
                  <a:lnTo>
                    <a:pt x="27" y="10"/>
                  </a:lnTo>
                  <a:lnTo>
                    <a:pt x="25" y="10"/>
                  </a:lnTo>
                  <a:lnTo>
                    <a:pt x="28" y="12"/>
                  </a:lnTo>
                  <a:lnTo>
                    <a:pt x="30" y="14"/>
                  </a:lnTo>
                  <a:lnTo>
                    <a:pt x="27" y="12"/>
                  </a:lnTo>
                  <a:lnTo>
                    <a:pt x="25" y="1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3" y="12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4" y="19"/>
                  </a:lnTo>
                  <a:lnTo>
                    <a:pt x="23" y="18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5" y="21"/>
                  </a:lnTo>
                  <a:lnTo>
                    <a:pt x="24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4" y="35"/>
                  </a:lnTo>
                  <a:lnTo>
                    <a:pt x="28" y="30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5" y="35"/>
                  </a:lnTo>
                  <a:lnTo>
                    <a:pt x="25" y="37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4" y="42"/>
                  </a:lnTo>
                  <a:lnTo>
                    <a:pt x="24" y="45"/>
                  </a:lnTo>
                  <a:lnTo>
                    <a:pt x="23" y="46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3" y="49"/>
                  </a:lnTo>
                  <a:lnTo>
                    <a:pt x="23" y="53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4" y="55"/>
                  </a:lnTo>
                  <a:lnTo>
                    <a:pt x="24" y="53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7" y="48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30" y="40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8" y="46"/>
                  </a:lnTo>
                  <a:lnTo>
                    <a:pt x="28" y="45"/>
                  </a:lnTo>
                  <a:lnTo>
                    <a:pt x="30" y="44"/>
                  </a:lnTo>
                  <a:lnTo>
                    <a:pt x="30" y="45"/>
                  </a:lnTo>
                  <a:lnTo>
                    <a:pt x="31" y="44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1" y="44"/>
                  </a:lnTo>
                  <a:lnTo>
                    <a:pt x="34" y="45"/>
                  </a:lnTo>
                  <a:lnTo>
                    <a:pt x="32" y="44"/>
                  </a:lnTo>
                  <a:lnTo>
                    <a:pt x="31" y="48"/>
                  </a:lnTo>
                  <a:lnTo>
                    <a:pt x="31" y="49"/>
                  </a:lnTo>
                  <a:lnTo>
                    <a:pt x="32" y="50"/>
                  </a:lnTo>
                  <a:lnTo>
                    <a:pt x="34" y="52"/>
                  </a:lnTo>
                  <a:lnTo>
                    <a:pt x="32" y="55"/>
                  </a:lnTo>
                  <a:lnTo>
                    <a:pt x="30" y="59"/>
                  </a:lnTo>
                  <a:lnTo>
                    <a:pt x="30" y="61"/>
                  </a:lnTo>
                  <a:lnTo>
                    <a:pt x="28" y="60"/>
                  </a:lnTo>
                  <a:lnTo>
                    <a:pt x="28" y="63"/>
                  </a:lnTo>
                  <a:lnTo>
                    <a:pt x="31" y="65"/>
                  </a:lnTo>
                  <a:lnTo>
                    <a:pt x="30" y="63"/>
                  </a:lnTo>
                  <a:lnTo>
                    <a:pt x="32" y="63"/>
                  </a:lnTo>
                  <a:lnTo>
                    <a:pt x="36" y="65"/>
                  </a:lnTo>
                  <a:lnTo>
                    <a:pt x="36" y="63"/>
                  </a:lnTo>
                  <a:lnTo>
                    <a:pt x="34" y="61"/>
                  </a:lnTo>
                  <a:lnTo>
                    <a:pt x="35" y="61"/>
                  </a:lnTo>
                  <a:lnTo>
                    <a:pt x="39" y="64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3" y="63"/>
                  </a:lnTo>
                  <a:lnTo>
                    <a:pt x="43" y="60"/>
                  </a:lnTo>
                  <a:lnTo>
                    <a:pt x="50" y="60"/>
                  </a:lnTo>
                  <a:lnTo>
                    <a:pt x="46" y="61"/>
                  </a:lnTo>
                  <a:lnTo>
                    <a:pt x="43" y="68"/>
                  </a:lnTo>
                  <a:lnTo>
                    <a:pt x="46" y="74"/>
                  </a:lnTo>
                  <a:lnTo>
                    <a:pt x="47" y="72"/>
                  </a:lnTo>
                  <a:lnTo>
                    <a:pt x="47" y="75"/>
                  </a:lnTo>
                  <a:lnTo>
                    <a:pt x="50" y="72"/>
                  </a:lnTo>
                  <a:lnTo>
                    <a:pt x="51" y="74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0" y="78"/>
                  </a:lnTo>
                  <a:lnTo>
                    <a:pt x="50" y="82"/>
                  </a:lnTo>
                  <a:lnTo>
                    <a:pt x="49" y="84"/>
                  </a:lnTo>
                  <a:lnTo>
                    <a:pt x="50" y="86"/>
                  </a:lnTo>
                  <a:lnTo>
                    <a:pt x="51" y="87"/>
                  </a:lnTo>
                  <a:lnTo>
                    <a:pt x="53" y="87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0" y="86"/>
                  </a:lnTo>
                  <a:lnTo>
                    <a:pt x="49" y="87"/>
                  </a:lnTo>
                  <a:lnTo>
                    <a:pt x="49" y="88"/>
                  </a:lnTo>
                  <a:lnTo>
                    <a:pt x="50" y="88"/>
                  </a:lnTo>
                  <a:lnTo>
                    <a:pt x="49" y="88"/>
                  </a:lnTo>
                  <a:lnTo>
                    <a:pt x="47" y="87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38" y="90"/>
                  </a:lnTo>
                  <a:lnTo>
                    <a:pt x="36" y="93"/>
                  </a:lnTo>
                  <a:lnTo>
                    <a:pt x="34" y="95"/>
                  </a:lnTo>
                  <a:lnTo>
                    <a:pt x="32" y="97"/>
                  </a:lnTo>
                  <a:lnTo>
                    <a:pt x="34" y="97"/>
                  </a:lnTo>
                  <a:lnTo>
                    <a:pt x="35" y="97"/>
                  </a:lnTo>
                  <a:lnTo>
                    <a:pt x="35" y="95"/>
                  </a:lnTo>
                  <a:lnTo>
                    <a:pt x="39" y="94"/>
                  </a:lnTo>
                  <a:lnTo>
                    <a:pt x="39" y="97"/>
                  </a:lnTo>
                  <a:lnTo>
                    <a:pt x="40" y="98"/>
                  </a:lnTo>
                  <a:lnTo>
                    <a:pt x="38" y="99"/>
                  </a:lnTo>
                  <a:lnTo>
                    <a:pt x="39" y="101"/>
                  </a:lnTo>
                  <a:lnTo>
                    <a:pt x="40" y="101"/>
                  </a:lnTo>
                  <a:lnTo>
                    <a:pt x="38" y="106"/>
                  </a:lnTo>
                  <a:lnTo>
                    <a:pt x="35" y="106"/>
                  </a:lnTo>
                  <a:lnTo>
                    <a:pt x="34" y="108"/>
                  </a:lnTo>
                  <a:lnTo>
                    <a:pt x="32" y="108"/>
                  </a:lnTo>
                  <a:lnTo>
                    <a:pt x="31" y="109"/>
                  </a:lnTo>
                  <a:lnTo>
                    <a:pt x="28" y="109"/>
                  </a:lnTo>
                  <a:lnTo>
                    <a:pt x="25" y="112"/>
                  </a:lnTo>
                  <a:lnTo>
                    <a:pt x="28" y="112"/>
                  </a:lnTo>
                  <a:lnTo>
                    <a:pt x="28" y="113"/>
                  </a:lnTo>
                  <a:lnTo>
                    <a:pt x="27" y="114"/>
                  </a:lnTo>
                  <a:lnTo>
                    <a:pt x="30" y="114"/>
                  </a:lnTo>
                  <a:lnTo>
                    <a:pt x="28" y="114"/>
                  </a:lnTo>
                  <a:lnTo>
                    <a:pt x="30" y="116"/>
                  </a:lnTo>
                  <a:lnTo>
                    <a:pt x="31" y="116"/>
                  </a:lnTo>
                  <a:lnTo>
                    <a:pt x="34" y="114"/>
                  </a:lnTo>
                  <a:lnTo>
                    <a:pt x="36" y="113"/>
                  </a:lnTo>
                  <a:lnTo>
                    <a:pt x="36" y="114"/>
                  </a:lnTo>
                  <a:lnTo>
                    <a:pt x="39" y="114"/>
                  </a:lnTo>
                  <a:lnTo>
                    <a:pt x="38" y="116"/>
                  </a:lnTo>
                  <a:lnTo>
                    <a:pt x="36" y="117"/>
                  </a:lnTo>
                  <a:lnTo>
                    <a:pt x="40" y="117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3" y="117"/>
                  </a:lnTo>
                  <a:lnTo>
                    <a:pt x="45" y="120"/>
                  </a:lnTo>
                  <a:lnTo>
                    <a:pt x="49" y="120"/>
                  </a:lnTo>
                  <a:lnTo>
                    <a:pt x="50" y="117"/>
                  </a:lnTo>
                  <a:lnTo>
                    <a:pt x="51" y="117"/>
                  </a:lnTo>
                  <a:lnTo>
                    <a:pt x="54" y="116"/>
                  </a:lnTo>
                  <a:lnTo>
                    <a:pt x="55" y="114"/>
                  </a:lnTo>
                  <a:lnTo>
                    <a:pt x="57" y="114"/>
                  </a:lnTo>
                  <a:lnTo>
                    <a:pt x="54" y="117"/>
                  </a:lnTo>
                  <a:lnTo>
                    <a:pt x="51" y="120"/>
                  </a:lnTo>
                  <a:lnTo>
                    <a:pt x="51" y="122"/>
                  </a:lnTo>
                  <a:lnTo>
                    <a:pt x="49" y="122"/>
                  </a:lnTo>
                  <a:lnTo>
                    <a:pt x="47" y="124"/>
                  </a:lnTo>
                  <a:lnTo>
                    <a:pt x="46" y="122"/>
                  </a:lnTo>
                  <a:lnTo>
                    <a:pt x="40" y="121"/>
                  </a:lnTo>
                  <a:lnTo>
                    <a:pt x="38" y="122"/>
                  </a:lnTo>
                  <a:lnTo>
                    <a:pt x="38" y="124"/>
                  </a:lnTo>
                  <a:lnTo>
                    <a:pt x="36" y="125"/>
                  </a:lnTo>
                  <a:lnTo>
                    <a:pt x="35" y="125"/>
                  </a:lnTo>
                  <a:lnTo>
                    <a:pt x="34" y="129"/>
                  </a:lnTo>
                  <a:lnTo>
                    <a:pt x="32" y="132"/>
                  </a:lnTo>
                  <a:lnTo>
                    <a:pt x="31" y="133"/>
                  </a:lnTo>
                  <a:lnTo>
                    <a:pt x="30" y="133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7" y="136"/>
                  </a:lnTo>
                  <a:lnTo>
                    <a:pt x="24" y="139"/>
                  </a:lnTo>
                  <a:lnTo>
                    <a:pt x="23" y="139"/>
                  </a:lnTo>
                  <a:lnTo>
                    <a:pt x="21" y="140"/>
                  </a:lnTo>
                  <a:lnTo>
                    <a:pt x="21" y="142"/>
                  </a:lnTo>
                  <a:lnTo>
                    <a:pt x="23" y="142"/>
                  </a:lnTo>
                  <a:lnTo>
                    <a:pt x="23" y="140"/>
                  </a:lnTo>
                  <a:lnTo>
                    <a:pt x="25" y="140"/>
                  </a:lnTo>
                  <a:lnTo>
                    <a:pt x="27" y="14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4" name="Freeform 64"/>
            <p:cNvSpPr>
              <a:spLocks noEditPoints="1"/>
            </p:cNvSpPr>
            <p:nvPr/>
          </p:nvSpPr>
          <p:spPr bwMode="auto">
            <a:xfrm>
              <a:off x="1918" y="1343"/>
              <a:ext cx="153" cy="141"/>
            </a:xfrm>
            <a:custGeom>
              <a:avLst/>
              <a:gdLst>
                <a:gd name="T0" fmla="*/ 120 w 153"/>
                <a:gd name="T1" fmla="*/ 69 h 141"/>
                <a:gd name="T2" fmla="*/ 110 w 153"/>
                <a:gd name="T3" fmla="*/ 73 h 141"/>
                <a:gd name="T4" fmla="*/ 113 w 153"/>
                <a:gd name="T5" fmla="*/ 65 h 141"/>
                <a:gd name="T6" fmla="*/ 123 w 153"/>
                <a:gd name="T7" fmla="*/ 54 h 141"/>
                <a:gd name="T8" fmla="*/ 127 w 153"/>
                <a:gd name="T9" fmla="*/ 53 h 141"/>
                <a:gd name="T10" fmla="*/ 128 w 153"/>
                <a:gd name="T11" fmla="*/ 41 h 141"/>
                <a:gd name="T12" fmla="*/ 132 w 153"/>
                <a:gd name="T13" fmla="*/ 28 h 141"/>
                <a:gd name="T14" fmla="*/ 121 w 153"/>
                <a:gd name="T15" fmla="*/ 28 h 141"/>
                <a:gd name="T16" fmla="*/ 113 w 153"/>
                <a:gd name="T17" fmla="*/ 24 h 141"/>
                <a:gd name="T18" fmla="*/ 104 w 153"/>
                <a:gd name="T19" fmla="*/ 20 h 141"/>
                <a:gd name="T20" fmla="*/ 94 w 153"/>
                <a:gd name="T21" fmla="*/ 15 h 141"/>
                <a:gd name="T22" fmla="*/ 87 w 153"/>
                <a:gd name="T23" fmla="*/ 9 h 141"/>
                <a:gd name="T24" fmla="*/ 79 w 153"/>
                <a:gd name="T25" fmla="*/ 0 h 141"/>
                <a:gd name="T26" fmla="*/ 70 w 153"/>
                <a:gd name="T27" fmla="*/ 3 h 141"/>
                <a:gd name="T28" fmla="*/ 66 w 153"/>
                <a:gd name="T29" fmla="*/ 16 h 141"/>
                <a:gd name="T30" fmla="*/ 52 w 153"/>
                <a:gd name="T31" fmla="*/ 22 h 141"/>
                <a:gd name="T32" fmla="*/ 44 w 153"/>
                <a:gd name="T33" fmla="*/ 26 h 141"/>
                <a:gd name="T34" fmla="*/ 38 w 153"/>
                <a:gd name="T35" fmla="*/ 20 h 141"/>
                <a:gd name="T36" fmla="*/ 32 w 153"/>
                <a:gd name="T37" fmla="*/ 23 h 141"/>
                <a:gd name="T38" fmla="*/ 34 w 153"/>
                <a:gd name="T39" fmla="*/ 32 h 141"/>
                <a:gd name="T40" fmla="*/ 29 w 153"/>
                <a:gd name="T41" fmla="*/ 35 h 141"/>
                <a:gd name="T42" fmla="*/ 18 w 153"/>
                <a:gd name="T43" fmla="*/ 32 h 141"/>
                <a:gd name="T44" fmla="*/ 10 w 153"/>
                <a:gd name="T45" fmla="*/ 35 h 141"/>
                <a:gd name="T46" fmla="*/ 2 w 153"/>
                <a:gd name="T47" fmla="*/ 41 h 141"/>
                <a:gd name="T48" fmla="*/ 2 w 153"/>
                <a:gd name="T49" fmla="*/ 41 h 141"/>
                <a:gd name="T50" fmla="*/ 4 w 153"/>
                <a:gd name="T51" fmla="*/ 43 h 141"/>
                <a:gd name="T52" fmla="*/ 4 w 153"/>
                <a:gd name="T53" fmla="*/ 49 h 141"/>
                <a:gd name="T54" fmla="*/ 15 w 153"/>
                <a:gd name="T55" fmla="*/ 50 h 141"/>
                <a:gd name="T56" fmla="*/ 21 w 153"/>
                <a:gd name="T57" fmla="*/ 51 h 141"/>
                <a:gd name="T58" fmla="*/ 25 w 153"/>
                <a:gd name="T59" fmla="*/ 57 h 141"/>
                <a:gd name="T60" fmla="*/ 32 w 153"/>
                <a:gd name="T61" fmla="*/ 57 h 141"/>
                <a:gd name="T62" fmla="*/ 27 w 153"/>
                <a:gd name="T63" fmla="*/ 64 h 141"/>
                <a:gd name="T64" fmla="*/ 38 w 153"/>
                <a:gd name="T65" fmla="*/ 71 h 141"/>
                <a:gd name="T66" fmla="*/ 38 w 153"/>
                <a:gd name="T67" fmla="*/ 79 h 141"/>
                <a:gd name="T68" fmla="*/ 42 w 153"/>
                <a:gd name="T69" fmla="*/ 83 h 141"/>
                <a:gd name="T70" fmla="*/ 40 w 153"/>
                <a:gd name="T71" fmla="*/ 94 h 141"/>
                <a:gd name="T72" fmla="*/ 34 w 153"/>
                <a:gd name="T73" fmla="*/ 113 h 141"/>
                <a:gd name="T74" fmla="*/ 40 w 153"/>
                <a:gd name="T75" fmla="*/ 118 h 141"/>
                <a:gd name="T76" fmla="*/ 55 w 153"/>
                <a:gd name="T77" fmla="*/ 124 h 141"/>
                <a:gd name="T78" fmla="*/ 70 w 153"/>
                <a:gd name="T79" fmla="*/ 122 h 141"/>
                <a:gd name="T80" fmla="*/ 83 w 153"/>
                <a:gd name="T81" fmla="*/ 126 h 141"/>
                <a:gd name="T82" fmla="*/ 90 w 153"/>
                <a:gd name="T83" fmla="*/ 110 h 141"/>
                <a:gd name="T84" fmla="*/ 101 w 153"/>
                <a:gd name="T85" fmla="*/ 113 h 141"/>
                <a:gd name="T86" fmla="*/ 119 w 153"/>
                <a:gd name="T87" fmla="*/ 118 h 141"/>
                <a:gd name="T88" fmla="*/ 129 w 153"/>
                <a:gd name="T89" fmla="*/ 106 h 141"/>
                <a:gd name="T90" fmla="*/ 123 w 153"/>
                <a:gd name="T91" fmla="*/ 92 h 141"/>
                <a:gd name="T92" fmla="*/ 123 w 153"/>
                <a:gd name="T93" fmla="*/ 80 h 141"/>
                <a:gd name="T94" fmla="*/ 148 w 153"/>
                <a:gd name="T95" fmla="*/ 141 h 141"/>
                <a:gd name="T96" fmla="*/ 144 w 153"/>
                <a:gd name="T97" fmla="*/ 136 h 141"/>
                <a:gd name="T98" fmla="*/ 143 w 153"/>
                <a:gd name="T99" fmla="*/ 132 h 141"/>
                <a:gd name="T100" fmla="*/ 142 w 153"/>
                <a:gd name="T101" fmla="*/ 128 h 141"/>
                <a:gd name="T102" fmla="*/ 148 w 153"/>
                <a:gd name="T103" fmla="*/ 122 h 141"/>
                <a:gd name="T104" fmla="*/ 151 w 153"/>
                <a:gd name="T105" fmla="*/ 117 h 141"/>
                <a:gd name="T106" fmla="*/ 151 w 153"/>
                <a:gd name="T107" fmla="*/ 13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3" h="141">
                  <a:moveTo>
                    <a:pt x="124" y="76"/>
                  </a:moveTo>
                  <a:lnTo>
                    <a:pt x="123" y="75"/>
                  </a:lnTo>
                  <a:lnTo>
                    <a:pt x="121" y="73"/>
                  </a:lnTo>
                  <a:lnTo>
                    <a:pt x="121" y="71"/>
                  </a:lnTo>
                  <a:lnTo>
                    <a:pt x="120" y="69"/>
                  </a:lnTo>
                  <a:lnTo>
                    <a:pt x="116" y="68"/>
                  </a:lnTo>
                  <a:lnTo>
                    <a:pt x="114" y="69"/>
                  </a:lnTo>
                  <a:lnTo>
                    <a:pt x="116" y="73"/>
                  </a:lnTo>
                  <a:lnTo>
                    <a:pt x="113" y="73"/>
                  </a:lnTo>
                  <a:lnTo>
                    <a:pt x="110" y="73"/>
                  </a:lnTo>
                  <a:lnTo>
                    <a:pt x="110" y="72"/>
                  </a:lnTo>
                  <a:lnTo>
                    <a:pt x="112" y="71"/>
                  </a:lnTo>
                  <a:lnTo>
                    <a:pt x="113" y="71"/>
                  </a:lnTo>
                  <a:lnTo>
                    <a:pt x="113" y="69"/>
                  </a:lnTo>
                  <a:lnTo>
                    <a:pt x="113" y="65"/>
                  </a:lnTo>
                  <a:lnTo>
                    <a:pt x="116" y="61"/>
                  </a:lnTo>
                  <a:lnTo>
                    <a:pt x="119" y="60"/>
                  </a:lnTo>
                  <a:lnTo>
                    <a:pt x="120" y="57"/>
                  </a:lnTo>
                  <a:lnTo>
                    <a:pt x="123" y="56"/>
                  </a:lnTo>
                  <a:lnTo>
                    <a:pt x="123" y="54"/>
                  </a:lnTo>
                  <a:lnTo>
                    <a:pt x="120" y="53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51"/>
                  </a:lnTo>
                  <a:lnTo>
                    <a:pt x="127" y="53"/>
                  </a:lnTo>
                  <a:lnTo>
                    <a:pt x="131" y="51"/>
                  </a:lnTo>
                  <a:lnTo>
                    <a:pt x="129" y="49"/>
                  </a:lnTo>
                  <a:lnTo>
                    <a:pt x="127" y="47"/>
                  </a:lnTo>
                  <a:lnTo>
                    <a:pt x="127" y="45"/>
                  </a:lnTo>
                  <a:lnTo>
                    <a:pt x="128" y="41"/>
                  </a:lnTo>
                  <a:lnTo>
                    <a:pt x="129" y="38"/>
                  </a:lnTo>
                  <a:lnTo>
                    <a:pt x="129" y="37"/>
                  </a:lnTo>
                  <a:lnTo>
                    <a:pt x="131" y="34"/>
                  </a:lnTo>
                  <a:lnTo>
                    <a:pt x="134" y="31"/>
                  </a:lnTo>
                  <a:lnTo>
                    <a:pt x="132" y="28"/>
                  </a:lnTo>
                  <a:lnTo>
                    <a:pt x="129" y="28"/>
                  </a:lnTo>
                  <a:lnTo>
                    <a:pt x="127" y="28"/>
                  </a:lnTo>
                  <a:lnTo>
                    <a:pt x="124" y="28"/>
                  </a:lnTo>
                  <a:lnTo>
                    <a:pt x="123" y="28"/>
                  </a:lnTo>
                  <a:lnTo>
                    <a:pt x="121" y="28"/>
                  </a:lnTo>
                  <a:lnTo>
                    <a:pt x="119" y="28"/>
                  </a:lnTo>
                  <a:lnTo>
                    <a:pt x="117" y="27"/>
                  </a:lnTo>
                  <a:lnTo>
                    <a:pt x="117" y="26"/>
                  </a:lnTo>
                  <a:lnTo>
                    <a:pt x="114" y="24"/>
                  </a:lnTo>
                  <a:lnTo>
                    <a:pt x="113" y="24"/>
                  </a:lnTo>
                  <a:lnTo>
                    <a:pt x="110" y="23"/>
                  </a:lnTo>
                  <a:lnTo>
                    <a:pt x="109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4" y="20"/>
                  </a:lnTo>
                  <a:lnTo>
                    <a:pt x="101" y="20"/>
                  </a:lnTo>
                  <a:lnTo>
                    <a:pt x="98" y="18"/>
                  </a:lnTo>
                  <a:lnTo>
                    <a:pt x="97" y="16"/>
                  </a:lnTo>
                  <a:lnTo>
                    <a:pt x="97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11"/>
                  </a:lnTo>
                  <a:lnTo>
                    <a:pt x="87" y="9"/>
                  </a:lnTo>
                  <a:lnTo>
                    <a:pt x="86" y="9"/>
                  </a:lnTo>
                  <a:lnTo>
                    <a:pt x="83" y="7"/>
                  </a:lnTo>
                  <a:lnTo>
                    <a:pt x="83" y="5"/>
                  </a:lnTo>
                  <a:lnTo>
                    <a:pt x="80" y="4"/>
                  </a:lnTo>
                  <a:lnTo>
                    <a:pt x="79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4" y="1"/>
                  </a:lnTo>
                  <a:lnTo>
                    <a:pt x="72" y="0"/>
                  </a:lnTo>
                  <a:lnTo>
                    <a:pt x="70" y="3"/>
                  </a:lnTo>
                  <a:lnTo>
                    <a:pt x="68" y="5"/>
                  </a:lnTo>
                  <a:lnTo>
                    <a:pt x="70" y="8"/>
                  </a:lnTo>
                  <a:lnTo>
                    <a:pt x="68" y="12"/>
                  </a:lnTo>
                  <a:lnTo>
                    <a:pt x="66" y="15"/>
                  </a:lnTo>
                  <a:lnTo>
                    <a:pt x="66" y="16"/>
                  </a:lnTo>
                  <a:lnTo>
                    <a:pt x="61" y="18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3" y="19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5" y="23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44" y="26"/>
                  </a:lnTo>
                  <a:lnTo>
                    <a:pt x="41" y="24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38" y="23"/>
                  </a:lnTo>
                  <a:lnTo>
                    <a:pt x="38" y="20"/>
                  </a:lnTo>
                  <a:lnTo>
                    <a:pt x="37" y="20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30" y="20"/>
                  </a:lnTo>
                  <a:lnTo>
                    <a:pt x="32" y="23"/>
                  </a:lnTo>
                  <a:lnTo>
                    <a:pt x="32" y="24"/>
                  </a:lnTo>
                  <a:lnTo>
                    <a:pt x="36" y="27"/>
                  </a:lnTo>
                  <a:lnTo>
                    <a:pt x="34" y="28"/>
                  </a:lnTo>
                  <a:lnTo>
                    <a:pt x="34" y="31"/>
                  </a:lnTo>
                  <a:lnTo>
                    <a:pt x="34" y="32"/>
                  </a:lnTo>
                  <a:lnTo>
                    <a:pt x="36" y="34"/>
                  </a:lnTo>
                  <a:lnTo>
                    <a:pt x="36" y="35"/>
                  </a:lnTo>
                  <a:lnTo>
                    <a:pt x="32" y="35"/>
                  </a:lnTo>
                  <a:lnTo>
                    <a:pt x="30" y="37"/>
                  </a:lnTo>
                  <a:lnTo>
                    <a:pt x="29" y="35"/>
                  </a:lnTo>
                  <a:lnTo>
                    <a:pt x="26" y="37"/>
                  </a:lnTo>
                  <a:lnTo>
                    <a:pt x="26" y="35"/>
                  </a:lnTo>
                  <a:lnTo>
                    <a:pt x="23" y="38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5" y="32"/>
                  </a:lnTo>
                  <a:lnTo>
                    <a:pt x="13" y="35"/>
                  </a:lnTo>
                  <a:lnTo>
                    <a:pt x="11" y="34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7" y="35"/>
                  </a:lnTo>
                  <a:lnTo>
                    <a:pt x="6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2" y="41"/>
                  </a:lnTo>
                  <a:lnTo>
                    <a:pt x="3" y="39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6" y="42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4" y="47"/>
                  </a:lnTo>
                  <a:lnTo>
                    <a:pt x="4" y="49"/>
                  </a:lnTo>
                  <a:lnTo>
                    <a:pt x="7" y="47"/>
                  </a:lnTo>
                  <a:lnTo>
                    <a:pt x="8" y="47"/>
                  </a:lnTo>
                  <a:lnTo>
                    <a:pt x="10" y="47"/>
                  </a:lnTo>
                  <a:lnTo>
                    <a:pt x="14" y="49"/>
                  </a:lnTo>
                  <a:lnTo>
                    <a:pt x="15" y="50"/>
                  </a:lnTo>
                  <a:lnTo>
                    <a:pt x="17" y="50"/>
                  </a:lnTo>
                  <a:lnTo>
                    <a:pt x="19" y="53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1"/>
                  </a:lnTo>
                  <a:lnTo>
                    <a:pt x="22" y="53"/>
                  </a:lnTo>
                  <a:lnTo>
                    <a:pt x="23" y="51"/>
                  </a:lnTo>
                  <a:lnTo>
                    <a:pt x="25" y="53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6" y="57"/>
                  </a:lnTo>
                  <a:lnTo>
                    <a:pt x="29" y="56"/>
                  </a:lnTo>
                  <a:lnTo>
                    <a:pt x="32" y="56"/>
                  </a:lnTo>
                  <a:lnTo>
                    <a:pt x="33" y="58"/>
                  </a:lnTo>
                  <a:lnTo>
                    <a:pt x="32" y="57"/>
                  </a:lnTo>
                  <a:lnTo>
                    <a:pt x="29" y="57"/>
                  </a:lnTo>
                  <a:lnTo>
                    <a:pt x="27" y="58"/>
                  </a:lnTo>
                  <a:lnTo>
                    <a:pt x="29" y="60"/>
                  </a:lnTo>
                  <a:lnTo>
                    <a:pt x="29" y="61"/>
                  </a:lnTo>
                  <a:lnTo>
                    <a:pt x="27" y="64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3" y="69"/>
                  </a:lnTo>
                  <a:lnTo>
                    <a:pt x="36" y="69"/>
                  </a:lnTo>
                  <a:lnTo>
                    <a:pt x="38" y="71"/>
                  </a:lnTo>
                  <a:lnTo>
                    <a:pt x="38" y="73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40" y="80"/>
                  </a:lnTo>
                  <a:lnTo>
                    <a:pt x="44" y="83"/>
                  </a:lnTo>
                  <a:lnTo>
                    <a:pt x="47" y="90"/>
                  </a:lnTo>
                  <a:lnTo>
                    <a:pt x="44" y="87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38" y="83"/>
                  </a:lnTo>
                  <a:lnTo>
                    <a:pt x="38" y="88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38" y="95"/>
                  </a:lnTo>
                  <a:lnTo>
                    <a:pt x="37" y="103"/>
                  </a:lnTo>
                  <a:lnTo>
                    <a:pt x="36" y="110"/>
                  </a:lnTo>
                  <a:lnTo>
                    <a:pt x="33" y="111"/>
                  </a:lnTo>
                  <a:lnTo>
                    <a:pt x="34" y="113"/>
                  </a:lnTo>
                  <a:lnTo>
                    <a:pt x="36" y="114"/>
                  </a:lnTo>
                  <a:lnTo>
                    <a:pt x="37" y="114"/>
                  </a:lnTo>
                  <a:lnTo>
                    <a:pt x="37" y="117"/>
                  </a:lnTo>
                  <a:lnTo>
                    <a:pt x="37" y="118"/>
                  </a:lnTo>
                  <a:lnTo>
                    <a:pt x="40" y="118"/>
                  </a:lnTo>
                  <a:lnTo>
                    <a:pt x="45" y="119"/>
                  </a:lnTo>
                  <a:lnTo>
                    <a:pt x="47" y="122"/>
                  </a:lnTo>
                  <a:lnTo>
                    <a:pt x="49" y="121"/>
                  </a:lnTo>
                  <a:lnTo>
                    <a:pt x="52" y="124"/>
                  </a:lnTo>
                  <a:lnTo>
                    <a:pt x="55" y="124"/>
                  </a:lnTo>
                  <a:lnTo>
                    <a:pt x="56" y="125"/>
                  </a:lnTo>
                  <a:lnTo>
                    <a:pt x="59" y="122"/>
                  </a:lnTo>
                  <a:lnTo>
                    <a:pt x="64" y="122"/>
                  </a:lnTo>
                  <a:lnTo>
                    <a:pt x="66" y="124"/>
                  </a:lnTo>
                  <a:lnTo>
                    <a:pt x="70" y="122"/>
                  </a:lnTo>
                  <a:lnTo>
                    <a:pt x="72" y="125"/>
                  </a:lnTo>
                  <a:lnTo>
                    <a:pt x="78" y="124"/>
                  </a:lnTo>
                  <a:lnTo>
                    <a:pt x="82" y="126"/>
                  </a:lnTo>
                  <a:lnTo>
                    <a:pt x="83" y="128"/>
                  </a:lnTo>
                  <a:lnTo>
                    <a:pt x="83" y="126"/>
                  </a:lnTo>
                  <a:lnTo>
                    <a:pt x="82" y="122"/>
                  </a:lnTo>
                  <a:lnTo>
                    <a:pt x="83" y="118"/>
                  </a:lnTo>
                  <a:lnTo>
                    <a:pt x="83" y="117"/>
                  </a:lnTo>
                  <a:lnTo>
                    <a:pt x="86" y="114"/>
                  </a:lnTo>
                  <a:lnTo>
                    <a:pt x="90" y="110"/>
                  </a:lnTo>
                  <a:lnTo>
                    <a:pt x="91" y="110"/>
                  </a:lnTo>
                  <a:lnTo>
                    <a:pt x="93" y="111"/>
                  </a:lnTo>
                  <a:lnTo>
                    <a:pt x="95" y="111"/>
                  </a:lnTo>
                  <a:lnTo>
                    <a:pt x="98" y="113"/>
                  </a:lnTo>
                  <a:lnTo>
                    <a:pt x="101" y="113"/>
                  </a:lnTo>
                  <a:lnTo>
                    <a:pt x="102" y="111"/>
                  </a:lnTo>
                  <a:lnTo>
                    <a:pt x="104" y="111"/>
                  </a:lnTo>
                  <a:lnTo>
                    <a:pt x="110" y="115"/>
                  </a:lnTo>
                  <a:lnTo>
                    <a:pt x="113" y="117"/>
                  </a:lnTo>
                  <a:lnTo>
                    <a:pt x="119" y="118"/>
                  </a:lnTo>
                  <a:lnTo>
                    <a:pt x="120" y="115"/>
                  </a:lnTo>
                  <a:lnTo>
                    <a:pt x="120" y="114"/>
                  </a:lnTo>
                  <a:lnTo>
                    <a:pt x="121" y="113"/>
                  </a:lnTo>
                  <a:lnTo>
                    <a:pt x="129" y="106"/>
                  </a:lnTo>
                  <a:lnTo>
                    <a:pt x="129" y="106"/>
                  </a:lnTo>
                  <a:lnTo>
                    <a:pt x="129" y="105"/>
                  </a:lnTo>
                  <a:lnTo>
                    <a:pt x="131" y="100"/>
                  </a:lnTo>
                  <a:lnTo>
                    <a:pt x="127" y="100"/>
                  </a:lnTo>
                  <a:lnTo>
                    <a:pt x="123" y="98"/>
                  </a:lnTo>
                  <a:lnTo>
                    <a:pt x="123" y="92"/>
                  </a:lnTo>
                  <a:lnTo>
                    <a:pt x="120" y="88"/>
                  </a:lnTo>
                  <a:lnTo>
                    <a:pt x="121" y="87"/>
                  </a:lnTo>
                  <a:lnTo>
                    <a:pt x="124" y="87"/>
                  </a:lnTo>
                  <a:lnTo>
                    <a:pt x="125" y="83"/>
                  </a:lnTo>
                  <a:lnTo>
                    <a:pt x="123" y="80"/>
                  </a:lnTo>
                  <a:lnTo>
                    <a:pt x="123" y="77"/>
                  </a:lnTo>
                  <a:lnTo>
                    <a:pt x="123" y="76"/>
                  </a:lnTo>
                  <a:lnTo>
                    <a:pt x="124" y="76"/>
                  </a:lnTo>
                  <a:lnTo>
                    <a:pt x="124" y="76"/>
                  </a:lnTo>
                  <a:close/>
                  <a:moveTo>
                    <a:pt x="148" y="141"/>
                  </a:moveTo>
                  <a:lnTo>
                    <a:pt x="144" y="140"/>
                  </a:lnTo>
                  <a:lnTo>
                    <a:pt x="144" y="138"/>
                  </a:lnTo>
                  <a:lnTo>
                    <a:pt x="144" y="137"/>
                  </a:lnTo>
                  <a:lnTo>
                    <a:pt x="146" y="137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4"/>
                  </a:lnTo>
                  <a:lnTo>
                    <a:pt x="143" y="134"/>
                  </a:lnTo>
                  <a:lnTo>
                    <a:pt x="142" y="133"/>
                  </a:lnTo>
                  <a:lnTo>
                    <a:pt x="143" y="132"/>
                  </a:lnTo>
                  <a:lnTo>
                    <a:pt x="143" y="132"/>
                  </a:lnTo>
                  <a:lnTo>
                    <a:pt x="140" y="130"/>
                  </a:lnTo>
                  <a:lnTo>
                    <a:pt x="140" y="129"/>
                  </a:lnTo>
                  <a:lnTo>
                    <a:pt x="142" y="129"/>
                  </a:lnTo>
                  <a:lnTo>
                    <a:pt x="142" y="128"/>
                  </a:lnTo>
                  <a:lnTo>
                    <a:pt x="140" y="126"/>
                  </a:lnTo>
                  <a:lnTo>
                    <a:pt x="143" y="124"/>
                  </a:lnTo>
                  <a:lnTo>
                    <a:pt x="146" y="122"/>
                  </a:lnTo>
                  <a:lnTo>
                    <a:pt x="147" y="121"/>
                  </a:lnTo>
                  <a:lnTo>
                    <a:pt x="148" y="122"/>
                  </a:lnTo>
                  <a:lnTo>
                    <a:pt x="150" y="122"/>
                  </a:lnTo>
                  <a:lnTo>
                    <a:pt x="150" y="121"/>
                  </a:lnTo>
                  <a:lnTo>
                    <a:pt x="150" y="118"/>
                  </a:lnTo>
                  <a:lnTo>
                    <a:pt x="150" y="117"/>
                  </a:lnTo>
                  <a:lnTo>
                    <a:pt x="151" y="117"/>
                  </a:lnTo>
                  <a:lnTo>
                    <a:pt x="151" y="119"/>
                  </a:lnTo>
                  <a:lnTo>
                    <a:pt x="151" y="124"/>
                  </a:lnTo>
                  <a:lnTo>
                    <a:pt x="153" y="128"/>
                  </a:lnTo>
                  <a:lnTo>
                    <a:pt x="151" y="133"/>
                  </a:lnTo>
                  <a:lnTo>
                    <a:pt x="151" y="136"/>
                  </a:lnTo>
                  <a:lnTo>
                    <a:pt x="150" y="140"/>
                  </a:lnTo>
                  <a:lnTo>
                    <a:pt x="148" y="141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5" name="Freeform 65"/>
            <p:cNvSpPr>
              <a:spLocks noEditPoints="1"/>
            </p:cNvSpPr>
            <p:nvPr/>
          </p:nvSpPr>
          <p:spPr bwMode="auto">
            <a:xfrm>
              <a:off x="2038" y="1401"/>
              <a:ext cx="133" cy="151"/>
            </a:xfrm>
            <a:custGeom>
              <a:avLst/>
              <a:gdLst>
                <a:gd name="T0" fmla="*/ 3 w 133"/>
                <a:gd name="T1" fmla="*/ 40 h 151"/>
                <a:gd name="T2" fmla="*/ 5 w 133"/>
                <a:gd name="T3" fmla="*/ 25 h 151"/>
                <a:gd name="T4" fmla="*/ 11 w 133"/>
                <a:gd name="T5" fmla="*/ 17 h 151"/>
                <a:gd name="T6" fmla="*/ 24 w 133"/>
                <a:gd name="T7" fmla="*/ 17 h 151"/>
                <a:gd name="T8" fmla="*/ 34 w 133"/>
                <a:gd name="T9" fmla="*/ 13 h 151"/>
                <a:gd name="T10" fmla="*/ 43 w 133"/>
                <a:gd name="T11" fmla="*/ 2 h 151"/>
                <a:gd name="T12" fmla="*/ 58 w 133"/>
                <a:gd name="T13" fmla="*/ 3 h 151"/>
                <a:gd name="T14" fmla="*/ 75 w 133"/>
                <a:gd name="T15" fmla="*/ 13 h 151"/>
                <a:gd name="T16" fmla="*/ 71 w 133"/>
                <a:gd name="T17" fmla="*/ 21 h 151"/>
                <a:gd name="T18" fmla="*/ 60 w 133"/>
                <a:gd name="T19" fmla="*/ 27 h 151"/>
                <a:gd name="T20" fmla="*/ 61 w 133"/>
                <a:gd name="T21" fmla="*/ 38 h 151"/>
                <a:gd name="T22" fmla="*/ 72 w 133"/>
                <a:gd name="T23" fmla="*/ 49 h 151"/>
                <a:gd name="T24" fmla="*/ 83 w 133"/>
                <a:gd name="T25" fmla="*/ 64 h 151"/>
                <a:gd name="T26" fmla="*/ 94 w 133"/>
                <a:gd name="T27" fmla="*/ 74 h 151"/>
                <a:gd name="T28" fmla="*/ 107 w 133"/>
                <a:gd name="T29" fmla="*/ 76 h 151"/>
                <a:gd name="T30" fmla="*/ 107 w 133"/>
                <a:gd name="T31" fmla="*/ 83 h 151"/>
                <a:gd name="T32" fmla="*/ 130 w 133"/>
                <a:gd name="T33" fmla="*/ 95 h 151"/>
                <a:gd name="T34" fmla="*/ 132 w 133"/>
                <a:gd name="T35" fmla="*/ 104 h 151"/>
                <a:gd name="T36" fmla="*/ 126 w 133"/>
                <a:gd name="T37" fmla="*/ 101 h 151"/>
                <a:gd name="T38" fmla="*/ 120 w 133"/>
                <a:gd name="T39" fmla="*/ 95 h 151"/>
                <a:gd name="T40" fmla="*/ 114 w 133"/>
                <a:gd name="T41" fmla="*/ 102 h 151"/>
                <a:gd name="T42" fmla="*/ 116 w 133"/>
                <a:gd name="T43" fmla="*/ 108 h 151"/>
                <a:gd name="T44" fmla="*/ 118 w 133"/>
                <a:gd name="T45" fmla="*/ 119 h 151"/>
                <a:gd name="T46" fmla="*/ 110 w 133"/>
                <a:gd name="T47" fmla="*/ 131 h 151"/>
                <a:gd name="T48" fmla="*/ 103 w 133"/>
                <a:gd name="T49" fmla="*/ 128 h 151"/>
                <a:gd name="T50" fmla="*/ 107 w 133"/>
                <a:gd name="T51" fmla="*/ 121 h 151"/>
                <a:gd name="T52" fmla="*/ 106 w 133"/>
                <a:gd name="T53" fmla="*/ 112 h 151"/>
                <a:gd name="T54" fmla="*/ 101 w 133"/>
                <a:gd name="T55" fmla="*/ 102 h 151"/>
                <a:gd name="T56" fmla="*/ 94 w 133"/>
                <a:gd name="T57" fmla="*/ 98 h 151"/>
                <a:gd name="T58" fmla="*/ 88 w 133"/>
                <a:gd name="T59" fmla="*/ 91 h 151"/>
                <a:gd name="T60" fmla="*/ 79 w 133"/>
                <a:gd name="T61" fmla="*/ 86 h 151"/>
                <a:gd name="T62" fmla="*/ 71 w 133"/>
                <a:gd name="T63" fmla="*/ 83 h 151"/>
                <a:gd name="T64" fmla="*/ 57 w 133"/>
                <a:gd name="T65" fmla="*/ 71 h 151"/>
                <a:gd name="T66" fmla="*/ 46 w 133"/>
                <a:gd name="T67" fmla="*/ 60 h 151"/>
                <a:gd name="T68" fmla="*/ 39 w 133"/>
                <a:gd name="T69" fmla="*/ 49 h 151"/>
                <a:gd name="T70" fmla="*/ 31 w 133"/>
                <a:gd name="T71" fmla="*/ 41 h 151"/>
                <a:gd name="T72" fmla="*/ 9 w 133"/>
                <a:gd name="T73" fmla="*/ 48 h 151"/>
                <a:gd name="T74" fmla="*/ 28 w 133"/>
                <a:gd name="T75" fmla="*/ 119 h 151"/>
                <a:gd name="T76" fmla="*/ 34 w 133"/>
                <a:gd name="T77" fmla="*/ 116 h 151"/>
                <a:gd name="T78" fmla="*/ 35 w 133"/>
                <a:gd name="T79" fmla="*/ 100 h 151"/>
                <a:gd name="T80" fmla="*/ 34 w 133"/>
                <a:gd name="T81" fmla="*/ 89 h 151"/>
                <a:gd name="T82" fmla="*/ 23 w 133"/>
                <a:gd name="T83" fmla="*/ 91 h 151"/>
                <a:gd name="T84" fmla="*/ 19 w 133"/>
                <a:gd name="T85" fmla="*/ 95 h 151"/>
                <a:gd name="T86" fmla="*/ 20 w 133"/>
                <a:gd name="T87" fmla="*/ 105 h 151"/>
                <a:gd name="T88" fmla="*/ 22 w 133"/>
                <a:gd name="T89" fmla="*/ 113 h 151"/>
                <a:gd name="T90" fmla="*/ 98 w 133"/>
                <a:gd name="T91" fmla="*/ 147 h 151"/>
                <a:gd name="T92" fmla="*/ 102 w 133"/>
                <a:gd name="T93" fmla="*/ 132 h 151"/>
                <a:gd name="T94" fmla="*/ 94 w 133"/>
                <a:gd name="T95" fmla="*/ 129 h 151"/>
                <a:gd name="T96" fmla="*/ 76 w 133"/>
                <a:gd name="T97" fmla="*/ 131 h 151"/>
                <a:gd name="T98" fmla="*/ 68 w 133"/>
                <a:gd name="T99" fmla="*/ 136 h 151"/>
                <a:gd name="T100" fmla="*/ 82 w 133"/>
                <a:gd name="T101" fmla="*/ 143 h 151"/>
                <a:gd name="T102" fmla="*/ 96 w 133"/>
                <a:gd name="T10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3" h="151">
                  <a:moveTo>
                    <a:pt x="9" y="48"/>
                  </a:moveTo>
                  <a:lnTo>
                    <a:pt x="9" y="47"/>
                  </a:lnTo>
                  <a:lnTo>
                    <a:pt x="11" y="42"/>
                  </a:lnTo>
                  <a:lnTo>
                    <a:pt x="7" y="42"/>
                  </a:lnTo>
                  <a:lnTo>
                    <a:pt x="3" y="40"/>
                  </a:lnTo>
                  <a:lnTo>
                    <a:pt x="3" y="34"/>
                  </a:lnTo>
                  <a:lnTo>
                    <a:pt x="0" y="30"/>
                  </a:lnTo>
                  <a:lnTo>
                    <a:pt x="1" y="29"/>
                  </a:lnTo>
                  <a:lnTo>
                    <a:pt x="4" y="29"/>
                  </a:lnTo>
                  <a:lnTo>
                    <a:pt x="5" y="25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5" y="19"/>
                  </a:lnTo>
                  <a:lnTo>
                    <a:pt x="11" y="17"/>
                  </a:lnTo>
                  <a:lnTo>
                    <a:pt x="14" y="18"/>
                  </a:lnTo>
                  <a:lnTo>
                    <a:pt x="18" y="10"/>
                  </a:lnTo>
                  <a:lnTo>
                    <a:pt x="20" y="13"/>
                  </a:lnTo>
                  <a:lnTo>
                    <a:pt x="20" y="15"/>
                  </a:lnTo>
                  <a:lnTo>
                    <a:pt x="24" y="17"/>
                  </a:lnTo>
                  <a:lnTo>
                    <a:pt x="24" y="19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7" y="14"/>
                  </a:lnTo>
                  <a:lnTo>
                    <a:pt x="37" y="10"/>
                  </a:lnTo>
                  <a:lnTo>
                    <a:pt x="42" y="8"/>
                  </a:lnTo>
                  <a:lnTo>
                    <a:pt x="41" y="6"/>
                  </a:lnTo>
                  <a:lnTo>
                    <a:pt x="43" y="2"/>
                  </a:lnTo>
                  <a:lnTo>
                    <a:pt x="46" y="4"/>
                  </a:lnTo>
                  <a:lnTo>
                    <a:pt x="53" y="0"/>
                  </a:lnTo>
                  <a:lnTo>
                    <a:pt x="56" y="2"/>
                  </a:lnTo>
                  <a:lnTo>
                    <a:pt x="60" y="0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2" y="8"/>
                  </a:lnTo>
                  <a:lnTo>
                    <a:pt x="76" y="7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6" y="15"/>
                  </a:lnTo>
                  <a:lnTo>
                    <a:pt x="75" y="17"/>
                  </a:lnTo>
                  <a:lnTo>
                    <a:pt x="75" y="21"/>
                  </a:lnTo>
                  <a:lnTo>
                    <a:pt x="72" y="21"/>
                  </a:lnTo>
                  <a:lnTo>
                    <a:pt x="71" y="21"/>
                  </a:lnTo>
                  <a:lnTo>
                    <a:pt x="69" y="23"/>
                  </a:lnTo>
                  <a:lnTo>
                    <a:pt x="67" y="23"/>
                  </a:lnTo>
                  <a:lnTo>
                    <a:pt x="64" y="25"/>
                  </a:lnTo>
                  <a:lnTo>
                    <a:pt x="61" y="26"/>
                  </a:lnTo>
                  <a:lnTo>
                    <a:pt x="60" y="27"/>
                  </a:lnTo>
                  <a:lnTo>
                    <a:pt x="61" y="30"/>
                  </a:lnTo>
                  <a:lnTo>
                    <a:pt x="64" y="32"/>
                  </a:lnTo>
                  <a:lnTo>
                    <a:pt x="61" y="34"/>
                  </a:lnTo>
                  <a:lnTo>
                    <a:pt x="60" y="36"/>
                  </a:lnTo>
                  <a:lnTo>
                    <a:pt x="61" y="38"/>
                  </a:lnTo>
                  <a:lnTo>
                    <a:pt x="62" y="41"/>
                  </a:lnTo>
                  <a:lnTo>
                    <a:pt x="64" y="44"/>
                  </a:lnTo>
                  <a:lnTo>
                    <a:pt x="68" y="47"/>
                  </a:lnTo>
                  <a:lnTo>
                    <a:pt x="71" y="48"/>
                  </a:lnTo>
                  <a:lnTo>
                    <a:pt x="72" y="49"/>
                  </a:lnTo>
                  <a:lnTo>
                    <a:pt x="80" y="57"/>
                  </a:lnTo>
                  <a:lnTo>
                    <a:pt x="80" y="59"/>
                  </a:lnTo>
                  <a:lnTo>
                    <a:pt x="82" y="60"/>
                  </a:lnTo>
                  <a:lnTo>
                    <a:pt x="82" y="63"/>
                  </a:lnTo>
                  <a:lnTo>
                    <a:pt x="83" y="64"/>
                  </a:lnTo>
                  <a:lnTo>
                    <a:pt x="86" y="67"/>
                  </a:lnTo>
                  <a:lnTo>
                    <a:pt x="87" y="70"/>
                  </a:lnTo>
                  <a:lnTo>
                    <a:pt x="90" y="72"/>
                  </a:lnTo>
                  <a:lnTo>
                    <a:pt x="92" y="74"/>
                  </a:lnTo>
                  <a:lnTo>
                    <a:pt x="94" y="74"/>
                  </a:lnTo>
                  <a:lnTo>
                    <a:pt x="95" y="75"/>
                  </a:lnTo>
                  <a:lnTo>
                    <a:pt x="101" y="75"/>
                  </a:lnTo>
                  <a:lnTo>
                    <a:pt x="102" y="75"/>
                  </a:lnTo>
                  <a:lnTo>
                    <a:pt x="105" y="75"/>
                  </a:lnTo>
                  <a:lnTo>
                    <a:pt x="107" y="76"/>
                  </a:lnTo>
                  <a:lnTo>
                    <a:pt x="106" y="78"/>
                  </a:lnTo>
                  <a:lnTo>
                    <a:pt x="103" y="79"/>
                  </a:lnTo>
                  <a:lnTo>
                    <a:pt x="103" y="80"/>
                  </a:lnTo>
                  <a:lnTo>
                    <a:pt x="105" y="83"/>
                  </a:lnTo>
                  <a:lnTo>
                    <a:pt x="107" y="83"/>
                  </a:lnTo>
                  <a:lnTo>
                    <a:pt x="111" y="83"/>
                  </a:lnTo>
                  <a:lnTo>
                    <a:pt x="121" y="89"/>
                  </a:lnTo>
                  <a:lnTo>
                    <a:pt x="124" y="91"/>
                  </a:lnTo>
                  <a:lnTo>
                    <a:pt x="126" y="94"/>
                  </a:lnTo>
                  <a:lnTo>
                    <a:pt x="130" y="95"/>
                  </a:lnTo>
                  <a:lnTo>
                    <a:pt x="132" y="97"/>
                  </a:lnTo>
                  <a:lnTo>
                    <a:pt x="133" y="98"/>
                  </a:lnTo>
                  <a:lnTo>
                    <a:pt x="133" y="101"/>
                  </a:lnTo>
                  <a:lnTo>
                    <a:pt x="132" y="102"/>
                  </a:lnTo>
                  <a:lnTo>
                    <a:pt x="132" y="104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29" y="105"/>
                  </a:lnTo>
                  <a:lnTo>
                    <a:pt x="128" y="102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25" y="98"/>
                  </a:lnTo>
                  <a:lnTo>
                    <a:pt x="122" y="98"/>
                  </a:lnTo>
                  <a:lnTo>
                    <a:pt x="121" y="97"/>
                  </a:lnTo>
                  <a:lnTo>
                    <a:pt x="120" y="95"/>
                  </a:lnTo>
                  <a:lnTo>
                    <a:pt x="117" y="95"/>
                  </a:lnTo>
                  <a:lnTo>
                    <a:pt x="117" y="97"/>
                  </a:lnTo>
                  <a:lnTo>
                    <a:pt x="116" y="100"/>
                  </a:lnTo>
                  <a:lnTo>
                    <a:pt x="114" y="101"/>
                  </a:lnTo>
                  <a:lnTo>
                    <a:pt x="114" y="102"/>
                  </a:lnTo>
                  <a:lnTo>
                    <a:pt x="114" y="104"/>
                  </a:lnTo>
                  <a:lnTo>
                    <a:pt x="113" y="105"/>
                  </a:lnTo>
                  <a:lnTo>
                    <a:pt x="113" y="106"/>
                  </a:lnTo>
                  <a:lnTo>
                    <a:pt x="113" y="108"/>
                  </a:lnTo>
                  <a:lnTo>
                    <a:pt x="116" y="108"/>
                  </a:lnTo>
                  <a:lnTo>
                    <a:pt x="118" y="112"/>
                  </a:lnTo>
                  <a:lnTo>
                    <a:pt x="118" y="113"/>
                  </a:lnTo>
                  <a:lnTo>
                    <a:pt x="118" y="116"/>
                  </a:lnTo>
                  <a:lnTo>
                    <a:pt x="120" y="117"/>
                  </a:lnTo>
                  <a:lnTo>
                    <a:pt x="118" y="119"/>
                  </a:lnTo>
                  <a:lnTo>
                    <a:pt x="117" y="119"/>
                  </a:lnTo>
                  <a:lnTo>
                    <a:pt x="114" y="121"/>
                  </a:lnTo>
                  <a:lnTo>
                    <a:pt x="114" y="127"/>
                  </a:lnTo>
                  <a:lnTo>
                    <a:pt x="111" y="129"/>
                  </a:lnTo>
                  <a:lnTo>
                    <a:pt x="110" y="131"/>
                  </a:lnTo>
                  <a:lnTo>
                    <a:pt x="109" y="134"/>
                  </a:lnTo>
                  <a:lnTo>
                    <a:pt x="106" y="134"/>
                  </a:lnTo>
                  <a:lnTo>
                    <a:pt x="103" y="131"/>
                  </a:lnTo>
                  <a:lnTo>
                    <a:pt x="103" y="129"/>
                  </a:lnTo>
                  <a:lnTo>
                    <a:pt x="103" y="128"/>
                  </a:lnTo>
                  <a:lnTo>
                    <a:pt x="105" y="128"/>
                  </a:lnTo>
                  <a:lnTo>
                    <a:pt x="106" y="127"/>
                  </a:lnTo>
                  <a:lnTo>
                    <a:pt x="106" y="124"/>
                  </a:lnTo>
                  <a:lnTo>
                    <a:pt x="106" y="121"/>
                  </a:lnTo>
                  <a:lnTo>
                    <a:pt x="107" y="121"/>
                  </a:lnTo>
                  <a:lnTo>
                    <a:pt x="107" y="121"/>
                  </a:lnTo>
                  <a:lnTo>
                    <a:pt x="109" y="120"/>
                  </a:lnTo>
                  <a:lnTo>
                    <a:pt x="109" y="117"/>
                  </a:lnTo>
                  <a:lnTo>
                    <a:pt x="107" y="116"/>
                  </a:lnTo>
                  <a:lnTo>
                    <a:pt x="106" y="112"/>
                  </a:lnTo>
                  <a:lnTo>
                    <a:pt x="106" y="110"/>
                  </a:lnTo>
                  <a:lnTo>
                    <a:pt x="105" y="106"/>
                  </a:lnTo>
                  <a:lnTo>
                    <a:pt x="103" y="102"/>
                  </a:lnTo>
                  <a:lnTo>
                    <a:pt x="102" y="102"/>
                  </a:lnTo>
                  <a:lnTo>
                    <a:pt x="101" y="102"/>
                  </a:lnTo>
                  <a:lnTo>
                    <a:pt x="98" y="102"/>
                  </a:lnTo>
                  <a:lnTo>
                    <a:pt x="96" y="100"/>
                  </a:lnTo>
                  <a:lnTo>
                    <a:pt x="94" y="100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95"/>
                  </a:lnTo>
                  <a:lnTo>
                    <a:pt x="92" y="93"/>
                  </a:lnTo>
                  <a:lnTo>
                    <a:pt x="91" y="93"/>
                  </a:lnTo>
                  <a:lnTo>
                    <a:pt x="88" y="93"/>
                  </a:lnTo>
                  <a:lnTo>
                    <a:pt x="88" y="91"/>
                  </a:lnTo>
                  <a:lnTo>
                    <a:pt x="87" y="91"/>
                  </a:lnTo>
                  <a:lnTo>
                    <a:pt x="86" y="91"/>
                  </a:lnTo>
                  <a:lnTo>
                    <a:pt x="84" y="90"/>
                  </a:lnTo>
                  <a:lnTo>
                    <a:pt x="82" y="86"/>
                  </a:lnTo>
                  <a:lnTo>
                    <a:pt x="79" y="86"/>
                  </a:lnTo>
                  <a:lnTo>
                    <a:pt x="76" y="85"/>
                  </a:lnTo>
                  <a:lnTo>
                    <a:pt x="75" y="86"/>
                  </a:lnTo>
                  <a:lnTo>
                    <a:pt x="73" y="86"/>
                  </a:lnTo>
                  <a:lnTo>
                    <a:pt x="72" y="85"/>
                  </a:lnTo>
                  <a:lnTo>
                    <a:pt x="71" y="83"/>
                  </a:lnTo>
                  <a:lnTo>
                    <a:pt x="68" y="82"/>
                  </a:lnTo>
                  <a:lnTo>
                    <a:pt x="64" y="79"/>
                  </a:lnTo>
                  <a:lnTo>
                    <a:pt x="58" y="72"/>
                  </a:lnTo>
                  <a:lnTo>
                    <a:pt x="57" y="72"/>
                  </a:lnTo>
                  <a:lnTo>
                    <a:pt x="57" y="71"/>
                  </a:lnTo>
                  <a:lnTo>
                    <a:pt x="54" y="68"/>
                  </a:lnTo>
                  <a:lnTo>
                    <a:pt x="52" y="68"/>
                  </a:lnTo>
                  <a:lnTo>
                    <a:pt x="52" y="66"/>
                  </a:lnTo>
                  <a:lnTo>
                    <a:pt x="48" y="63"/>
                  </a:lnTo>
                  <a:lnTo>
                    <a:pt x="46" y="60"/>
                  </a:lnTo>
                  <a:lnTo>
                    <a:pt x="43" y="59"/>
                  </a:lnTo>
                  <a:lnTo>
                    <a:pt x="43" y="56"/>
                  </a:lnTo>
                  <a:lnTo>
                    <a:pt x="42" y="55"/>
                  </a:lnTo>
                  <a:lnTo>
                    <a:pt x="42" y="52"/>
                  </a:lnTo>
                  <a:lnTo>
                    <a:pt x="39" y="49"/>
                  </a:lnTo>
                  <a:lnTo>
                    <a:pt x="38" y="48"/>
                  </a:lnTo>
                  <a:lnTo>
                    <a:pt x="38" y="47"/>
                  </a:lnTo>
                  <a:lnTo>
                    <a:pt x="37" y="44"/>
                  </a:lnTo>
                  <a:lnTo>
                    <a:pt x="34" y="42"/>
                  </a:lnTo>
                  <a:lnTo>
                    <a:pt x="31" y="41"/>
                  </a:lnTo>
                  <a:lnTo>
                    <a:pt x="23" y="40"/>
                  </a:lnTo>
                  <a:lnTo>
                    <a:pt x="18" y="42"/>
                  </a:lnTo>
                  <a:lnTo>
                    <a:pt x="18" y="45"/>
                  </a:lnTo>
                  <a:lnTo>
                    <a:pt x="15" y="48"/>
                  </a:lnTo>
                  <a:lnTo>
                    <a:pt x="9" y="48"/>
                  </a:lnTo>
                  <a:lnTo>
                    <a:pt x="9" y="48"/>
                  </a:lnTo>
                  <a:close/>
                  <a:moveTo>
                    <a:pt x="24" y="120"/>
                  </a:moveTo>
                  <a:lnTo>
                    <a:pt x="26" y="119"/>
                  </a:lnTo>
                  <a:lnTo>
                    <a:pt x="26" y="120"/>
                  </a:lnTo>
                  <a:lnTo>
                    <a:pt x="28" y="119"/>
                  </a:lnTo>
                  <a:lnTo>
                    <a:pt x="28" y="116"/>
                  </a:lnTo>
                  <a:lnTo>
                    <a:pt x="28" y="114"/>
                  </a:lnTo>
                  <a:lnTo>
                    <a:pt x="31" y="114"/>
                  </a:lnTo>
                  <a:lnTo>
                    <a:pt x="33" y="116"/>
                  </a:lnTo>
                  <a:lnTo>
                    <a:pt x="34" y="116"/>
                  </a:lnTo>
                  <a:lnTo>
                    <a:pt x="35" y="114"/>
                  </a:lnTo>
                  <a:lnTo>
                    <a:pt x="35" y="110"/>
                  </a:lnTo>
                  <a:lnTo>
                    <a:pt x="35" y="109"/>
                  </a:lnTo>
                  <a:lnTo>
                    <a:pt x="35" y="104"/>
                  </a:lnTo>
                  <a:lnTo>
                    <a:pt x="35" y="100"/>
                  </a:lnTo>
                  <a:lnTo>
                    <a:pt x="33" y="97"/>
                  </a:lnTo>
                  <a:lnTo>
                    <a:pt x="35" y="95"/>
                  </a:lnTo>
                  <a:lnTo>
                    <a:pt x="35" y="94"/>
                  </a:lnTo>
                  <a:lnTo>
                    <a:pt x="35" y="91"/>
                  </a:lnTo>
                  <a:lnTo>
                    <a:pt x="34" y="89"/>
                  </a:lnTo>
                  <a:lnTo>
                    <a:pt x="31" y="86"/>
                  </a:lnTo>
                  <a:lnTo>
                    <a:pt x="31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3" y="91"/>
                  </a:lnTo>
                  <a:lnTo>
                    <a:pt x="20" y="91"/>
                  </a:lnTo>
                  <a:lnTo>
                    <a:pt x="18" y="89"/>
                  </a:lnTo>
                  <a:lnTo>
                    <a:pt x="18" y="91"/>
                  </a:lnTo>
                  <a:lnTo>
                    <a:pt x="18" y="94"/>
                  </a:lnTo>
                  <a:lnTo>
                    <a:pt x="19" y="95"/>
                  </a:lnTo>
                  <a:lnTo>
                    <a:pt x="20" y="97"/>
                  </a:lnTo>
                  <a:lnTo>
                    <a:pt x="22" y="98"/>
                  </a:lnTo>
                  <a:lnTo>
                    <a:pt x="22" y="101"/>
                  </a:lnTo>
                  <a:lnTo>
                    <a:pt x="20" y="104"/>
                  </a:lnTo>
                  <a:lnTo>
                    <a:pt x="20" y="105"/>
                  </a:lnTo>
                  <a:lnTo>
                    <a:pt x="23" y="105"/>
                  </a:lnTo>
                  <a:lnTo>
                    <a:pt x="23" y="105"/>
                  </a:lnTo>
                  <a:lnTo>
                    <a:pt x="22" y="108"/>
                  </a:lnTo>
                  <a:lnTo>
                    <a:pt x="20" y="112"/>
                  </a:lnTo>
                  <a:lnTo>
                    <a:pt x="22" y="113"/>
                  </a:lnTo>
                  <a:lnTo>
                    <a:pt x="23" y="117"/>
                  </a:lnTo>
                  <a:lnTo>
                    <a:pt x="24" y="120"/>
                  </a:lnTo>
                  <a:lnTo>
                    <a:pt x="24" y="120"/>
                  </a:lnTo>
                  <a:close/>
                  <a:moveTo>
                    <a:pt x="98" y="150"/>
                  </a:moveTo>
                  <a:lnTo>
                    <a:pt x="98" y="147"/>
                  </a:lnTo>
                  <a:lnTo>
                    <a:pt x="99" y="146"/>
                  </a:lnTo>
                  <a:lnTo>
                    <a:pt x="99" y="143"/>
                  </a:lnTo>
                  <a:lnTo>
                    <a:pt x="96" y="140"/>
                  </a:lnTo>
                  <a:lnTo>
                    <a:pt x="99" y="135"/>
                  </a:lnTo>
                  <a:lnTo>
                    <a:pt x="102" y="132"/>
                  </a:lnTo>
                  <a:lnTo>
                    <a:pt x="102" y="129"/>
                  </a:lnTo>
                  <a:lnTo>
                    <a:pt x="101" y="128"/>
                  </a:lnTo>
                  <a:lnTo>
                    <a:pt x="96" y="131"/>
                  </a:lnTo>
                  <a:lnTo>
                    <a:pt x="95" y="131"/>
                  </a:lnTo>
                  <a:lnTo>
                    <a:pt x="94" y="129"/>
                  </a:lnTo>
                  <a:lnTo>
                    <a:pt x="91" y="132"/>
                  </a:lnTo>
                  <a:lnTo>
                    <a:pt x="86" y="131"/>
                  </a:lnTo>
                  <a:lnTo>
                    <a:pt x="82" y="132"/>
                  </a:lnTo>
                  <a:lnTo>
                    <a:pt x="77" y="132"/>
                  </a:lnTo>
                  <a:lnTo>
                    <a:pt x="76" y="131"/>
                  </a:lnTo>
                  <a:lnTo>
                    <a:pt x="73" y="131"/>
                  </a:lnTo>
                  <a:lnTo>
                    <a:pt x="72" y="132"/>
                  </a:lnTo>
                  <a:lnTo>
                    <a:pt x="71" y="131"/>
                  </a:lnTo>
                  <a:lnTo>
                    <a:pt x="68" y="132"/>
                  </a:lnTo>
                  <a:lnTo>
                    <a:pt x="68" y="136"/>
                  </a:lnTo>
                  <a:lnTo>
                    <a:pt x="71" y="138"/>
                  </a:lnTo>
                  <a:lnTo>
                    <a:pt x="73" y="138"/>
                  </a:lnTo>
                  <a:lnTo>
                    <a:pt x="77" y="140"/>
                  </a:lnTo>
                  <a:lnTo>
                    <a:pt x="80" y="142"/>
                  </a:lnTo>
                  <a:lnTo>
                    <a:pt x="82" y="143"/>
                  </a:lnTo>
                  <a:lnTo>
                    <a:pt x="87" y="146"/>
                  </a:lnTo>
                  <a:lnTo>
                    <a:pt x="88" y="144"/>
                  </a:lnTo>
                  <a:lnTo>
                    <a:pt x="90" y="147"/>
                  </a:lnTo>
                  <a:lnTo>
                    <a:pt x="91" y="148"/>
                  </a:lnTo>
                  <a:lnTo>
                    <a:pt x="96" y="151"/>
                  </a:lnTo>
                  <a:lnTo>
                    <a:pt x="98" y="150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6" name="Freeform 66"/>
            <p:cNvSpPr>
              <a:spLocks/>
            </p:cNvSpPr>
            <p:nvPr/>
          </p:nvSpPr>
          <p:spPr bwMode="auto">
            <a:xfrm>
              <a:off x="1869" y="1449"/>
              <a:ext cx="132" cy="110"/>
            </a:xfrm>
            <a:custGeom>
              <a:avLst/>
              <a:gdLst>
                <a:gd name="T0" fmla="*/ 85 w 132"/>
                <a:gd name="T1" fmla="*/ 8 h 110"/>
                <a:gd name="T2" fmla="*/ 86 w 132"/>
                <a:gd name="T3" fmla="*/ 12 h 110"/>
                <a:gd name="T4" fmla="*/ 96 w 132"/>
                <a:gd name="T5" fmla="*/ 16 h 110"/>
                <a:gd name="T6" fmla="*/ 104 w 132"/>
                <a:gd name="T7" fmla="*/ 18 h 110"/>
                <a:gd name="T8" fmla="*/ 113 w 132"/>
                <a:gd name="T9" fmla="*/ 16 h 110"/>
                <a:gd name="T10" fmla="*/ 121 w 132"/>
                <a:gd name="T11" fmla="*/ 19 h 110"/>
                <a:gd name="T12" fmla="*/ 132 w 132"/>
                <a:gd name="T13" fmla="*/ 22 h 110"/>
                <a:gd name="T14" fmla="*/ 131 w 132"/>
                <a:gd name="T15" fmla="*/ 27 h 110"/>
                <a:gd name="T16" fmla="*/ 125 w 132"/>
                <a:gd name="T17" fmla="*/ 35 h 110"/>
                <a:gd name="T18" fmla="*/ 124 w 132"/>
                <a:gd name="T19" fmla="*/ 38 h 110"/>
                <a:gd name="T20" fmla="*/ 112 w 132"/>
                <a:gd name="T21" fmla="*/ 41 h 110"/>
                <a:gd name="T22" fmla="*/ 110 w 132"/>
                <a:gd name="T23" fmla="*/ 46 h 110"/>
                <a:gd name="T24" fmla="*/ 109 w 132"/>
                <a:gd name="T25" fmla="*/ 46 h 110"/>
                <a:gd name="T26" fmla="*/ 102 w 132"/>
                <a:gd name="T27" fmla="*/ 53 h 110"/>
                <a:gd name="T28" fmla="*/ 98 w 132"/>
                <a:gd name="T29" fmla="*/ 65 h 110"/>
                <a:gd name="T30" fmla="*/ 104 w 132"/>
                <a:gd name="T31" fmla="*/ 73 h 110"/>
                <a:gd name="T32" fmla="*/ 97 w 132"/>
                <a:gd name="T33" fmla="*/ 79 h 110"/>
                <a:gd name="T34" fmla="*/ 94 w 132"/>
                <a:gd name="T35" fmla="*/ 88 h 110"/>
                <a:gd name="T36" fmla="*/ 82 w 132"/>
                <a:gd name="T37" fmla="*/ 94 h 110"/>
                <a:gd name="T38" fmla="*/ 76 w 132"/>
                <a:gd name="T39" fmla="*/ 99 h 110"/>
                <a:gd name="T40" fmla="*/ 71 w 132"/>
                <a:gd name="T41" fmla="*/ 100 h 110"/>
                <a:gd name="T42" fmla="*/ 66 w 132"/>
                <a:gd name="T43" fmla="*/ 100 h 110"/>
                <a:gd name="T44" fmla="*/ 56 w 132"/>
                <a:gd name="T45" fmla="*/ 99 h 110"/>
                <a:gd name="T46" fmla="*/ 44 w 132"/>
                <a:gd name="T47" fmla="*/ 105 h 110"/>
                <a:gd name="T48" fmla="*/ 38 w 132"/>
                <a:gd name="T49" fmla="*/ 110 h 110"/>
                <a:gd name="T50" fmla="*/ 29 w 132"/>
                <a:gd name="T51" fmla="*/ 100 h 110"/>
                <a:gd name="T52" fmla="*/ 21 w 132"/>
                <a:gd name="T53" fmla="*/ 94 h 110"/>
                <a:gd name="T54" fmla="*/ 18 w 132"/>
                <a:gd name="T55" fmla="*/ 88 h 110"/>
                <a:gd name="T56" fmla="*/ 23 w 132"/>
                <a:gd name="T57" fmla="*/ 79 h 110"/>
                <a:gd name="T58" fmla="*/ 23 w 132"/>
                <a:gd name="T59" fmla="*/ 72 h 110"/>
                <a:gd name="T60" fmla="*/ 17 w 132"/>
                <a:gd name="T61" fmla="*/ 60 h 110"/>
                <a:gd name="T62" fmla="*/ 25 w 132"/>
                <a:gd name="T63" fmla="*/ 54 h 110"/>
                <a:gd name="T64" fmla="*/ 26 w 132"/>
                <a:gd name="T65" fmla="*/ 42 h 110"/>
                <a:gd name="T66" fmla="*/ 32 w 132"/>
                <a:gd name="T67" fmla="*/ 35 h 110"/>
                <a:gd name="T68" fmla="*/ 29 w 132"/>
                <a:gd name="T69" fmla="*/ 27 h 110"/>
                <a:gd name="T70" fmla="*/ 15 w 132"/>
                <a:gd name="T71" fmla="*/ 27 h 110"/>
                <a:gd name="T72" fmla="*/ 11 w 132"/>
                <a:gd name="T73" fmla="*/ 24 h 110"/>
                <a:gd name="T74" fmla="*/ 3 w 132"/>
                <a:gd name="T75" fmla="*/ 24 h 110"/>
                <a:gd name="T76" fmla="*/ 6 w 132"/>
                <a:gd name="T77" fmla="*/ 20 h 110"/>
                <a:gd name="T78" fmla="*/ 3 w 132"/>
                <a:gd name="T79" fmla="*/ 19 h 110"/>
                <a:gd name="T80" fmla="*/ 2 w 132"/>
                <a:gd name="T81" fmla="*/ 15 h 110"/>
                <a:gd name="T82" fmla="*/ 0 w 132"/>
                <a:gd name="T83" fmla="*/ 11 h 110"/>
                <a:gd name="T84" fmla="*/ 7 w 132"/>
                <a:gd name="T85" fmla="*/ 8 h 110"/>
                <a:gd name="T86" fmla="*/ 11 w 132"/>
                <a:gd name="T87" fmla="*/ 5 h 110"/>
                <a:gd name="T88" fmla="*/ 15 w 132"/>
                <a:gd name="T89" fmla="*/ 1 h 110"/>
                <a:gd name="T90" fmla="*/ 22 w 132"/>
                <a:gd name="T91" fmla="*/ 4 h 110"/>
                <a:gd name="T92" fmla="*/ 30 w 132"/>
                <a:gd name="T93" fmla="*/ 4 h 110"/>
                <a:gd name="T94" fmla="*/ 37 w 132"/>
                <a:gd name="T95" fmla="*/ 3 h 110"/>
                <a:gd name="T96" fmla="*/ 52 w 132"/>
                <a:gd name="T97" fmla="*/ 7 h 110"/>
                <a:gd name="T98" fmla="*/ 63 w 132"/>
                <a:gd name="T99" fmla="*/ 7 h 110"/>
                <a:gd name="T100" fmla="*/ 71 w 132"/>
                <a:gd name="T101" fmla="*/ 5 h 110"/>
                <a:gd name="T102" fmla="*/ 81 w 132"/>
                <a:gd name="T103" fmla="*/ 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2" h="110">
                  <a:moveTo>
                    <a:pt x="82" y="5"/>
                  </a:moveTo>
                  <a:lnTo>
                    <a:pt x="83" y="7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6" y="12"/>
                  </a:lnTo>
                  <a:lnTo>
                    <a:pt x="89" y="12"/>
                  </a:lnTo>
                  <a:lnTo>
                    <a:pt x="94" y="13"/>
                  </a:lnTo>
                  <a:lnTo>
                    <a:pt x="96" y="16"/>
                  </a:lnTo>
                  <a:lnTo>
                    <a:pt x="98" y="15"/>
                  </a:lnTo>
                  <a:lnTo>
                    <a:pt x="101" y="18"/>
                  </a:lnTo>
                  <a:lnTo>
                    <a:pt x="104" y="18"/>
                  </a:lnTo>
                  <a:lnTo>
                    <a:pt x="105" y="19"/>
                  </a:lnTo>
                  <a:lnTo>
                    <a:pt x="108" y="16"/>
                  </a:lnTo>
                  <a:lnTo>
                    <a:pt x="113" y="16"/>
                  </a:lnTo>
                  <a:lnTo>
                    <a:pt x="115" y="18"/>
                  </a:lnTo>
                  <a:lnTo>
                    <a:pt x="119" y="16"/>
                  </a:lnTo>
                  <a:lnTo>
                    <a:pt x="121" y="19"/>
                  </a:lnTo>
                  <a:lnTo>
                    <a:pt x="127" y="18"/>
                  </a:lnTo>
                  <a:lnTo>
                    <a:pt x="131" y="20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1" y="23"/>
                  </a:lnTo>
                  <a:lnTo>
                    <a:pt x="131" y="27"/>
                  </a:lnTo>
                  <a:lnTo>
                    <a:pt x="131" y="30"/>
                  </a:lnTo>
                  <a:lnTo>
                    <a:pt x="129" y="32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0" y="39"/>
                  </a:lnTo>
                  <a:lnTo>
                    <a:pt x="115" y="39"/>
                  </a:lnTo>
                  <a:lnTo>
                    <a:pt x="112" y="41"/>
                  </a:lnTo>
                  <a:lnTo>
                    <a:pt x="109" y="42"/>
                  </a:lnTo>
                  <a:lnTo>
                    <a:pt x="110" y="43"/>
                  </a:lnTo>
                  <a:lnTo>
                    <a:pt x="110" y="46"/>
                  </a:lnTo>
                  <a:lnTo>
                    <a:pt x="109" y="47"/>
                  </a:lnTo>
                  <a:lnTo>
                    <a:pt x="108" y="47"/>
                  </a:lnTo>
                  <a:lnTo>
                    <a:pt x="109" y="46"/>
                  </a:lnTo>
                  <a:lnTo>
                    <a:pt x="108" y="46"/>
                  </a:lnTo>
                  <a:lnTo>
                    <a:pt x="104" y="52"/>
                  </a:lnTo>
                  <a:lnTo>
                    <a:pt x="102" y="53"/>
                  </a:lnTo>
                  <a:lnTo>
                    <a:pt x="97" y="61"/>
                  </a:lnTo>
                  <a:lnTo>
                    <a:pt x="96" y="62"/>
                  </a:lnTo>
                  <a:lnTo>
                    <a:pt x="98" y="65"/>
                  </a:lnTo>
                  <a:lnTo>
                    <a:pt x="98" y="68"/>
                  </a:lnTo>
                  <a:lnTo>
                    <a:pt x="100" y="69"/>
                  </a:lnTo>
                  <a:lnTo>
                    <a:pt x="104" y="73"/>
                  </a:lnTo>
                  <a:lnTo>
                    <a:pt x="101" y="75"/>
                  </a:lnTo>
                  <a:lnTo>
                    <a:pt x="97" y="76"/>
                  </a:lnTo>
                  <a:lnTo>
                    <a:pt x="97" y="79"/>
                  </a:lnTo>
                  <a:lnTo>
                    <a:pt x="93" y="84"/>
                  </a:lnTo>
                  <a:lnTo>
                    <a:pt x="93" y="88"/>
                  </a:lnTo>
                  <a:lnTo>
                    <a:pt x="94" y="88"/>
                  </a:lnTo>
                  <a:lnTo>
                    <a:pt x="93" y="90"/>
                  </a:lnTo>
                  <a:lnTo>
                    <a:pt x="89" y="91"/>
                  </a:lnTo>
                  <a:lnTo>
                    <a:pt x="82" y="94"/>
                  </a:lnTo>
                  <a:lnTo>
                    <a:pt x="82" y="96"/>
                  </a:lnTo>
                  <a:lnTo>
                    <a:pt x="79" y="100"/>
                  </a:lnTo>
                  <a:lnTo>
                    <a:pt x="76" y="99"/>
                  </a:lnTo>
                  <a:lnTo>
                    <a:pt x="74" y="98"/>
                  </a:lnTo>
                  <a:lnTo>
                    <a:pt x="72" y="99"/>
                  </a:lnTo>
                  <a:lnTo>
                    <a:pt x="71" y="100"/>
                  </a:lnTo>
                  <a:lnTo>
                    <a:pt x="70" y="99"/>
                  </a:lnTo>
                  <a:lnTo>
                    <a:pt x="67" y="99"/>
                  </a:lnTo>
                  <a:lnTo>
                    <a:pt x="66" y="100"/>
                  </a:lnTo>
                  <a:lnTo>
                    <a:pt x="63" y="100"/>
                  </a:lnTo>
                  <a:lnTo>
                    <a:pt x="59" y="99"/>
                  </a:lnTo>
                  <a:lnTo>
                    <a:pt x="56" y="99"/>
                  </a:lnTo>
                  <a:lnTo>
                    <a:pt x="52" y="100"/>
                  </a:lnTo>
                  <a:lnTo>
                    <a:pt x="48" y="105"/>
                  </a:lnTo>
                  <a:lnTo>
                    <a:pt x="44" y="105"/>
                  </a:lnTo>
                  <a:lnTo>
                    <a:pt x="42" y="106"/>
                  </a:lnTo>
                  <a:lnTo>
                    <a:pt x="42" y="107"/>
                  </a:lnTo>
                  <a:lnTo>
                    <a:pt x="38" y="110"/>
                  </a:lnTo>
                  <a:lnTo>
                    <a:pt x="36" y="109"/>
                  </a:lnTo>
                  <a:lnTo>
                    <a:pt x="32" y="106"/>
                  </a:lnTo>
                  <a:lnTo>
                    <a:pt x="29" y="100"/>
                  </a:lnTo>
                  <a:lnTo>
                    <a:pt x="29" y="99"/>
                  </a:lnTo>
                  <a:lnTo>
                    <a:pt x="25" y="95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9" y="91"/>
                  </a:lnTo>
                  <a:lnTo>
                    <a:pt x="18" y="88"/>
                  </a:lnTo>
                  <a:lnTo>
                    <a:pt x="21" y="83"/>
                  </a:lnTo>
                  <a:lnTo>
                    <a:pt x="23" y="80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19" y="75"/>
                  </a:lnTo>
                  <a:lnTo>
                    <a:pt x="23" y="72"/>
                  </a:lnTo>
                  <a:lnTo>
                    <a:pt x="23" y="66"/>
                  </a:lnTo>
                  <a:lnTo>
                    <a:pt x="21" y="65"/>
                  </a:lnTo>
                  <a:lnTo>
                    <a:pt x="17" y="60"/>
                  </a:lnTo>
                  <a:lnTo>
                    <a:pt x="19" y="58"/>
                  </a:lnTo>
                  <a:lnTo>
                    <a:pt x="22" y="58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6" y="50"/>
                  </a:lnTo>
                  <a:lnTo>
                    <a:pt x="26" y="42"/>
                  </a:lnTo>
                  <a:lnTo>
                    <a:pt x="25" y="39"/>
                  </a:lnTo>
                  <a:lnTo>
                    <a:pt x="30" y="35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0" y="30"/>
                  </a:lnTo>
                  <a:lnTo>
                    <a:pt x="29" y="27"/>
                  </a:lnTo>
                  <a:lnTo>
                    <a:pt x="23" y="26"/>
                  </a:lnTo>
                  <a:lnTo>
                    <a:pt x="22" y="28"/>
                  </a:lnTo>
                  <a:lnTo>
                    <a:pt x="15" y="27"/>
                  </a:lnTo>
                  <a:lnTo>
                    <a:pt x="11" y="28"/>
                  </a:lnTo>
                  <a:lnTo>
                    <a:pt x="10" y="27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20"/>
                  </a:lnTo>
                  <a:lnTo>
                    <a:pt x="4" y="19"/>
                  </a:lnTo>
                  <a:lnTo>
                    <a:pt x="6" y="16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6" y="7"/>
                  </a:lnTo>
                  <a:lnTo>
                    <a:pt x="7" y="8"/>
                  </a:lnTo>
                  <a:lnTo>
                    <a:pt x="11" y="7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7" y="0"/>
                  </a:lnTo>
                  <a:lnTo>
                    <a:pt x="21" y="1"/>
                  </a:lnTo>
                  <a:lnTo>
                    <a:pt x="22" y="4"/>
                  </a:lnTo>
                  <a:lnTo>
                    <a:pt x="25" y="3"/>
                  </a:lnTo>
                  <a:lnTo>
                    <a:pt x="28" y="3"/>
                  </a:lnTo>
                  <a:lnTo>
                    <a:pt x="30" y="4"/>
                  </a:lnTo>
                  <a:lnTo>
                    <a:pt x="33" y="3"/>
                  </a:lnTo>
                  <a:lnTo>
                    <a:pt x="37" y="1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9" y="5"/>
                  </a:lnTo>
                  <a:lnTo>
                    <a:pt x="52" y="7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7"/>
                  </a:lnTo>
                  <a:lnTo>
                    <a:pt x="67" y="7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8" y="8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2" y="5"/>
                  </a:lnTo>
                  <a:lnTo>
                    <a:pt x="82" y="5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7" name="Freeform 67"/>
            <p:cNvSpPr>
              <a:spLocks/>
            </p:cNvSpPr>
            <p:nvPr/>
          </p:nvSpPr>
          <p:spPr bwMode="auto">
            <a:xfrm>
              <a:off x="1865" y="1473"/>
              <a:ext cx="36" cy="72"/>
            </a:xfrm>
            <a:custGeom>
              <a:avLst/>
              <a:gdLst>
                <a:gd name="T0" fmla="*/ 23 w 36"/>
                <a:gd name="T1" fmla="*/ 67 h 72"/>
                <a:gd name="T2" fmla="*/ 25 w 36"/>
                <a:gd name="T3" fmla="*/ 59 h 72"/>
                <a:gd name="T4" fmla="*/ 27 w 36"/>
                <a:gd name="T5" fmla="*/ 55 h 72"/>
                <a:gd name="T6" fmla="*/ 23 w 36"/>
                <a:gd name="T7" fmla="*/ 51 h 72"/>
                <a:gd name="T8" fmla="*/ 27 w 36"/>
                <a:gd name="T9" fmla="*/ 42 h 72"/>
                <a:gd name="T10" fmla="*/ 21 w 36"/>
                <a:gd name="T11" fmla="*/ 36 h 72"/>
                <a:gd name="T12" fmla="*/ 26 w 36"/>
                <a:gd name="T13" fmla="*/ 34 h 72"/>
                <a:gd name="T14" fmla="*/ 27 w 36"/>
                <a:gd name="T15" fmla="*/ 29 h 72"/>
                <a:gd name="T16" fmla="*/ 30 w 36"/>
                <a:gd name="T17" fmla="*/ 18 h 72"/>
                <a:gd name="T18" fmla="*/ 34 w 36"/>
                <a:gd name="T19" fmla="*/ 11 h 72"/>
                <a:gd name="T20" fmla="*/ 36 w 36"/>
                <a:gd name="T21" fmla="*/ 8 h 72"/>
                <a:gd name="T22" fmla="*/ 33 w 36"/>
                <a:gd name="T23" fmla="*/ 3 h 72"/>
                <a:gd name="T24" fmla="*/ 26 w 36"/>
                <a:gd name="T25" fmla="*/ 4 h 72"/>
                <a:gd name="T26" fmla="*/ 15 w 36"/>
                <a:gd name="T27" fmla="*/ 4 h 72"/>
                <a:gd name="T28" fmla="*/ 15 w 36"/>
                <a:gd name="T29" fmla="*/ 0 h 72"/>
                <a:gd name="T30" fmla="*/ 7 w 36"/>
                <a:gd name="T31" fmla="*/ 0 h 72"/>
                <a:gd name="T32" fmla="*/ 10 w 36"/>
                <a:gd name="T33" fmla="*/ 7 h 72"/>
                <a:gd name="T34" fmla="*/ 10 w 36"/>
                <a:gd name="T35" fmla="*/ 15 h 72"/>
                <a:gd name="T36" fmla="*/ 10 w 36"/>
                <a:gd name="T37" fmla="*/ 21 h 72"/>
                <a:gd name="T38" fmla="*/ 7 w 36"/>
                <a:gd name="T39" fmla="*/ 26 h 72"/>
                <a:gd name="T40" fmla="*/ 4 w 36"/>
                <a:gd name="T41" fmla="*/ 33 h 72"/>
                <a:gd name="T42" fmla="*/ 2 w 36"/>
                <a:gd name="T43" fmla="*/ 40 h 72"/>
                <a:gd name="T44" fmla="*/ 0 w 36"/>
                <a:gd name="T45" fmla="*/ 48 h 72"/>
                <a:gd name="T46" fmla="*/ 3 w 36"/>
                <a:gd name="T47" fmla="*/ 47 h 72"/>
                <a:gd name="T48" fmla="*/ 6 w 36"/>
                <a:gd name="T49" fmla="*/ 47 h 72"/>
                <a:gd name="T50" fmla="*/ 3 w 36"/>
                <a:gd name="T51" fmla="*/ 49 h 72"/>
                <a:gd name="T52" fmla="*/ 3 w 36"/>
                <a:gd name="T53" fmla="*/ 53 h 72"/>
                <a:gd name="T54" fmla="*/ 8 w 36"/>
                <a:gd name="T55" fmla="*/ 52 h 72"/>
                <a:gd name="T56" fmla="*/ 8 w 36"/>
                <a:gd name="T57" fmla="*/ 56 h 72"/>
                <a:gd name="T58" fmla="*/ 7 w 36"/>
                <a:gd name="T59" fmla="*/ 66 h 72"/>
                <a:gd name="T60" fmla="*/ 4 w 36"/>
                <a:gd name="T61" fmla="*/ 71 h 72"/>
                <a:gd name="T62" fmla="*/ 10 w 36"/>
                <a:gd name="T63" fmla="*/ 70 h 72"/>
                <a:gd name="T64" fmla="*/ 17 w 36"/>
                <a:gd name="T65" fmla="*/ 72 h 72"/>
                <a:gd name="T66" fmla="*/ 23 w 36"/>
                <a:gd name="T67" fmla="*/ 71 h 72"/>
                <a:gd name="T68" fmla="*/ 23 w 36"/>
                <a:gd name="T69" fmla="*/ 7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72">
                  <a:moveTo>
                    <a:pt x="23" y="70"/>
                  </a:moveTo>
                  <a:lnTo>
                    <a:pt x="23" y="67"/>
                  </a:lnTo>
                  <a:lnTo>
                    <a:pt x="22" y="64"/>
                  </a:lnTo>
                  <a:lnTo>
                    <a:pt x="25" y="59"/>
                  </a:lnTo>
                  <a:lnTo>
                    <a:pt x="27" y="56"/>
                  </a:lnTo>
                  <a:lnTo>
                    <a:pt x="27" y="55"/>
                  </a:lnTo>
                  <a:lnTo>
                    <a:pt x="25" y="55"/>
                  </a:lnTo>
                  <a:lnTo>
                    <a:pt x="23" y="51"/>
                  </a:lnTo>
                  <a:lnTo>
                    <a:pt x="27" y="48"/>
                  </a:lnTo>
                  <a:lnTo>
                    <a:pt x="27" y="42"/>
                  </a:lnTo>
                  <a:lnTo>
                    <a:pt x="25" y="41"/>
                  </a:lnTo>
                  <a:lnTo>
                    <a:pt x="21" y="36"/>
                  </a:lnTo>
                  <a:lnTo>
                    <a:pt x="23" y="34"/>
                  </a:lnTo>
                  <a:lnTo>
                    <a:pt x="26" y="34"/>
                  </a:lnTo>
                  <a:lnTo>
                    <a:pt x="29" y="30"/>
                  </a:lnTo>
                  <a:lnTo>
                    <a:pt x="27" y="29"/>
                  </a:lnTo>
                  <a:lnTo>
                    <a:pt x="30" y="26"/>
                  </a:lnTo>
                  <a:lnTo>
                    <a:pt x="30" y="18"/>
                  </a:lnTo>
                  <a:lnTo>
                    <a:pt x="29" y="15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8"/>
                  </a:lnTo>
                  <a:lnTo>
                    <a:pt x="34" y="6"/>
                  </a:lnTo>
                  <a:lnTo>
                    <a:pt x="33" y="3"/>
                  </a:lnTo>
                  <a:lnTo>
                    <a:pt x="27" y="2"/>
                  </a:lnTo>
                  <a:lnTo>
                    <a:pt x="26" y="4"/>
                  </a:lnTo>
                  <a:lnTo>
                    <a:pt x="19" y="3"/>
                  </a:lnTo>
                  <a:lnTo>
                    <a:pt x="15" y="4"/>
                  </a:lnTo>
                  <a:lnTo>
                    <a:pt x="14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7" y="0"/>
                  </a:lnTo>
                  <a:lnTo>
                    <a:pt x="8" y="3"/>
                  </a:lnTo>
                  <a:lnTo>
                    <a:pt x="10" y="7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8" y="19"/>
                  </a:lnTo>
                  <a:lnTo>
                    <a:pt x="10" y="21"/>
                  </a:lnTo>
                  <a:lnTo>
                    <a:pt x="8" y="22"/>
                  </a:lnTo>
                  <a:lnTo>
                    <a:pt x="7" y="26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4" y="36"/>
                  </a:lnTo>
                  <a:lnTo>
                    <a:pt x="2" y="40"/>
                  </a:lnTo>
                  <a:lnTo>
                    <a:pt x="0" y="47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3" y="47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3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7" y="53"/>
                  </a:lnTo>
                  <a:lnTo>
                    <a:pt x="8" y="56"/>
                  </a:lnTo>
                  <a:lnTo>
                    <a:pt x="7" y="59"/>
                  </a:lnTo>
                  <a:lnTo>
                    <a:pt x="7" y="66"/>
                  </a:lnTo>
                  <a:lnTo>
                    <a:pt x="6" y="70"/>
                  </a:lnTo>
                  <a:lnTo>
                    <a:pt x="4" y="71"/>
                  </a:lnTo>
                  <a:lnTo>
                    <a:pt x="6" y="72"/>
                  </a:lnTo>
                  <a:lnTo>
                    <a:pt x="10" y="70"/>
                  </a:lnTo>
                  <a:lnTo>
                    <a:pt x="14" y="71"/>
                  </a:lnTo>
                  <a:lnTo>
                    <a:pt x="17" y="72"/>
                  </a:lnTo>
                  <a:lnTo>
                    <a:pt x="19" y="71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3" y="70"/>
                  </a:lnTo>
                  <a:close/>
                </a:path>
              </a:pathLst>
            </a:custGeom>
            <a:solidFill>
              <a:srgbClr val="007EA6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8" name="Freeform 68"/>
            <p:cNvSpPr>
              <a:spLocks/>
            </p:cNvSpPr>
            <p:nvPr/>
          </p:nvSpPr>
          <p:spPr bwMode="auto">
            <a:xfrm>
              <a:off x="2190" y="1476"/>
              <a:ext cx="72" cy="79"/>
            </a:xfrm>
            <a:custGeom>
              <a:avLst/>
              <a:gdLst>
                <a:gd name="T0" fmla="*/ 65 w 72"/>
                <a:gd name="T1" fmla="*/ 1 h 79"/>
                <a:gd name="T2" fmla="*/ 65 w 72"/>
                <a:gd name="T3" fmla="*/ 8 h 79"/>
                <a:gd name="T4" fmla="*/ 56 w 72"/>
                <a:gd name="T5" fmla="*/ 7 h 79"/>
                <a:gd name="T6" fmla="*/ 49 w 72"/>
                <a:gd name="T7" fmla="*/ 8 h 79"/>
                <a:gd name="T8" fmla="*/ 44 w 72"/>
                <a:gd name="T9" fmla="*/ 7 h 79"/>
                <a:gd name="T10" fmla="*/ 34 w 72"/>
                <a:gd name="T11" fmla="*/ 8 h 79"/>
                <a:gd name="T12" fmla="*/ 30 w 72"/>
                <a:gd name="T13" fmla="*/ 10 h 79"/>
                <a:gd name="T14" fmla="*/ 19 w 72"/>
                <a:gd name="T15" fmla="*/ 12 h 79"/>
                <a:gd name="T16" fmla="*/ 11 w 72"/>
                <a:gd name="T17" fmla="*/ 18 h 79"/>
                <a:gd name="T18" fmla="*/ 4 w 72"/>
                <a:gd name="T19" fmla="*/ 26 h 79"/>
                <a:gd name="T20" fmla="*/ 0 w 72"/>
                <a:gd name="T21" fmla="*/ 33 h 79"/>
                <a:gd name="T22" fmla="*/ 6 w 72"/>
                <a:gd name="T23" fmla="*/ 39 h 79"/>
                <a:gd name="T24" fmla="*/ 8 w 72"/>
                <a:gd name="T25" fmla="*/ 44 h 79"/>
                <a:gd name="T26" fmla="*/ 14 w 72"/>
                <a:gd name="T27" fmla="*/ 53 h 79"/>
                <a:gd name="T28" fmla="*/ 21 w 72"/>
                <a:gd name="T29" fmla="*/ 53 h 79"/>
                <a:gd name="T30" fmla="*/ 26 w 72"/>
                <a:gd name="T31" fmla="*/ 53 h 79"/>
                <a:gd name="T32" fmla="*/ 30 w 72"/>
                <a:gd name="T33" fmla="*/ 53 h 79"/>
                <a:gd name="T34" fmla="*/ 33 w 72"/>
                <a:gd name="T35" fmla="*/ 56 h 79"/>
                <a:gd name="T36" fmla="*/ 27 w 72"/>
                <a:gd name="T37" fmla="*/ 56 h 79"/>
                <a:gd name="T38" fmla="*/ 18 w 72"/>
                <a:gd name="T39" fmla="*/ 54 h 79"/>
                <a:gd name="T40" fmla="*/ 14 w 72"/>
                <a:gd name="T41" fmla="*/ 56 h 79"/>
                <a:gd name="T42" fmla="*/ 18 w 72"/>
                <a:gd name="T43" fmla="*/ 63 h 79"/>
                <a:gd name="T44" fmla="*/ 19 w 72"/>
                <a:gd name="T45" fmla="*/ 68 h 79"/>
                <a:gd name="T46" fmla="*/ 23 w 72"/>
                <a:gd name="T47" fmla="*/ 73 h 79"/>
                <a:gd name="T48" fmla="*/ 25 w 72"/>
                <a:gd name="T49" fmla="*/ 69 h 79"/>
                <a:gd name="T50" fmla="*/ 29 w 72"/>
                <a:gd name="T51" fmla="*/ 75 h 79"/>
                <a:gd name="T52" fmla="*/ 30 w 72"/>
                <a:gd name="T53" fmla="*/ 75 h 79"/>
                <a:gd name="T54" fmla="*/ 34 w 72"/>
                <a:gd name="T55" fmla="*/ 75 h 79"/>
                <a:gd name="T56" fmla="*/ 36 w 72"/>
                <a:gd name="T57" fmla="*/ 73 h 79"/>
                <a:gd name="T58" fmla="*/ 32 w 72"/>
                <a:gd name="T59" fmla="*/ 64 h 79"/>
                <a:gd name="T60" fmla="*/ 36 w 72"/>
                <a:gd name="T61" fmla="*/ 65 h 79"/>
                <a:gd name="T62" fmla="*/ 37 w 72"/>
                <a:gd name="T63" fmla="*/ 65 h 79"/>
                <a:gd name="T64" fmla="*/ 38 w 72"/>
                <a:gd name="T65" fmla="*/ 64 h 79"/>
                <a:gd name="T66" fmla="*/ 36 w 72"/>
                <a:gd name="T67" fmla="*/ 63 h 79"/>
                <a:gd name="T68" fmla="*/ 36 w 72"/>
                <a:gd name="T69" fmla="*/ 59 h 79"/>
                <a:gd name="T70" fmla="*/ 42 w 72"/>
                <a:gd name="T71" fmla="*/ 60 h 79"/>
                <a:gd name="T72" fmla="*/ 45 w 72"/>
                <a:gd name="T73" fmla="*/ 60 h 79"/>
                <a:gd name="T74" fmla="*/ 44 w 72"/>
                <a:gd name="T75" fmla="*/ 52 h 79"/>
                <a:gd name="T76" fmla="*/ 36 w 72"/>
                <a:gd name="T77" fmla="*/ 48 h 79"/>
                <a:gd name="T78" fmla="*/ 30 w 72"/>
                <a:gd name="T79" fmla="*/ 46 h 79"/>
                <a:gd name="T80" fmla="*/ 32 w 72"/>
                <a:gd name="T81" fmla="*/ 42 h 79"/>
                <a:gd name="T82" fmla="*/ 32 w 72"/>
                <a:gd name="T83" fmla="*/ 38 h 79"/>
                <a:gd name="T84" fmla="*/ 34 w 72"/>
                <a:gd name="T85" fmla="*/ 38 h 79"/>
                <a:gd name="T86" fmla="*/ 36 w 72"/>
                <a:gd name="T87" fmla="*/ 41 h 79"/>
                <a:gd name="T88" fmla="*/ 30 w 72"/>
                <a:gd name="T89" fmla="*/ 33 h 79"/>
                <a:gd name="T90" fmla="*/ 26 w 72"/>
                <a:gd name="T91" fmla="*/ 27 h 79"/>
                <a:gd name="T92" fmla="*/ 29 w 72"/>
                <a:gd name="T93" fmla="*/ 19 h 79"/>
                <a:gd name="T94" fmla="*/ 30 w 72"/>
                <a:gd name="T95" fmla="*/ 20 h 79"/>
                <a:gd name="T96" fmla="*/ 34 w 72"/>
                <a:gd name="T97" fmla="*/ 26 h 79"/>
                <a:gd name="T98" fmla="*/ 37 w 72"/>
                <a:gd name="T99" fmla="*/ 27 h 79"/>
                <a:gd name="T100" fmla="*/ 40 w 72"/>
                <a:gd name="T101" fmla="*/ 25 h 79"/>
                <a:gd name="T102" fmla="*/ 44 w 72"/>
                <a:gd name="T103" fmla="*/ 26 h 79"/>
                <a:gd name="T104" fmla="*/ 40 w 72"/>
                <a:gd name="T105" fmla="*/ 23 h 79"/>
                <a:gd name="T106" fmla="*/ 46 w 72"/>
                <a:gd name="T107" fmla="*/ 23 h 79"/>
                <a:gd name="T108" fmla="*/ 40 w 72"/>
                <a:gd name="T109" fmla="*/ 18 h 79"/>
                <a:gd name="T110" fmla="*/ 45 w 72"/>
                <a:gd name="T111" fmla="*/ 16 h 79"/>
                <a:gd name="T112" fmla="*/ 51 w 72"/>
                <a:gd name="T113" fmla="*/ 15 h 79"/>
                <a:gd name="T114" fmla="*/ 55 w 72"/>
                <a:gd name="T115" fmla="*/ 12 h 79"/>
                <a:gd name="T116" fmla="*/ 61 w 72"/>
                <a:gd name="T117" fmla="*/ 14 h 79"/>
                <a:gd name="T118" fmla="*/ 70 w 72"/>
                <a:gd name="T119" fmla="*/ 11 h 79"/>
                <a:gd name="T120" fmla="*/ 72 w 72"/>
                <a:gd name="T121" fmla="*/ 4 h 79"/>
                <a:gd name="T122" fmla="*/ 70 w 72"/>
                <a:gd name="T123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" h="79">
                  <a:moveTo>
                    <a:pt x="70" y="0"/>
                  </a:moveTo>
                  <a:lnTo>
                    <a:pt x="68" y="0"/>
                  </a:lnTo>
                  <a:lnTo>
                    <a:pt x="65" y="1"/>
                  </a:lnTo>
                  <a:lnTo>
                    <a:pt x="65" y="4"/>
                  </a:lnTo>
                  <a:lnTo>
                    <a:pt x="67" y="7"/>
                  </a:lnTo>
                  <a:lnTo>
                    <a:pt x="65" y="8"/>
                  </a:lnTo>
                  <a:lnTo>
                    <a:pt x="60" y="8"/>
                  </a:lnTo>
                  <a:lnTo>
                    <a:pt x="57" y="8"/>
                  </a:lnTo>
                  <a:lnTo>
                    <a:pt x="56" y="7"/>
                  </a:lnTo>
                  <a:lnTo>
                    <a:pt x="53" y="7"/>
                  </a:lnTo>
                  <a:lnTo>
                    <a:pt x="52" y="8"/>
                  </a:lnTo>
                  <a:lnTo>
                    <a:pt x="49" y="8"/>
                  </a:lnTo>
                  <a:lnTo>
                    <a:pt x="49" y="7"/>
                  </a:lnTo>
                  <a:lnTo>
                    <a:pt x="46" y="7"/>
                  </a:lnTo>
                  <a:lnTo>
                    <a:pt x="44" y="7"/>
                  </a:lnTo>
                  <a:lnTo>
                    <a:pt x="41" y="8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3" y="8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27" y="11"/>
                  </a:lnTo>
                  <a:lnTo>
                    <a:pt x="21" y="11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5" y="15"/>
                  </a:lnTo>
                  <a:lnTo>
                    <a:pt x="11" y="18"/>
                  </a:lnTo>
                  <a:lnTo>
                    <a:pt x="10" y="20"/>
                  </a:lnTo>
                  <a:lnTo>
                    <a:pt x="8" y="25"/>
                  </a:lnTo>
                  <a:lnTo>
                    <a:pt x="4" y="26"/>
                  </a:lnTo>
                  <a:lnTo>
                    <a:pt x="3" y="29"/>
                  </a:lnTo>
                  <a:lnTo>
                    <a:pt x="2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6" y="39"/>
                  </a:lnTo>
                  <a:lnTo>
                    <a:pt x="7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1" y="49"/>
                  </a:lnTo>
                  <a:lnTo>
                    <a:pt x="12" y="52"/>
                  </a:lnTo>
                  <a:lnTo>
                    <a:pt x="14" y="53"/>
                  </a:lnTo>
                  <a:lnTo>
                    <a:pt x="15" y="50"/>
                  </a:lnTo>
                  <a:lnTo>
                    <a:pt x="18" y="53"/>
                  </a:lnTo>
                  <a:lnTo>
                    <a:pt x="21" y="53"/>
                  </a:lnTo>
                  <a:lnTo>
                    <a:pt x="22" y="50"/>
                  </a:lnTo>
                  <a:lnTo>
                    <a:pt x="23" y="52"/>
                  </a:lnTo>
                  <a:lnTo>
                    <a:pt x="26" y="53"/>
                  </a:lnTo>
                  <a:lnTo>
                    <a:pt x="29" y="52"/>
                  </a:lnTo>
                  <a:lnTo>
                    <a:pt x="29" y="53"/>
                  </a:lnTo>
                  <a:lnTo>
                    <a:pt x="30" y="53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3" y="56"/>
                  </a:lnTo>
                  <a:lnTo>
                    <a:pt x="30" y="57"/>
                  </a:lnTo>
                  <a:lnTo>
                    <a:pt x="29" y="56"/>
                  </a:lnTo>
                  <a:lnTo>
                    <a:pt x="27" y="56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18" y="54"/>
                  </a:lnTo>
                  <a:lnTo>
                    <a:pt x="17" y="53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2" y="59"/>
                  </a:lnTo>
                  <a:lnTo>
                    <a:pt x="15" y="61"/>
                  </a:lnTo>
                  <a:lnTo>
                    <a:pt x="18" y="63"/>
                  </a:lnTo>
                  <a:lnTo>
                    <a:pt x="21" y="64"/>
                  </a:lnTo>
                  <a:lnTo>
                    <a:pt x="21" y="67"/>
                  </a:lnTo>
                  <a:lnTo>
                    <a:pt x="19" y="68"/>
                  </a:lnTo>
                  <a:lnTo>
                    <a:pt x="19" y="69"/>
                  </a:lnTo>
                  <a:lnTo>
                    <a:pt x="22" y="72"/>
                  </a:lnTo>
                  <a:lnTo>
                    <a:pt x="23" y="73"/>
                  </a:lnTo>
                  <a:lnTo>
                    <a:pt x="23" y="72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72"/>
                  </a:lnTo>
                  <a:lnTo>
                    <a:pt x="27" y="73"/>
                  </a:lnTo>
                  <a:lnTo>
                    <a:pt x="29" y="75"/>
                  </a:lnTo>
                  <a:lnTo>
                    <a:pt x="29" y="76"/>
                  </a:lnTo>
                  <a:lnTo>
                    <a:pt x="30" y="79"/>
                  </a:lnTo>
                  <a:lnTo>
                    <a:pt x="30" y="75"/>
                  </a:lnTo>
                  <a:lnTo>
                    <a:pt x="30" y="72"/>
                  </a:lnTo>
                  <a:lnTo>
                    <a:pt x="33" y="72"/>
                  </a:lnTo>
                  <a:lnTo>
                    <a:pt x="34" y="75"/>
                  </a:lnTo>
                  <a:lnTo>
                    <a:pt x="37" y="78"/>
                  </a:lnTo>
                  <a:lnTo>
                    <a:pt x="36" y="75"/>
                  </a:lnTo>
                  <a:lnTo>
                    <a:pt x="36" y="73"/>
                  </a:lnTo>
                  <a:lnTo>
                    <a:pt x="34" y="71"/>
                  </a:lnTo>
                  <a:lnTo>
                    <a:pt x="33" y="67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3" y="64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7" y="65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6" y="63"/>
                  </a:lnTo>
                  <a:lnTo>
                    <a:pt x="36" y="61"/>
                  </a:lnTo>
                  <a:lnTo>
                    <a:pt x="34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40" y="57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5" y="61"/>
                  </a:lnTo>
                  <a:lnTo>
                    <a:pt x="45" y="60"/>
                  </a:lnTo>
                  <a:lnTo>
                    <a:pt x="44" y="57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38" y="49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3" y="46"/>
                  </a:lnTo>
                  <a:lnTo>
                    <a:pt x="30" y="46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0" y="39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9"/>
                  </a:lnTo>
                  <a:lnTo>
                    <a:pt x="34" y="41"/>
                  </a:lnTo>
                  <a:lnTo>
                    <a:pt x="36" y="41"/>
                  </a:lnTo>
                  <a:lnTo>
                    <a:pt x="36" y="38"/>
                  </a:lnTo>
                  <a:lnTo>
                    <a:pt x="34" y="37"/>
                  </a:lnTo>
                  <a:lnTo>
                    <a:pt x="30" y="33"/>
                  </a:lnTo>
                  <a:lnTo>
                    <a:pt x="29" y="31"/>
                  </a:lnTo>
                  <a:lnTo>
                    <a:pt x="29" y="30"/>
                  </a:lnTo>
                  <a:lnTo>
                    <a:pt x="26" y="27"/>
                  </a:lnTo>
                  <a:lnTo>
                    <a:pt x="27" y="26"/>
                  </a:lnTo>
                  <a:lnTo>
                    <a:pt x="26" y="22"/>
                  </a:lnTo>
                  <a:lnTo>
                    <a:pt x="29" y="19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0" y="20"/>
                  </a:lnTo>
                  <a:lnTo>
                    <a:pt x="30" y="22"/>
                  </a:lnTo>
                  <a:lnTo>
                    <a:pt x="34" y="23"/>
                  </a:lnTo>
                  <a:lnTo>
                    <a:pt x="34" y="26"/>
                  </a:lnTo>
                  <a:lnTo>
                    <a:pt x="37" y="29"/>
                  </a:lnTo>
                  <a:lnTo>
                    <a:pt x="40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40" y="25"/>
                  </a:lnTo>
                  <a:lnTo>
                    <a:pt x="41" y="27"/>
                  </a:lnTo>
                  <a:lnTo>
                    <a:pt x="42" y="27"/>
                  </a:lnTo>
                  <a:lnTo>
                    <a:pt x="44" y="26"/>
                  </a:lnTo>
                  <a:lnTo>
                    <a:pt x="41" y="25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5" y="23"/>
                  </a:lnTo>
                  <a:lnTo>
                    <a:pt x="46" y="25"/>
                  </a:lnTo>
                  <a:lnTo>
                    <a:pt x="46" y="23"/>
                  </a:lnTo>
                  <a:lnTo>
                    <a:pt x="44" y="22"/>
                  </a:lnTo>
                  <a:lnTo>
                    <a:pt x="42" y="20"/>
                  </a:lnTo>
                  <a:lnTo>
                    <a:pt x="40" y="18"/>
                  </a:lnTo>
                  <a:lnTo>
                    <a:pt x="41" y="16"/>
                  </a:lnTo>
                  <a:lnTo>
                    <a:pt x="44" y="18"/>
                  </a:lnTo>
                  <a:lnTo>
                    <a:pt x="45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7" y="14"/>
                  </a:lnTo>
                  <a:lnTo>
                    <a:pt x="61" y="14"/>
                  </a:lnTo>
                  <a:lnTo>
                    <a:pt x="65" y="15"/>
                  </a:lnTo>
                  <a:lnTo>
                    <a:pt x="68" y="14"/>
                  </a:lnTo>
                  <a:lnTo>
                    <a:pt x="70" y="11"/>
                  </a:lnTo>
                  <a:lnTo>
                    <a:pt x="68" y="8"/>
                  </a:lnTo>
                  <a:lnTo>
                    <a:pt x="72" y="7"/>
                  </a:lnTo>
                  <a:lnTo>
                    <a:pt x="72" y="4"/>
                  </a:lnTo>
                  <a:lnTo>
                    <a:pt x="70" y="3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69" name="Freeform 69"/>
            <p:cNvSpPr>
              <a:spLocks noEditPoints="1"/>
            </p:cNvSpPr>
            <p:nvPr/>
          </p:nvSpPr>
          <p:spPr bwMode="auto">
            <a:xfrm>
              <a:off x="2464" y="1469"/>
              <a:ext cx="63" cy="53"/>
            </a:xfrm>
            <a:custGeom>
              <a:avLst/>
              <a:gdLst>
                <a:gd name="T0" fmla="*/ 1 w 63"/>
                <a:gd name="T1" fmla="*/ 10 h 53"/>
                <a:gd name="T2" fmla="*/ 12 w 63"/>
                <a:gd name="T3" fmla="*/ 11 h 53"/>
                <a:gd name="T4" fmla="*/ 20 w 63"/>
                <a:gd name="T5" fmla="*/ 14 h 53"/>
                <a:gd name="T6" fmla="*/ 19 w 63"/>
                <a:gd name="T7" fmla="*/ 7 h 53"/>
                <a:gd name="T8" fmla="*/ 17 w 63"/>
                <a:gd name="T9" fmla="*/ 2 h 53"/>
                <a:gd name="T10" fmla="*/ 25 w 63"/>
                <a:gd name="T11" fmla="*/ 6 h 53"/>
                <a:gd name="T12" fmla="*/ 34 w 63"/>
                <a:gd name="T13" fmla="*/ 10 h 53"/>
                <a:gd name="T14" fmla="*/ 38 w 63"/>
                <a:gd name="T15" fmla="*/ 6 h 53"/>
                <a:gd name="T16" fmla="*/ 44 w 63"/>
                <a:gd name="T17" fmla="*/ 3 h 53"/>
                <a:gd name="T18" fmla="*/ 47 w 63"/>
                <a:gd name="T19" fmla="*/ 10 h 53"/>
                <a:gd name="T20" fmla="*/ 53 w 63"/>
                <a:gd name="T21" fmla="*/ 15 h 53"/>
                <a:gd name="T22" fmla="*/ 57 w 63"/>
                <a:gd name="T23" fmla="*/ 19 h 53"/>
                <a:gd name="T24" fmla="*/ 62 w 63"/>
                <a:gd name="T25" fmla="*/ 21 h 53"/>
                <a:gd name="T26" fmla="*/ 62 w 63"/>
                <a:gd name="T27" fmla="*/ 23 h 53"/>
                <a:gd name="T28" fmla="*/ 58 w 63"/>
                <a:gd name="T29" fmla="*/ 25 h 53"/>
                <a:gd name="T30" fmla="*/ 54 w 63"/>
                <a:gd name="T31" fmla="*/ 30 h 53"/>
                <a:gd name="T32" fmla="*/ 54 w 63"/>
                <a:gd name="T33" fmla="*/ 34 h 53"/>
                <a:gd name="T34" fmla="*/ 54 w 63"/>
                <a:gd name="T35" fmla="*/ 37 h 53"/>
                <a:gd name="T36" fmla="*/ 53 w 63"/>
                <a:gd name="T37" fmla="*/ 40 h 53"/>
                <a:gd name="T38" fmla="*/ 53 w 63"/>
                <a:gd name="T39" fmla="*/ 45 h 53"/>
                <a:gd name="T40" fmla="*/ 53 w 63"/>
                <a:gd name="T41" fmla="*/ 41 h 53"/>
                <a:gd name="T42" fmla="*/ 50 w 63"/>
                <a:gd name="T43" fmla="*/ 41 h 53"/>
                <a:gd name="T44" fmla="*/ 50 w 63"/>
                <a:gd name="T45" fmla="*/ 45 h 53"/>
                <a:gd name="T46" fmla="*/ 50 w 63"/>
                <a:gd name="T47" fmla="*/ 49 h 53"/>
                <a:gd name="T48" fmla="*/ 48 w 63"/>
                <a:gd name="T49" fmla="*/ 53 h 53"/>
                <a:gd name="T50" fmla="*/ 46 w 63"/>
                <a:gd name="T51" fmla="*/ 52 h 53"/>
                <a:gd name="T52" fmla="*/ 40 w 63"/>
                <a:gd name="T53" fmla="*/ 46 h 53"/>
                <a:gd name="T54" fmla="*/ 42 w 63"/>
                <a:gd name="T55" fmla="*/ 42 h 53"/>
                <a:gd name="T56" fmla="*/ 43 w 63"/>
                <a:gd name="T57" fmla="*/ 40 h 53"/>
                <a:gd name="T58" fmla="*/ 40 w 63"/>
                <a:gd name="T59" fmla="*/ 37 h 53"/>
                <a:gd name="T60" fmla="*/ 39 w 63"/>
                <a:gd name="T61" fmla="*/ 36 h 53"/>
                <a:gd name="T62" fmla="*/ 35 w 63"/>
                <a:gd name="T63" fmla="*/ 37 h 53"/>
                <a:gd name="T64" fmla="*/ 32 w 63"/>
                <a:gd name="T65" fmla="*/ 40 h 53"/>
                <a:gd name="T66" fmla="*/ 28 w 63"/>
                <a:gd name="T67" fmla="*/ 44 h 53"/>
                <a:gd name="T68" fmla="*/ 27 w 63"/>
                <a:gd name="T69" fmla="*/ 44 h 53"/>
                <a:gd name="T70" fmla="*/ 24 w 63"/>
                <a:gd name="T71" fmla="*/ 46 h 53"/>
                <a:gd name="T72" fmla="*/ 23 w 63"/>
                <a:gd name="T73" fmla="*/ 46 h 53"/>
                <a:gd name="T74" fmla="*/ 24 w 63"/>
                <a:gd name="T75" fmla="*/ 42 h 53"/>
                <a:gd name="T76" fmla="*/ 24 w 63"/>
                <a:gd name="T77" fmla="*/ 38 h 53"/>
                <a:gd name="T78" fmla="*/ 19 w 63"/>
                <a:gd name="T79" fmla="*/ 36 h 53"/>
                <a:gd name="T80" fmla="*/ 12 w 63"/>
                <a:gd name="T81" fmla="*/ 30 h 53"/>
                <a:gd name="T82" fmla="*/ 13 w 63"/>
                <a:gd name="T83" fmla="*/ 26 h 53"/>
                <a:gd name="T84" fmla="*/ 8 w 63"/>
                <a:gd name="T85" fmla="*/ 19 h 53"/>
                <a:gd name="T86" fmla="*/ 6 w 63"/>
                <a:gd name="T87" fmla="*/ 14 h 53"/>
                <a:gd name="T88" fmla="*/ 1 w 63"/>
                <a:gd name="T89" fmla="*/ 11 h 53"/>
                <a:gd name="T90" fmla="*/ 20 w 63"/>
                <a:gd name="T91" fmla="*/ 46 h 53"/>
                <a:gd name="T92" fmla="*/ 12 w 63"/>
                <a:gd name="T93" fmla="*/ 38 h 53"/>
                <a:gd name="T94" fmla="*/ 8 w 63"/>
                <a:gd name="T95" fmla="*/ 34 h 53"/>
                <a:gd name="T96" fmla="*/ 4 w 63"/>
                <a:gd name="T97" fmla="*/ 33 h 53"/>
                <a:gd name="T98" fmla="*/ 0 w 63"/>
                <a:gd name="T99" fmla="*/ 33 h 53"/>
                <a:gd name="T100" fmla="*/ 1 w 63"/>
                <a:gd name="T101" fmla="*/ 34 h 53"/>
                <a:gd name="T102" fmla="*/ 4 w 63"/>
                <a:gd name="T103" fmla="*/ 36 h 53"/>
                <a:gd name="T104" fmla="*/ 5 w 63"/>
                <a:gd name="T105" fmla="*/ 40 h 53"/>
                <a:gd name="T106" fmla="*/ 10 w 63"/>
                <a:gd name="T107" fmla="*/ 45 h 53"/>
                <a:gd name="T108" fmla="*/ 16 w 63"/>
                <a:gd name="T109" fmla="*/ 46 h 53"/>
                <a:gd name="T110" fmla="*/ 20 w 63"/>
                <a:gd name="T111" fmla="*/ 4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" h="53">
                  <a:moveTo>
                    <a:pt x="1" y="11"/>
                  </a:moveTo>
                  <a:lnTo>
                    <a:pt x="1" y="10"/>
                  </a:lnTo>
                  <a:lnTo>
                    <a:pt x="5" y="8"/>
                  </a:lnTo>
                  <a:lnTo>
                    <a:pt x="12" y="11"/>
                  </a:lnTo>
                  <a:lnTo>
                    <a:pt x="16" y="12"/>
                  </a:lnTo>
                  <a:lnTo>
                    <a:pt x="20" y="14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6" y="6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25" y="6"/>
                  </a:lnTo>
                  <a:lnTo>
                    <a:pt x="28" y="8"/>
                  </a:lnTo>
                  <a:lnTo>
                    <a:pt x="34" y="10"/>
                  </a:lnTo>
                  <a:lnTo>
                    <a:pt x="34" y="7"/>
                  </a:lnTo>
                  <a:lnTo>
                    <a:pt x="38" y="6"/>
                  </a:lnTo>
                  <a:lnTo>
                    <a:pt x="42" y="0"/>
                  </a:lnTo>
                  <a:lnTo>
                    <a:pt x="44" y="3"/>
                  </a:lnTo>
                  <a:lnTo>
                    <a:pt x="47" y="7"/>
                  </a:lnTo>
                  <a:lnTo>
                    <a:pt x="47" y="10"/>
                  </a:lnTo>
                  <a:lnTo>
                    <a:pt x="50" y="12"/>
                  </a:lnTo>
                  <a:lnTo>
                    <a:pt x="53" y="15"/>
                  </a:lnTo>
                  <a:lnTo>
                    <a:pt x="54" y="18"/>
                  </a:lnTo>
                  <a:lnTo>
                    <a:pt x="57" y="19"/>
                  </a:lnTo>
                  <a:lnTo>
                    <a:pt x="59" y="19"/>
                  </a:lnTo>
                  <a:lnTo>
                    <a:pt x="62" y="21"/>
                  </a:lnTo>
                  <a:lnTo>
                    <a:pt x="63" y="23"/>
                  </a:lnTo>
                  <a:lnTo>
                    <a:pt x="62" y="23"/>
                  </a:lnTo>
                  <a:lnTo>
                    <a:pt x="61" y="23"/>
                  </a:lnTo>
                  <a:lnTo>
                    <a:pt x="58" y="25"/>
                  </a:lnTo>
                  <a:lnTo>
                    <a:pt x="54" y="27"/>
                  </a:lnTo>
                  <a:lnTo>
                    <a:pt x="54" y="30"/>
                  </a:lnTo>
                  <a:lnTo>
                    <a:pt x="54" y="33"/>
                  </a:lnTo>
                  <a:lnTo>
                    <a:pt x="54" y="34"/>
                  </a:lnTo>
                  <a:lnTo>
                    <a:pt x="53" y="36"/>
                  </a:lnTo>
                  <a:lnTo>
                    <a:pt x="54" y="37"/>
                  </a:lnTo>
                  <a:lnTo>
                    <a:pt x="54" y="38"/>
                  </a:lnTo>
                  <a:lnTo>
                    <a:pt x="53" y="40"/>
                  </a:lnTo>
                  <a:lnTo>
                    <a:pt x="53" y="44"/>
                  </a:lnTo>
                  <a:lnTo>
                    <a:pt x="53" y="45"/>
                  </a:lnTo>
                  <a:lnTo>
                    <a:pt x="51" y="44"/>
                  </a:lnTo>
                  <a:lnTo>
                    <a:pt x="53" y="41"/>
                  </a:lnTo>
                  <a:lnTo>
                    <a:pt x="51" y="40"/>
                  </a:lnTo>
                  <a:lnTo>
                    <a:pt x="50" y="41"/>
                  </a:lnTo>
                  <a:lnTo>
                    <a:pt x="48" y="42"/>
                  </a:lnTo>
                  <a:lnTo>
                    <a:pt x="50" y="45"/>
                  </a:lnTo>
                  <a:lnTo>
                    <a:pt x="50" y="48"/>
                  </a:lnTo>
                  <a:lnTo>
                    <a:pt x="50" y="49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7" y="53"/>
                  </a:lnTo>
                  <a:lnTo>
                    <a:pt x="46" y="52"/>
                  </a:lnTo>
                  <a:lnTo>
                    <a:pt x="44" y="51"/>
                  </a:lnTo>
                  <a:lnTo>
                    <a:pt x="40" y="46"/>
                  </a:lnTo>
                  <a:lnTo>
                    <a:pt x="44" y="44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3" y="40"/>
                  </a:lnTo>
                  <a:lnTo>
                    <a:pt x="40" y="38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38" y="36"/>
                  </a:lnTo>
                  <a:lnTo>
                    <a:pt x="35" y="37"/>
                  </a:lnTo>
                  <a:lnTo>
                    <a:pt x="34" y="38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44"/>
                  </a:lnTo>
                  <a:lnTo>
                    <a:pt x="24" y="42"/>
                  </a:lnTo>
                  <a:lnTo>
                    <a:pt x="21" y="40"/>
                  </a:lnTo>
                  <a:lnTo>
                    <a:pt x="24" y="38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3" y="33"/>
                  </a:lnTo>
                  <a:lnTo>
                    <a:pt x="12" y="30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9" y="22"/>
                  </a:lnTo>
                  <a:lnTo>
                    <a:pt x="8" y="19"/>
                  </a:lnTo>
                  <a:lnTo>
                    <a:pt x="9" y="17"/>
                  </a:lnTo>
                  <a:lnTo>
                    <a:pt x="6" y="14"/>
                  </a:lnTo>
                  <a:lnTo>
                    <a:pt x="2" y="14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20" y="46"/>
                  </a:moveTo>
                  <a:lnTo>
                    <a:pt x="14" y="38"/>
                  </a:lnTo>
                  <a:lnTo>
                    <a:pt x="12" y="38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2" y="36"/>
                  </a:lnTo>
                  <a:lnTo>
                    <a:pt x="4" y="36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9" y="42"/>
                  </a:lnTo>
                  <a:lnTo>
                    <a:pt x="10" y="45"/>
                  </a:lnTo>
                  <a:lnTo>
                    <a:pt x="13" y="46"/>
                  </a:lnTo>
                  <a:lnTo>
                    <a:pt x="16" y="46"/>
                  </a:lnTo>
                  <a:lnTo>
                    <a:pt x="20" y="48"/>
                  </a:lnTo>
                  <a:lnTo>
                    <a:pt x="20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0" name="Freeform 70"/>
            <p:cNvSpPr>
              <a:spLocks/>
            </p:cNvSpPr>
            <p:nvPr/>
          </p:nvSpPr>
          <p:spPr bwMode="auto">
            <a:xfrm>
              <a:off x="2458" y="1503"/>
              <a:ext cx="241" cy="193"/>
            </a:xfrm>
            <a:custGeom>
              <a:avLst/>
              <a:gdLst>
                <a:gd name="T0" fmla="*/ 11 w 241"/>
                <a:gd name="T1" fmla="*/ 4 h 193"/>
                <a:gd name="T2" fmla="*/ 22 w 241"/>
                <a:gd name="T3" fmla="*/ 12 h 193"/>
                <a:gd name="T4" fmla="*/ 30 w 241"/>
                <a:gd name="T5" fmla="*/ 12 h 193"/>
                <a:gd name="T6" fmla="*/ 37 w 241"/>
                <a:gd name="T7" fmla="*/ 6 h 193"/>
                <a:gd name="T8" fmla="*/ 45 w 241"/>
                <a:gd name="T9" fmla="*/ 2 h 193"/>
                <a:gd name="T10" fmla="*/ 48 w 241"/>
                <a:gd name="T11" fmla="*/ 7 h 193"/>
                <a:gd name="T12" fmla="*/ 52 w 241"/>
                <a:gd name="T13" fmla="*/ 18 h 193"/>
                <a:gd name="T14" fmla="*/ 57 w 241"/>
                <a:gd name="T15" fmla="*/ 22 h 193"/>
                <a:gd name="T16" fmla="*/ 63 w 241"/>
                <a:gd name="T17" fmla="*/ 32 h 193"/>
                <a:gd name="T18" fmla="*/ 75 w 241"/>
                <a:gd name="T19" fmla="*/ 33 h 193"/>
                <a:gd name="T20" fmla="*/ 93 w 241"/>
                <a:gd name="T21" fmla="*/ 42 h 193"/>
                <a:gd name="T22" fmla="*/ 118 w 241"/>
                <a:gd name="T23" fmla="*/ 41 h 193"/>
                <a:gd name="T24" fmla="*/ 125 w 241"/>
                <a:gd name="T25" fmla="*/ 30 h 193"/>
                <a:gd name="T26" fmla="*/ 139 w 241"/>
                <a:gd name="T27" fmla="*/ 19 h 193"/>
                <a:gd name="T28" fmla="*/ 152 w 241"/>
                <a:gd name="T29" fmla="*/ 18 h 193"/>
                <a:gd name="T30" fmla="*/ 170 w 241"/>
                <a:gd name="T31" fmla="*/ 26 h 193"/>
                <a:gd name="T32" fmla="*/ 181 w 241"/>
                <a:gd name="T33" fmla="*/ 32 h 193"/>
                <a:gd name="T34" fmla="*/ 201 w 241"/>
                <a:gd name="T35" fmla="*/ 44 h 193"/>
                <a:gd name="T36" fmla="*/ 201 w 241"/>
                <a:gd name="T37" fmla="*/ 56 h 193"/>
                <a:gd name="T38" fmla="*/ 203 w 241"/>
                <a:gd name="T39" fmla="*/ 64 h 193"/>
                <a:gd name="T40" fmla="*/ 197 w 241"/>
                <a:gd name="T41" fmla="*/ 72 h 193"/>
                <a:gd name="T42" fmla="*/ 204 w 241"/>
                <a:gd name="T43" fmla="*/ 80 h 193"/>
                <a:gd name="T44" fmla="*/ 204 w 241"/>
                <a:gd name="T45" fmla="*/ 101 h 193"/>
                <a:gd name="T46" fmla="*/ 216 w 241"/>
                <a:gd name="T47" fmla="*/ 114 h 193"/>
                <a:gd name="T48" fmla="*/ 216 w 241"/>
                <a:gd name="T49" fmla="*/ 144 h 193"/>
                <a:gd name="T50" fmla="*/ 229 w 241"/>
                <a:gd name="T51" fmla="*/ 151 h 193"/>
                <a:gd name="T52" fmla="*/ 234 w 241"/>
                <a:gd name="T53" fmla="*/ 162 h 193"/>
                <a:gd name="T54" fmla="*/ 238 w 241"/>
                <a:gd name="T55" fmla="*/ 173 h 193"/>
                <a:gd name="T56" fmla="*/ 224 w 241"/>
                <a:gd name="T57" fmla="*/ 178 h 193"/>
                <a:gd name="T58" fmla="*/ 223 w 241"/>
                <a:gd name="T59" fmla="*/ 192 h 193"/>
                <a:gd name="T60" fmla="*/ 214 w 241"/>
                <a:gd name="T61" fmla="*/ 191 h 193"/>
                <a:gd name="T62" fmla="*/ 208 w 241"/>
                <a:gd name="T63" fmla="*/ 189 h 193"/>
                <a:gd name="T64" fmla="*/ 189 w 241"/>
                <a:gd name="T65" fmla="*/ 188 h 193"/>
                <a:gd name="T66" fmla="*/ 178 w 241"/>
                <a:gd name="T67" fmla="*/ 185 h 193"/>
                <a:gd name="T68" fmla="*/ 167 w 241"/>
                <a:gd name="T69" fmla="*/ 176 h 193"/>
                <a:gd name="T70" fmla="*/ 163 w 241"/>
                <a:gd name="T71" fmla="*/ 167 h 193"/>
                <a:gd name="T72" fmla="*/ 151 w 241"/>
                <a:gd name="T73" fmla="*/ 169 h 193"/>
                <a:gd name="T74" fmla="*/ 133 w 241"/>
                <a:gd name="T75" fmla="*/ 172 h 193"/>
                <a:gd name="T76" fmla="*/ 121 w 241"/>
                <a:gd name="T77" fmla="*/ 167 h 193"/>
                <a:gd name="T78" fmla="*/ 114 w 241"/>
                <a:gd name="T79" fmla="*/ 161 h 193"/>
                <a:gd name="T80" fmla="*/ 101 w 241"/>
                <a:gd name="T81" fmla="*/ 158 h 193"/>
                <a:gd name="T82" fmla="*/ 91 w 241"/>
                <a:gd name="T83" fmla="*/ 146 h 193"/>
                <a:gd name="T84" fmla="*/ 91 w 241"/>
                <a:gd name="T85" fmla="*/ 144 h 193"/>
                <a:gd name="T86" fmla="*/ 83 w 241"/>
                <a:gd name="T87" fmla="*/ 129 h 193"/>
                <a:gd name="T88" fmla="*/ 74 w 241"/>
                <a:gd name="T89" fmla="*/ 129 h 193"/>
                <a:gd name="T90" fmla="*/ 69 w 241"/>
                <a:gd name="T91" fmla="*/ 127 h 193"/>
                <a:gd name="T92" fmla="*/ 68 w 241"/>
                <a:gd name="T93" fmla="*/ 131 h 193"/>
                <a:gd name="T94" fmla="*/ 61 w 241"/>
                <a:gd name="T95" fmla="*/ 127 h 193"/>
                <a:gd name="T96" fmla="*/ 54 w 241"/>
                <a:gd name="T97" fmla="*/ 112 h 193"/>
                <a:gd name="T98" fmla="*/ 49 w 241"/>
                <a:gd name="T99" fmla="*/ 98 h 193"/>
                <a:gd name="T100" fmla="*/ 33 w 241"/>
                <a:gd name="T101" fmla="*/ 91 h 193"/>
                <a:gd name="T102" fmla="*/ 30 w 241"/>
                <a:gd name="T103" fmla="*/ 83 h 193"/>
                <a:gd name="T104" fmla="*/ 26 w 241"/>
                <a:gd name="T105" fmla="*/ 78 h 193"/>
                <a:gd name="T106" fmla="*/ 27 w 241"/>
                <a:gd name="T107" fmla="*/ 65 h 193"/>
                <a:gd name="T108" fmla="*/ 30 w 241"/>
                <a:gd name="T109" fmla="*/ 57 h 193"/>
                <a:gd name="T110" fmla="*/ 31 w 241"/>
                <a:gd name="T111" fmla="*/ 55 h 193"/>
                <a:gd name="T112" fmla="*/ 19 w 241"/>
                <a:gd name="T113" fmla="*/ 51 h 193"/>
                <a:gd name="T114" fmla="*/ 14 w 241"/>
                <a:gd name="T115" fmla="*/ 41 h 193"/>
                <a:gd name="T116" fmla="*/ 10 w 241"/>
                <a:gd name="T117" fmla="*/ 34 h 193"/>
                <a:gd name="T118" fmla="*/ 6 w 241"/>
                <a:gd name="T119" fmla="*/ 19 h 193"/>
                <a:gd name="T120" fmla="*/ 1 w 241"/>
                <a:gd name="T121" fmla="*/ 8 h 193"/>
                <a:gd name="T122" fmla="*/ 6 w 241"/>
                <a:gd name="T123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1" h="193">
                  <a:moveTo>
                    <a:pt x="6" y="0"/>
                  </a:moveTo>
                  <a:lnTo>
                    <a:pt x="7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15" y="8"/>
                  </a:lnTo>
                  <a:lnTo>
                    <a:pt x="16" y="11"/>
                  </a:lnTo>
                  <a:lnTo>
                    <a:pt x="19" y="12"/>
                  </a:lnTo>
                  <a:lnTo>
                    <a:pt x="22" y="12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1" y="3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9" y="6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46" y="12"/>
                  </a:lnTo>
                  <a:lnTo>
                    <a:pt x="50" y="17"/>
                  </a:lnTo>
                  <a:lnTo>
                    <a:pt x="52" y="18"/>
                  </a:lnTo>
                  <a:lnTo>
                    <a:pt x="53" y="19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7" y="22"/>
                  </a:lnTo>
                  <a:lnTo>
                    <a:pt x="59" y="25"/>
                  </a:lnTo>
                  <a:lnTo>
                    <a:pt x="57" y="27"/>
                  </a:lnTo>
                  <a:lnTo>
                    <a:pt x="59" y="29"/>
                  </a:lnTo>
                  <a:lnTo>
                    <a:pt x="60" y="29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7" y="32"/>
                  </a:lnTo>
                  <a:lnTo>
                    <a:pt x="69" y="32"/>
                  </a:lnTo>
                  <a:lnTo>
                    <a:pt x="72" y="33"/>
                  </a:lnTo>
                  <a:lnTo>
                    <a:pt x="75" y="33"/>
                  </a:lnTo>
                  <a:lnTo>
                    <a:pt x="75" y="36"/>
                  </a:lnTo>
                  <a:lnTo>
                    <a:pt x="76" y="38"/>
                  </a:lnTo>
                  <a:lnTo>
                    <a:pt x="83" y="40"/>
                  </a:lnTo>
                  <a:lnTo>
                    <a:pt x="86" y="40"/>
                  </a:lnTo>
                  <a:lnTo>
                    <a:pt x="93" y="42"/>
                  </a:lnTo>
                  <a:lnTo>
                    <a:pt x="95" y="42"/>
                  </a:lnTo>
                  <a:lnTo>
                    <a:pt x="103" y="40"/>
                  </a:lnTo>
                  <a:lnTo>
                    <a:pt x="109" y="40"/>
                  </a:lnTo>
                  <a:lnTo>
                    <a:pt x="116" y="40"/>
                  </a:lnTo>
                  <a:lnTo>
                    <a:pt x="118" y="41"/>
                  </a:lnTo>
                  <a:lnTo>
                    <a:pt x="120" y="37"/>
                  </a:lnTo>
                  <a:lnTo>
                    <a:pt x="118" y="34"/>
                  </a:lnTo>
                  <a:lnTo>
                    <a:pt x="117" y="32"/>
                  </a:lnTo>
                  <a:lnTo>
                    <a:pt x="120" y="30"/>
                  </a:lnTo>
                  <a:lnTo>
                    <a:pt x="125" y="30"/>
                  </a:lnTo>
                  <a:lnTo>
                    <a:pt x="127" y="27"/>
                  </a:lnTo>
                  <a:lnTo>
                    <a:pt x="128" y="25"/>
                  </a:lnTo>
                  <a:lnTo>
                    <a:pt x="129" y="25"/>
                  </a:lnTo>
                  <a:lnTo>
                    <a:pt x="135" y="21"/>
                  </a:lnTo>
                  <a:lnTo>
                    <a:pt x="139" y="19"/>
                  </a:lnTo>
                  <a:lnTo>
                    <a:pt x="144" y="21"/>
                  </a:lnTo>
                  <a:lnTo>
                    <a:pt x="144" y="18"/>
                  </a:lnTo>
                  <a:lnTo>
                    <a:pt x="147" y="18"/>
                  </a:lnTo>
                  <a:lnTo>
                    <a:pt x="150" y="18"/>
                  </a:lnTo>
                  <a:lnTo>
                    <a:pt x="152" y="18"/>
                  </a:lnTo>
                  <a:lnTo>
                    <a:pt x="156" y="22"/>
                  </a:lnTo>
                  <a:lnTo>
                    <a:pt x="159" y="22"/>
                  </a:lnTo>
                  <a:lnTo>
                    <a:pt x="166" y="27"/>
                  </a:lnTo>
                  <a:lnTo>
                    <a:pt x="169" y="27"/>
                  </a:lnTo>
                  <a:lnTo>
                    <a:pt x="170" y="26"/>
                  </a:lnTo>
                  <a:lnTo>
                    <a:pt x="176" y="27"/>
                  </a:lnTo>
                  <a:lnTo>
                    <a:pt x="177" y="27"/>
                  </a:lnTo>
                  <a:lnTo>
                    <a:pt x="178" y="32"/>
                  </a:lnTo>
                  <a:lnTo>
                    <a:pt x="180" y="32"/>
                  </a:lnTo>
                  <a:lnTo>
                    <a:pt x="181" y="32"/>
                  </a:lnTo>
                  <a:lnTo>
                    <a:pt x="186" y="33"/>
                  </a:lnTo>
                  <a:lnTo>
                    <a:pt x="190" y="40"/>
                  </a:lnTo>
                  <a:lnTo>
                    <a:pt x="196" y="40"/>
                  </a:lnTo>
                  <a:lnTo>
                    <a:pt x="199" y="41"/>
                  </a:lnTo>
                  <a:lnTo>
                    <a:pt x="201" y="44"/>
                  </a:lnTo>
                  <a:lnTo>
                    <a:pt x="200" y="46"/>
                  </a:lnTo>
                  <a:lnTo>
                    <a:pt x="201" y="49"/>
                  </a:lnTo>
                  <a:lnTo>
                    <a:pt x="201" y="51"/>
                  </a:lnTo>
                  <a:lnTo>
                    <a:pt x="201" y="53"/>
                  </a:lnTo>
                  <a:lnTo>
                    <a:pt x="201" y="56"/>
                  </a:lnTo>
                  <a:lnTo>
                    <a:pt x="201" y="57"/>
                  </a:lnTo>
                  <a:lnTo>
                    <a:pt x="201" y="59"/>
                  </a:lnTo>
                  <a:lnTo>
                    <a:pt x="203" y="61"/>
                  </a:lnTo>
                  <a:lnTo>
                    <a:pt x="203" y="61"/>
                  </a:lnTo>
                  <a:lnTo>
                    <a:pt x="203" y="64"/>
                  </a:lnTo>
                  <a:lnTo>
                    <a:pt x="199" y="65"/>
                  </a:lnTo>
                  <a:lnTo>
                    <a:pt x="197" y="65"/>
                  </a:lnTo>
                  <a:lnTo>
                    <a:pt x="197" y="68"/>
                  </a:lnTo>
                  <a:lnTo>
                    <a:pt x="200" y="70"/>
                  </a:lnTo>
                  <a:lnTo>
                    <a:pt x="197" y="72"/>
                  </a:lnTo>
                  <a:lnTo>
                    <a:pt x="199" y="72"/>
                  </a:lnTo>
                  <a:lnTo>
                    <a:pt x="199" y="78"/>
                  </a:lnTo>
                  <a:lnTo>
                    <a:pt x="199" y="79"/>
                  </a:lnTo>
                  <a:lnTo>
                    <a:pt x="203" y="80"/>
                  </a:lnTo>
                  <a:lnTo>
                    <a:pt x="204" y="80"/>
                  </a:lnTo>
                  <a:lnTo>
                    <a:pt x="200" y="85"/>
                  </a:lnTo>
                  <a:lnTo>
                    <a:pt x="200" y="87"/>
                  </a:lnTo>
                  <a:lnTo>
                    <a:pt x="203" y="94"/>
                  </a:lnTo>
                  <a:lnTo>
                    <a:pt x="204" y="99"/>
                  </a:lnTo>
                  <a:lnTo>
                    <a:pt x="204" y="101"/>
                  </a:lnTo>
                  <a:lnTo>
                    <a:pt x="204" y="104"/>
                  </a:lnTo>
                  <a:lnTo>
                    <a:pt x="205" y="108"/>
                  </a:lnTo>
                  <a:lnTo>
                    <a:pt x="215" y="108"/>
                  </a:lnTo>
                  <a:lnTo>
                    <a:pt x="218" y="112"/>
                  </a:lnTo>
                  <a:lnTo>
                    <a:pt x="216" y="114"/>
                  </a:lnTo>
                  <a:lnTo>
                    <a:pt x="218" y="120"/>
                  </a:lnTo>
                  <a:lnTo>
                    <a:pt x="218" y="121"/>
                  </a:lnTo>
                  <a:lnTo>
                    <a:pt x="208" y="133"/>
                  </a:lnTo>
                  <a:lnTo>
                    <a:pt x="215" y="142"/>
                  </a:lnTo>
                  <a:lnTo>
                    <a:pt x="216" y="144"/>
                  </a:lnTo>
                  <a:lnTo>
                    <a:pt x="219" y="147"/>
                  </a:lnTo>
                  <a:lnTo>
                    <a:pt x="222" y="148"/>
                  </a:lnTo>
                  <a:lnTo>
                    <a:pt x="223" y="150"/>
                  </a:lnTo>
                  <a:lnTo>
                    <a:pt x="227" y="150"/>
                  </a:lnTo>
                  <a:lnTo>
                    <a:pt x="229" y="151"/>
                  </a:lnTo>
                  <a:lnTo>
                    <a:pt x="229" y="152"/>
                  </a:lnTo>
                  <a:lnTo>
                    <a:pt x="233" y="152"/>
                  </a:lnTo>
                  <a:lnTo>
                    <a:pt x="233" y="157"/>
                  </a:lnTo>
                  <a:lnTo>
                    <a:pt x="233" y="159"/>
                  </a:lnTo>
                  <a:lnTo>
                    <a:pt x="234" y="162"/>
                  </a:lnTo>
                  <a:lnTo>
                    <a:pt x="234" y="165"/>
                  </a:lnTo>
                  <a:lnTo>
                    <a:pt x="237" y="165"/>
                  </a:lnTo>
                  <a:lnTo>
                    <a:pt x="239" y="166"/>
                  </a:lnTo>
                  <a:lnTo>
                    <a:pt x="241" y="172"/>
                  </a:lnTo>
                  <a:lnTo>
                    <a:pt x="238" y="173"/>
                  </a:lnTo>
                  <a:lnTo>
                    <a:pt x="235" y="172"/>
                  </a:lnTo>
                  <a:lnTo>
                    <a:pt x="230" y="173"/>
                  </a:lnTo>
                  <a:lnTo>
                    <a:pt x="229" y="174"/>
                  </a:lnTo>
                  <a:lnTo>
                    <a:pt x="226" y="176"/>
                  </a:lnTo>
                  <a:lnTo>
                    <a:pt x="224" y="178"/>
                  </a:lnTo>
                  <a:lnTo>
                    <a:pt x="224" y="180"/>
                  </a:lnTo>
                  <a:lnTo>
                    <a:pt x="223" y="182"/>
                  </a:lnTo>
                  <a:lnTo>
                    <a:pt x="224" y="185"/>
                  </a:lnTo>
                  <a:lnTo>
                    <a:pt x="223" y="189"/>
                  </a:lnTo>
                  <a:lnTo>
                    <a:pt x="223" y="192"/>
                  </a:lnTo>
                  <a:lnTo>
                    <a:pt x="223" y="192"/>
                  </a:lnTo>
                  <a:lnTo>
                    <a:pt x="222" y="192"/>
                  </a:lnTo>
                  <a:lnTo>
                    <a:pt x="220" y="193"/>
                  </a:lnTo>
                  <a:lnTo>
                    <a:pt x="216" y="192"/>
                  </a:lnTo>
                  <a:lnTo>
                    <a:pt x="214" y="191"/>
                  </a:lnTo>
                  <a:lnTo>
                    <a:pt x="212" y="189"/>
                  </a:lnTo>
                  <a:lnTo>
                    <a:pt x="211" y="189"/>
                  </a:lnTo>
                  <a:lnTo>
                    <a:pt x="211" y="191"/>
                  </a:lnTo>
                  <a:lnTo>
                    <a:pt x="210" y="191"/>
                  </a:lnTo>
                  <a:lnTo>
                    <a:pt x="208" y="189"/>
                  </a:lnTo>
                  <a:lnTo>
                    <a:pt x="207" y="191"/>
                  </a:lnTo>
                  <a:lnTo>
                    <a:pt x="205" y="189"/>
                  </a:lnTo>
                  <a:lnTo>
                    <a:pt x="200" y="189"/>
                  </a:lnTo>
                  <a:lnTo>
                    <a:pt x="196" y="188"/>
                  </a:lnTo>
                  <a:lnTo>
                    <a:pt x="189" y="188"/>
                  </a:lnTo>
                  <a:lnTo>
                    <a:pt x="186" y="185"/>
                  </a:lnTo>
                  <a:lnTo>
                    <a:pt x="185" y="185"/>
                  </a:lnTo>
                  <a:lnTo>
                    <a:pt x="182" y="188"/>
                  </a:lnTo>
                  <a:lnTo>
                    <a:pt x="181" y="185"/>
                  </a:lnTo>
                  <a:lnTo>
                    <a:pt x="178" y="185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0" y="184"/>
                  </a:lnTo>
                  <a:lnTo>
                    <a:pt x="170" y="181"/>
                  </a:lnTo>
                  <a:lnTo>
                    <a:pt x="167" y="176"/>
                  </a:lnTo>
                  <a:lnTo>
                    <a:pt x="166" y="172"/>
                  </a:lnTo>
                  <a:lnTo>
                    <a:pt x="165" y="169"/>
                  </a:lnTo>
                  <a:lnTo>
                    <a:pt x="165" y="167"/>
                  </a:lnTo>
                  <a:lnTo>
                    <a:pt x="163" y="167"/>
                  </a:lnTo>
                  <a:lnTo>
                    <a:pt x="163" y="167"/>
                  </a:lnTo>
                  <a:lnTo>
                    <a:pt x="159" y="166"/>
                  </a:lnTo>
                  <a:lnTo>
                    <a:pt x="156" y="167"/>
                  </a:lnTo>
                  <a:lnTo>
                    <a:pt x="154" y="169"/>
                  </a:lnTo>
                  <a:lnTo>
                    <a:pt x="151" y="170"/>
                  </a:lnTo>
                  <a:lnTo>
                    <a:pt x="151" y="169"/>
                  </a:lnTo>
                  <a:lnTo>
                    <a:pt x="151" y="170"/>
                  </a:lnTo>
                  <a:lnTo>
                    <a:pt x="146" y="173"/>
                  </a:lnTo>
                  <a:lnTo>
                    <a:pt x="142" y="176"/>
                  </a:lnTo>
                  <a:lnTo>
                    <a:pt x="137" y="173"/>
                  </a:lnTo>
                  <a:lnTo>
                    <a:pt x="133" y="172"/>
                  </a:lnTo>
                  <a:lnTo>
                    <a:pt x="131" y="173"/>
                  </a:lnTo>
                  <a:lnTo>
                    <a:pt x="129" y="173"/>
                  </a:lnTo>
                  <a:lnTo>
                    <a:pt x="125" y="170"/>
                  </a:lnTo>
                  <a:lnTo>
                    <a:pt x="124" y="169"/>
                  </a:lnTo>
                  <a:lnTo>
                    <a:pt x="121" y="167"/>
                  </a:lnTo>
                  <a:lnTo>
                    <a:pt x="118" y="167"/>
                  </a:lnTo>
                  <a:lnTo>
                    <a:pt x="116" y="163"/>
                  </a:lnTo>
                  <a:lnTo>
                    <a:pt x="117" y="162"/>
                  </a:lnTo>
                  <a:lnTo>
                    <a:pt x="116" y="162"/>
                  </a:lnTo>
                  <a:lnTo>
                    <a:pt x="114" y="161"/>
                  </a:lnTo>
                  <a:lnTo>
                    <a:pt x="113" y="161"/>
                  </a:lnTo>
                  <a:lnTo>
                    <a:pt x="110" y="161"/>
                  </a:lnTo>
                  <a:lnTo>
                    <a:pt x="109" y="159"/>
                  </a:lnTo>
                  <a:lnTo>
                    <a:pt x="106" y="158"/>
                  </a:lnTo>
                  <a:lnTo>
                    <a:pt x="101" y="158"/>
                  </a:lnTo>
                  <a:lnTo>
                    <a:pt x="99" y="157"/>
                  </a:lnTo>
                  <a:lnTo>
                    <a:pt x="95" y="150"/>
                  </a:lnTo>
                  <a:lnTo>
                    <a:pt x="95" y="147"/>
                  </a:lnTo>
                  <a:lnTo>
                    <a:pt x="94" y="147"/>
                  </a:lnTo>
                  <a:lnTo>
                    <a:pt x="91" y="146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4" y="146"/>
                  </a:lnTo>
                  <a:lnTo>
                    <a:pt x="93" y="144"/>
                  </a:lnTo>
                  <a:lnTo>
                    <a:pt x="91" y="144"/>
                  </a:lnTo>
                  <a:lnTo>
                    <a:pt x="90" y="143"/>
                  </a:lnTo>
                  <a:lnTo>
                    <a:pt x="90" y="139"/>
                  </a:lnTo>
                  <a:lnTo>
                    <a:pt x="86" y="135"/>
                  </a:lnTo>
                  <a:lnTo>
                    <a:pt x="84" y="132"/>
                  </a:lnTo>
                  <a:lnTo>
                    <a:pt x="83" y="129"/>
                  </a:lnTo>
                  <a:lnTo>
                    <a:pt x="82" y="128"/>
                  </a:lnTo>
                  <a:lnTo>
                    <a:pt x="78" y="131"/>
                  </a:lnTo>
                  <a:lnTo>
                    <a:pt x="76" y="131"/>
                  </a:lnTo>
                  <a:lnTo>
                    <a:pt x="75" y="129"/>
                  </a:lnTo>
                  <a:lnTo>
                    <a:pt x="74" y="129"/>
                  </a:lnTo>
                  <a:lnTo>
                    <a:pt x="72" y="128"/>
                  </a:lnTo>
                  <a:lnTo>
                    <a:pt x="72" y="127"/>
                  </a:lnTo>
                  <a:lnTo>
                    <a:pt x="72" y="125"/>
                  </a:lnTo>
                  <a:lnTo>
                    <a:pt x="72" y="127"/>
                  </a:lnTo>
                  <a:lnTo>
                    <a:pt x="69" y="127"/>
                  </a:lnTo>
                  <a:lnTo>
                    <a:pt x="68" y="127"/>
                  </a:lnTo>
                  <a:lnTo>
                    <a:pt x="71" y="128"/>
                  </a:lnTo>
                  <a:lnTo>
                    <a:pt x="71" y="129"/>
                  </a:lnTo>
                  <a:lnTo>
                    <a:pt x="69" y="131"/>
                  </a:lnTo>
                  <a:lnTo>
                    <a:pt x="68" y="131"/>
                  </a:lnTo>
                  <a:lnTo>
                    <a:pt x="65" y="129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4" y="128"/>
                  </a:lnTo>
                  <a:lnTo>
                    <a:pt x="61" y="127"/>
                  </a:lnTo>
                  <a:lnTo>
                    <a:pt x="60" y="125"/>
                  </a:lnTo>
                  <a:lnTo>
                    <a:pt x="59" y="119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4" y="112"/>
                  </a:lnTo>
                  <a:lnTo>
                    <a:pt x="57" y="109"/>
                  </a:lnTo>
                  <a:lnTo>
                    <a:pt x="54" y="104"/>
                  </a:lnTo>
                  <a:lnTo>
                    <a:pt x="52" y="104"/>
                  </a:lnTo>
                  <a:lnTo>
                    <a:pt x="50" y="99"/>
                  </a:lnTo>
                  <a:lnTo>
                    <a:pt x="49" y="98"/>
                  </a:lnTo>
                  <a:lnTo>
                    <a:pt x="48" y="98"/>
                  </a:lnTo>
                  <a:lnTo>
                    <a:pt x="38" y="93"/>
                  </a:lnTo>
                  <a:lnTo>
                    <a:pt x="37" y="93"/>
                  </a:lnTo>
                  <a:lnTo>
                    <a:pt x="35" y="94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4" y="87"/>
                  </a:lnTo>
                  <a:lnTo>
                    <a:pt x="31" y="85"/>
                  </a:lnTo>
                  <a:lnTo>
                    <a:pt x="30" y="83"/>
                  </a:lnTo>
                  <a:lnTo>
                    <a:pt x="27" y="83"/>
                  </a:lnTo>
                  <a:lnTo>
                    <a:pt x="27" y="80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6" y="75"/>
                  </a:lnTo>
                  <a:lnTo>
                    <a:pt x="26" y="71"/>
                  </a:lnTo>
                  <a:lnTo>
                    <a:pt x="27" y="70"/>
                  </a:lnTo>
                  <a:lnTo>
                    <a:pt x="27" y="65"/>
                  </a:lnTo>
                  <a:lnTo>
                    <a:pt x="29" y="67"/>
                  </a:lnTo>
                  <a:lnTo>
                    <a:pt x="30" y="65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0" y="57"/>
                  </a:lnTo>
                  <a:lnTo>
                    <a:pt x="31" y="57"/>
                  </a:lnTo>
                  <a:lnTo>
                    <a:pt x="33" y="57"/>
                  </a:lnTo>
                  <a:lnTo>
                    <a:pt x="34" y="56"/>
                  </a:lnTo>
                  <a:lnTo>
                    <a:pt x="33" y="56"/>
                  </a:lnTo>
                  <a:lnTo>
                    <a:pt x="31" y="55"/>
                  </a:lnTo>
                  <a:lnTo>
                    <a:pt x="29" y="55"/>
                  </a:lnTo>
                  <a:lnTo>
                    <a:pt x="27" y="55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19" y="51"/>
                  </a:lnTo>
                  <a:lnTo>
                    <a:pt x="18" y="48"/>
                  </a:lnTo>
                  <a:lnTo>
                    <a:pt x="16" y="46"/>
                  </a:lnTo>
                  <a:lnTo>
                    <a:pt x="15" y="46"/>
                  </a:lnTo>
                  <a:lnTo>
                    <a:pt x="14" y="44"/>
                  </a:lnTo>
                  <a:lnTo>
                    <a:pt x="14" y="41"/>
                  </a:lnTo>
                  <a:lnTo>
                    <a:pt x="14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0" y="34"/>
                  </a:lnTo>
                  <a:lnTo>
                    <a:pt x="7" y="29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4" y="23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3" y="12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1" name="Freeform 71"/>
            <p:cNvSpPr>
              <a:spLocks/>
            </p:cNvSpPr>
            <p:nvPr/>
          </p:nvSpPr>
          <p:spPr bwMode="auto">
            <a:xfrm>
              <a:off x="2447" y="1480"/>
              <a:ext cx="41" cy="35"/>
            </a:xfrm>
            <a:custGeom>
              <a:avLst/>
              <a:gdLst>
                <a:gd name="T0" fmla="*/ 0 w 41"/>
                <a:gd name="T1" fmla="*/ 3 h 35"/>
                <a:gd name="T2" fmla="*/ 3 w 41"/>
                <a:gd name="T3" fmla="*/ 1 h 35"/>
                <a:gd name="T4" fmla="*/ 8 w 41"/>
                <a:gd name="T5" fmla="*/ 0 h 35"/>
                <a:gd name="T6" fmla="*/ 10 w 41"/>
                <a:gd name="T7" fmla="*/ 0 h 35"/>
                <a:gd name="T8" fmla="*/ 17 w 41"/>
                <a:gd name="T9" fmla="*/ 0 h 35"/>
                <a:gd name="T10" fmla="*/ 19 w 41"/>
                <a:gd name="T11" fmla="*/ 3 h 35"/>
                <a:gd name="T12" fmla="*/ 23 w 41"/>
                <a:gd name="T13" fmla="*/ 3 h 35"/>
                <a:gd name="T14" fmla="*/ 26 w 41"/>
                <a:gd name="T15" fmla="*/ 6 h 35"/>
                <a:gd name="T16" fmla="*/ 25 w 41"/>
                <a:gd name="T17" fmla="*/ 8 h 35"/>
                <a:gd name="T18" fmla="*/ 26 w 41"/>
                <a:gd name="T19" fmla="*/ 11 h 35"/>
                <a:gd name="T20" fmla="*/ 30 w 41"/>
                <a:gd name="T21" fmla="*/ 15 h 35"/>
                <a:gd name="T22" fmla="*/ 30 w 41"/>
                <a:gd name="T23" fmla="*/ 16 h 35"/>
                <a:gd name="T24" fmla="*/ 29 w 41"/>
                <a:gd name="T25" fmla="*/ 19 h 35"/>
                <a:gd name="T26" fmla="*/ 30 w 41"/>
                <a:gd name="T27" fmla="*/ 22 h 35"/>
                <a:gd name="T28" fmla="*/ 36 w 41"/>
                <a:gd name="T29" fmla="*/ 25 h 35"/>
                <a:gd name="T30" fmla="*/ 38 w 41"/>
                <a:gd name="T31" fmla="*/ 25 h 35"/>
                <a:gd name="T32" fmla="*/ 41 w 41"/>
                <a:gd name="T33" fmla="*/ 27 h 35"/>
                <a:gd name="T34" fmla="*/ 38 w 41"/>
                <a:gd name="T35" fmla="*/ 29 h 35"/>
                <a:gd name="T36" fmla="*/ 41 w 41"/>
                <a:gd name="T37" fmla="*/ 31 h 35"/>
                <a:gd name="T38" fmla="*/ 40 w 41"/>
                <a:gd name="T39" fmla="*/ 33 h 35"/>
                <a:gd name="T40" fmla="*/ 40 w 41"/>
                <a:gd name="T41" fmla="*/ 35 h 35"/>
                <a:gd name="T42" fmla="*/ 37 w 41"/>
                <a:gd name="T43" fmla="*/ 35 h 35"/>
                <a:gd name="T44" fmla="*/ 31 w 41"/>
                <a:gd name="T45" fmla="*/ 27 h 35"/>
                <a:gd name="T46" fmla="*/ 29 w 41"/>
                <a:gd name="T47" fmla="*/ 27 h 35"/>
                <a:gd name="T48" fmla="*/ 27 w 41"/>
                <a:gd name="T49" fmla="*/ 23 h 35"/>
                <a:gd name="T50" fmla="*/ 25 w 41"/>
                <a:gd name="T51" fmla="*/ 23 h 35"/>
                <a:gd name="T52" fmla="*/ 23 w 41"/>
                <a:gd name="T53" fmla="*/ 25 h 35"/>
                <a:gd name="T54" fmla="*/ 21 w 41"/>
                <a:gd name="T55" fmla="*/ 22 h 35"/>
                <a:gd name="T56" fmla="*/ 19 w 41"/>
                <a:gd name="T57" fmla="*/ 22 h 35"/>
                <a:gd name="T58" fmla="*/ 17 w 41"/>
                <a:gd name="T59" fmla="*/ 22 h 35"/>
                <a:gd name="T60" fmla="*/ 15 w 41"/>
                <a:gd name="T61" fmla="*/ 21 h 35"/>
                <a:gd name="T62" fmla="*/ 14 w 41"/>
                <a:gd name="T63" fmla="*/ 19 h 35"/>
                <a:gd name="T64" fmla="*/ 11 w 41"/>
                <a:gd name="T65" fmla="*/ 19 h 35"/>
                <a:gd name="T66" fmla="*/ 8 w 41"/>
                <a:gd name="T67" fmla="*/ 19 h 35"/>
                <a:gd name="T68" fmla="*/ 4 w 41"/>
                <a:gd name="T69" fmla="*/ 16 h 35"/>
                <a:gd name="T70" fmla="*/ 4 w 41"/>
                <a:gd name="T71" fmla="*/ 12 h 35"/>
                <a:gd name="T72" fmla="*/ 6 w 41"/>
                <a:gd name="T73" fmla="*/ 8 h 35"/>
                <a:gd name="T74" fmla="*/ 4 w 41"/>
                <a:gd name="T75" fmla="*/ 6 h 35"/>
                <a:gd name="T76" fmla="*/ 2 w 41"/>
                <a:gd name="T77" fmla="*/ 6 h 35"/>
                <a:gd name="T78" fmla="*/ 2 w 41"/>
                <a:gd name="T79" fmla="*/ 4 h 35"/>
                <a:gd name="T80" fmla="*/ 0 w 41"/>
                <a:gd name="T81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" h="35">
                  <a:moveTo>
                    <a:pt x="0" y="3"/>
                  </a:moveTo>
                  <a:lnTo>
                    <a:pt x="3" y="1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7" y="0"/>
                  </a:lnTo>
                  <a:lnTo>
                    <a:pt x="19" y="3"/>
                  </a:lnTo>
                  <a:lnTo>
                    <a:pt x="23" y="3"/>
                  </a:lnTo>
                  <a:lnTo>
                    <a:pt x="26" y="6"/>
                  </a:lnTo>
                  <a:lnTo>
                    <a:pt x="25" y="8"/>
                  </a:lnTo>
                  <a:lnTo>
                    <a:pt x="26" y="11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29" y="19"/>
                  </a:lnTo>
                  <a:lnTo>
                    <a:pt x="30" y="22"/>
                  </a:lnTo>
                  <a:lnTo>
                    <a:pt x="36" y="25"/>
                  </a:lnTo>
                  <a:lnTo>
                    <a:pt x="38" y="25"/>
                  </a:lnTo>
                  <a:lnTo>
                    <a:pt x="41" y="27"/>
                  </a:lnTo>
                  <a:lnTo>
                    <a:pt x="38" y="29"/>
                  </a:lnTo>
                  <a:lnTo>
                    <a:pt x="41" y="31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37" y="35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3" y="25"/>
                  </a:lnTo>
                  <a:lnTo>
                    <a:pt x="21" y="22"/>
                  </a:lnTo>
                  <a:lnTo>
                    <a:pt x="19" y="22"/>
                  </a:lnTo>
                  <a:lnTo>
                    <a:pt x="17" y="22"/>
                  </a:lnTo>
                  <a:lnTo>
                    <a:pt x="15" y="21"/>
                  </a:lnTo>
                  <a:lnTo>
                    <a:pt x="14" y="19"/>
                  </a:lnTo>
                  <a:lnTo>
                    <a:pt x="11" y="19"/>
                  </a:lnTo>
                  <a:lnTo>
                    <a:pt x="8" y="19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2" name="Freeform 72"/>
            <p:cNvSpPr>
              <a:spLocks noEditPoints="1"/>
            </p:cNvSpPr>
            <p:nvPr/>
          </p:nvSpPr>
          <p:spPr bwMode="auto">
            <a:xfrm>
              <a:off x="2255" y="1471"/>
              <a:ext cx="214" cy="88"/>
            </a:xfrm>
            <a:custGeom>
              <a:avLst/>
              <a:gdLst>
                <a:gd name="T0" fmla="*/ 7 w 214"/>
                <a:gd name="T1" fmla="*/ 12 h 88"/>
                <a:gd name="T2" fmla="*/ 9 w 214"/>
                <a:gd name="T3" fmla="*/ 2 h 88"/>
                <a:gd name="T4" fmla="*/ 21 w 214"/>
                <a:gd name="T5" fmla="*/ 2 h 88"/>
                <a:gd name="T6" fmla="*/ 32 w 214"/>
                <a:gd name="T7" fmla="*/ 15 h 88"/>
                <a:gd name="T8" fmla="*/ 24 w 214"/>
                <a:gd name="T9" fmla="*/ 17 h 88"/>
                <a:gd name="T10" fmla="*/ 9 w 214"/>
                <a:gd name="T11" fmla="*/ 25 h 88"/>
                <a:gd name="T12" fmla="*/ 9 w 214"/>
                <a:gd name="T13" fmla="*/ 23 h 88"/>
                <a:gd name="T14" fmla="*/ 0 w 214"/>
                <a:gd name="T15" fmla="*/ 20 h 88"/>
                <a:gd name="T16" fmla="*/ 170 w 214"/>
                <a:gd name="T17" fmla="*/ 9 h 88"/>
                <a:gd name="T18" fmla="*/ 157 w 214"/>
                <a:gd name="T19" fmla="*/ 16 h 88"/>
                <a:gd name="T20" fmla="*/ 146 w 214"/>
                <a:gd name="T21" fmla="*/ 15 h 88"/>
                <a:gd name="T22" fmla="*/ 130 w 214"/>
                <a:gd name="T23" fmla="*/ 15 h 88"/>
                <a:gd name="T24" fmla="*/ 116 w 214"/>
                <a:gd name="T25" fmla="*/ 10 h 88"/>
                <a:gd name="T26" fmla="*/ 108 w 214"/>
                <a:gd name="T27" fmla="*/ 4 h 88"/>
                <a:gd name="T28" fmla="*/ 98 w 214"/>
                <a:gd name="T29" fmla="*/ 1 h 88"/>
                <a:gd name="T30" fmla="*/ 88 w 214"/>
                <a:gd name="T31" fmla="*/ 2 h 88"/>
                <a:gd name="T32" fmla="*/ 67 w 214"/>
                <a:gd name="T33" fmla="*/ 5 h 88"/>
                <a:gd name="T34" fmla="*/ 59 w 214"/>
                <a:gd name="T35" fmla="*/ 13 h 88"/>
                <a:gd name="T36" fmla="*/ 47 w 214"/>
                <a:gd name="T37" fmla="*/ 13 h 88"/>
                <a:gd name="T38" fmla="*/ 34 w 214"/>
                <a:gd name="T39" fmla="*/ 15 h 88"/>
                <a:gd name="T40" fmla="*/ 41 w 214"/>
                <a:gd name="T41" fmla="*/ 21 h 88"/>
                <a:gd name="T42" fmla="*/ 33 w 214"/>
                <a:gd name="T43" fmla="*/ 25 h 88"/>
                <a:gd name="T44" fmla="*/ 22 w 214"/>
                <a:gd name="T45" fmla="*/ 27 h 88"/>
                <a:gd name="T46" fmla="*/ 13 w 214"/>
                <a:gd name="T47" fmla="*/ 25 h 88"/>
                <a:gd name="T48" fmla="*/ 3 w 214"/>
                <a:gd name="T49" fmla="*/ 35 h 88"/>
                <a:gd name="T50" fmla="*/ 7 w 214"/>
                <a:gd name="T51" fmla="*/ 39 h 88"/>
                <a:gd name="T52" fmla="*/ 11 w 214"/>
                <a:gd name="T53" fmla="*/ 44 h 88"/>
                <a:gd name="T54" fmla="*/ 14 w 214"/>
                <a:gd name="T55" fmla="*/ 47 h 88"/>
                <a:gd name="T56" fmla="*/ 11 w 214"/>
                <a:gd name="T57" fmla="*/ 53 h 88"/>
                <a:gd name="T58" fmla="*/ 6 w 214"/>
                <a:gd name="T59" fmla="*/ 54 h 88"/>
                <a:gd name="T60" fmla="*/ 9 w 214"/>
                <a:gd name="T61" fmla="*/ 59 h 88"/>
                <a:gd name="T62" fmla="*/ 14 w 214"/>
                <a:gd name="T63" fmla="*/ 66 h 88"/>
                <a:gd name="T64" fmla="*/ 20 w 214"/>
                <a:gd name="T65" fmla="*/ 74 h 88"/>
                <a:gd name="T66" fmla="*/ 26 w 214"/>
                <a:gd name="T67" fmla="*/ 74 h 88"/>
                <a:gd name="T68" fmla="*/ 18 w 214"/>
                <a:gd name="T69" fmla="*/ 80 h 88"/>
                <a:gd name="T70" fmla="*/ 25 w 214"/>
                <a:gd name="T71" fmla="*/ 80 h 88"/>
                <a:gd name="T72" fmla="*/ 32 w 214"/>
                <a:gd name="T73" fmla="*/ 78 h 88"/>
                <a:gd name="T74" fmla="*/ 39 w 214"/>
                <a:gd name="T75" fmla="*/ 80 h 88"/>
                <a:gd name="T76" fmla="*/ 43 w 214"/>
                <a:gd name="T77" fmla="*/ 85 h 88"/>
                <a:gd name="T78" fmla="*/ 52 w 214"/>
                <a:gd name="T79" fmla="*/ 84 h 88"/>
                <a:gd name="T80" fmla="*/ 56 w 214"/>
                <a:gd name="T81" fmla="*/ 77 h 88"/>
                <a:gd name="T82" fmla="*/ 77 w 214"/>
                <a:gd name="T83" fmla="*/ 85 h 88"/>
                <a:gd name="T84" fmla="*/ 94 w 214"/>
                <a:gd name="T85" fmla="*/ 84 h 88"/>
                <a:gd name="T86" fmla="*/ 108 w 214"/>
                <a:gd name="T87" fmla="*/ 77 h 88"/>
                <a:gd name="T88" fmla="*/ 119 w 214"/>
                <a:gd name="T89" fmla="*/ 76 h 88"/>
                <a:gd name="T90" fmla="*/ 117 w 214"/>
                <a:gd name="T91" fmla="*/ 85 h 88"/>
                <a:gd name="T92" fmla="*/ 124 w 214"/>
                <a:gd name="T93" fmla="*/ 84 h 88"/>
                <a:gd name="T94" fmla="*/ 132 w 214"/>
                <a:gd name="T95" fmla="*/ 78 h 88"/>
                <a:gd name="T96" fmla="*/ 149 w 214"/>
                <a:gd name="T97" fmla="*/ 74 h 88"/>
                <a:gd name="T98" fmla="*/ 162 w 214"/>
                <a:gd name="T99" fmla="*/ 74 h 88"/>
                <a:gd name="T100" fmla="*/ 180 w 214"/>
                <a:gd name="T101" fmla="*/ 72 h 88"/>
                <a:gd name="T102" fmla="*/ 195 w 214"/>
                <a:gd name="T103" fmla="*/ 68 h 88"/>
                <a:gd name="T104" fmla="*/ 209 w 214"/>
                <a:gd name="T105" fmla="*/ 68 h 88"/>
                <a:gd name="T106" fmla="*/ 213 w 214"/>
                <a:gd name="T107" fmla="*/ 66 h 88"/>
                <a:gd name="T108" fmla="*/ 209 w 214"/>
                <a:gd name="T109" fmla="*/ 51 h 88"/>
                <a:gd name="T110" fmla="*/ 204 w 214"/>
                <a:gd name="T111" fmla="*/ 40 h 88"/>
                <a:gd name="T112" fmla="*/ 209 w 214"/>
                <a:gd name="T113" fmla="*/ 32 h 88"/>
                <a:gd name="T114" fmla="*/ 196 w 214"/>
                <a:gd name="T115" fmla="*/ 25 h 88"/>
                <a:gd name="T116" fmla="*/ 194 w 214"/>
                <a:gd name="T117" fmla="*/ 13 h 88"/>
                <a:gd name="T118" fmla="*/ 181 w 214"/>
                <a:gd name="T119" fmla="*/ 8 h 88"/>
                <a:gd name="T120" fmla="*/ 173 w 214"/>
                <a:gd name="T121" fmla="*/ 5 h 88"/>
                <a:gd name="T122" fmla="*/ 25 w 214"/>
                <a:gd name="T123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4" h="88">
                  <a:moveTo>
                    <a:pt x="0" y="20"/>
                  </a:moveTo>
                  <a:lnTo>
                    <a:pt x="3" y="19"/>
                  </a:lnTo>
                  <a:lnTo>
                    <a:pt x="5" y="16"/>
                  </a:lnTo>
                  <a:lnTo>
                    <a:pt x="3" y="13"/>
                  </a:lnTo>
                  <a:lnTo>
                    <a:pt x="7" y="12"/>
                  </a:lnTo>
                  <a:lnTo>
                    <a:pt x="7" y="9"/>
                  </a:lnTo>
                  <a:lnTo>
                    <a:pt x="5" y="8"/>
                  </a:lnTo>
                  <a:lnTo>
                    <a:pt x="5" y="5"/>
                  </a:lnTo>
                  <a:lnTo>
                    <a:pt x="7" y="2"/>
                  </a:lnTo>
                  <a:lnTo>
                    <a:pt x="9" y="2"/>
                  </a:lnTo>
                  <a:lnTo>
                    <a:pt x="10" y="1"/>
                  </a:lnTo>
                  <a:lnTo>
                    <a:pt x="14" y="1"/>
                  </a:lnTo>
                  <a:lnTo>
                    <a:pt x="17" y="4"/>
                  </a:lnTo>
                  <a:lnTo>
                    <a:pt x="18" y="2"/>
                  </a:lnTo>
                  <a:lnTo>
                    <a:pt x="21" y="2"/>
                  </a:lnTo>
                  <a:lnTo>
                    <a:pt x="21" y="6"/>
                  </a:lnTo>
                  <a:lnTo>
                    <a:pt x="25" y="10"/>
                  </a:lnTo>
                  <a:lnTo>
                    <a:pt x="28" y="10"/>
                  </a:lnTo>
                  <a:lnTo>
                    <a:pt x="30" y="13"/>
                  </a:lnTo>
                  <a:lnTo>
                    <a:pt x="32" y="15"/>
                  </a:lnTo>
                  <a:lnTo>
                    <a:pt x="32" y="16"/>
                  </a:lnTo>
                  <a:lnTo>
                    <a:pt x="30" y="19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4" y="17"/>
                  </a:lnTo>
                  <a:lnTo>
                    <a:pt x="22" y="17"/>
                  </a:lnTo>
                  <a:lnTo>
                    <a:pt x="18" y="17"/>
                  </a:lnTo>
                  <a:lnTo>
                    <a:pt x="15" y="19"/>
                  </a:lnTo>
                  <a:lnTo>
                    <a:pt x="14" y="21"/>
                  </a:lnTo>
                  <a:lnTo>
                    <a:pt x="9" y="25"/>
                  </a:lnTo>
                  <a:lnTo>
                    <a:pt x="3" y="30"/>
                  </a:lnTo>
                  <a:lnTo>
                    <a:pt x="3" y="28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3" y="23"/>
                  </a:lnTo>
                  <a:lnTo>
                    <a:pt x="2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172" y="5"/>
                  </a:moveTo>
                  <a:lnTo>
                    <a:pt x="172" y="6"/>
                  </a:lnTo>
                  <a:lnTo>
                    <a:pt x="170" y="9"/>
                  </a:lnTo>
                  <a:lnTo>
                    <a:pt x="166" y="10"/>
                  </a:lnTo>
                  <a:lnTo>
                    <a:pt x="164" y="13"/>
                  </a:lnTo>
                  <a:lnTo>
                    <a:pt x="162" y="15"/>
                  </a:lnTo>
                  <a:lnTo>
                    <a:pt x="158" y="15"/>
                  </a:lnTo>
                  <a:lnTo>
                    <a:pt x="157" y="16"/>
                  </a:lnTo>
                  <a:lnTo>
                    <a:pt x="153" y="15"/>
                  </a:lnTo>
                  <a:lnTo>
                    <a:pt x="151" y="15"/>
                  </a:lnTo>
                  <a:lnTo>
                    <a:pt x="150" y="15"/>
                  </a:lnTo>
                  <a:lnTo>
                    <a:pt x="149" y="13"/>
                  </a:lnTo>
                  <a:lnTo>
                    <a:pt x="146" y="15"/>
                  </a:lnTo>
                  <a:lnTo>
                    <a:pt x="142" y="15"/>
                  </a:lnTo>
                  <a:lnTo>
                    <a:pt x="138" y="16"/>
                  </a:lnTo>
                  <a:lnTo>
                    <a:pt x="134" y="16"/>
                  </a:lnTo>
                  <a:lnTo>
                    <a:pt x="131" y="13"/>
                  </a:lnTo>
                  <a:lnTo>
                    <a:pt x="130" y="15"/>
                  </a:lnTo>
                  <a:lnTo>
                    <a:pt x="124" y="13"/>
                  </a:lnTo>
                  <a:lnTo>
                    <a:pt x="123" y="12"/>
                  </a:lnTo>
                  <a:lnTo>
                    <a:pt x="119" y="9"/>
                  </a:lnTo>
                  <a:lnTo>
                    <a:pt x="117" y="9"/>
                  </a:lnTo>
                  <a:lnTo>
                    <a:pt x="116" y="10"/>
                  </a:lnTo>
                  <a:lnTo>
                    <a:pt x="115" y="10"/>
                  </a:lnTo>
                  <a:lnTo>
                    <a:pt x="112" y="8"/>
                  </a:lnTo>
                  <a:lnTo>
                    <a:pt x="112" y="5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4" y="6"/>
                  </a:lnTo>
                  <a:lnTo>
                    <a:pt x="100" y="2"/>
                  </a:lnTo>
                  <a:lnTo>
                    <a:pt x="98" y="1"/>
                  </a:lnTo>
                  <a:lnTo>
                    <a:pt x="98" y="0"/>
                  </a:lnTo>
                  <a:lnTo>
                    <a:pt x="96" y="2"/>
                  </a:lnTo>
                  <a:lnTo>
                    <a:pt x="92" y="2"/>
                  </a:lnTo>
                  <a:lnTo>
                    <a:pt x="90" y="1"/>
                  </a:lnTo>
                  <a:lnTo>
                    <a:pt x="88" y="2"/>
                  </a:lnTo>
                  <a:lnTo>
                    <a:pt x="82" y="1"/>
                  </a:lnTo>
                  <a:lnTo>
                    <a:pt x="79" y="2"/>
                  </a:lnTo>
                  <a:lnTo>
                    <a:pt x="74" y="5"/>
                  </a:lnTo>
                  <a:lnTo>
                    <a:pt x="71" y="5"/>
                  </a:lnTo>
                  <a:lnTo>
                    <a:pt x="67" y="5"/>
                  </a:lnTo>
                  <a:lnTo>
                    <a:pt x="66" y="8"/>
                  </a:lnTo>
                  <a:lnTo>
                    <a:pt x="63" y="8"/>
                  </a:lnTo>
                  <a:lnTo>
                    <a:pt x="62" y="9"/>
                  </a:lnTo>
                  <a:lnTo>
                    <a:pt x="60" y="10"/>
                  </a:lnTo>
                  <a:lnTo>
                    <a:pt x="59" y="13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55" y="16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4" y="15"/>
                  </a:lnTo>
                  <a:lnTo>
                    <a:pt x="43" y="13"/>
                  </a:lnTo>
                  <a:lnTo>
                    <a:pt x="39" y="15"/>
                  </a:lnTo>
                  <a:lnTo>
                    <a:pt x="37" y="15"/>
                  </a:lnTo>
                  <a:lnTo>
                    <a:pt x="34" y="15"/>
                  </a:lnTo>
                  <a:lnTo>
                    <a:pt x="33" y="16"/>
                  </a:lnTo>
                  <a:lnTo>
                    <a:pt x="36" y="20"/>
                  </a:lnTo>
                  <a:lnTo>
                    <a:pt x="39" y="20"/>
                  </a:lnTo>
                  <a:lnTo>
                    <a:pt x="41" y="20"/>
                  </a:lnTo>
                  <a:lnTo>
                    <a:pt x="41" y="21"/>
                  </a:lnTo>
                  <a:lnTo>
                    <a:pt x="36" y="21"/>
                  </a:lnTo>
                  <a:lnTo>
                    <a:pt x="32" y="23"/>
                  </a:lnTo>
                  <a:lnTo>
                    <a:pt x="30" y="25"/>
                  </a:lnTo>
                  <a:lnTo>
                    <a:pt x="32" y="25"/>
                  </a:lnTo>
                  <a:lnTo>
                    <a:pt x="33" y="25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28" y="27"/>
                  </a:lnTo>
                  <a:lnTo>
                    <a:pt x="25" y="27"/>
                  </a:lnTo>
                  <a:lnTo>
                    <a:pt x="22" y="27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17" y="28"/>
                  </a:lnTo>
                  <a:lnTo>
                    <a:pt x="15" y="28"/>
                  </a:lnTo>
                  <a:lnTo>
                    <a:pt x="13" y="25"/>
                  </a:lnTo>
                  <a:lnTo>
                    <a:pt x="10" y="25"/>
                  </a:lnTo>
                  <a:lnTo>
                    <a:pt x="5" y="30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3" y="39"/>
                  </a:lnTo>
                  <a:lnTo>
                    <a:pt x="3" y="40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10" y="39"/>
                  </a:lnTo>
                  <a:lnTo>
                    <a:pt x="13" y="39"/>
                  </a:lnTo>
                  <a:lnTo>
                    <a:pt x="10" y="42"/>
                  </a:lnTo>
                  <a:lnTo>
                    <a:pt x="10" y="43"/>
                  </a:lnTo>
                  <a:lnTo>
                    <a:pt x="11" y="44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9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3" y="50"/>
                  </a:lnTo>
                  <a:lnTo>
                    <a:pt x="10" y="51"/>
                  </a:lnTo>
                  <a:lnTo>
                    <a:pt x="11" y="51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10" y="55"/>
                  </a:lnTo>
                  <a:lnTo>
                    <a:pt x="9" y="55"/>
                  </a:lnTo>
                  <a:lnTo>
                    <a:pt x="7" y="53"/>
                  </a:lnTo>
                  <a:lnTo>
                    <a:pt x="6" y="51"/>
                  </a:lnTo>
                  <a:lnTo>
                    <a:pt x="6" y="54"/>
                  </a:lnTo>
                  <a:lnTo>
                    <a:pt x="7" y="55"/>
                  </a:lnTo>
                  <a:lnTo>
                    <a:pt x="6" y="57"/>
                  </a:lnTo>
                  <a:lnTo>
                    <a:pt x="6" y="58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11" y="61"/>
                  </a:lnTo>
                  <a:lnTo>
                    <a:pt x="13" y="61"/>
                  </a:lnTo>
                  <a:lnTo>
                    <a:pt x="15" y="62"/>
                  </a:lnTo>
                  <a:lnTo>
                    <a:pt x="17" y="65"/>
                  </a:lnTo>
                  <a:lnTo>
                    <a:pt x="14" y="66"/>
                  </a:lnTo>
                  <a:lnTo>
                    <a:pt x="15" y="68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21" y="73"/>
                  </a:lnTo>
                  <a:lnTo>
                    <a:pt x="20" y="74"/>
                  </a:lnTo>
                  <a:lnTo>
                    <a:pt x="17" y="73"/>
                  </a:lnTo>
                  <a:lnTo>
                    <a:pt x="17" y="74"/>
                  </a:lnTo>
                  <a:lnTo>
                    <a:pt x="18" y="76"/>
                  </a:lnTo>
                  <a:lnTo>
                    <a:pt x="22" y="74"/>
                  </a:lnTo>
                  <a:lnTo>
                    <a:pt x="26" y="74"/>
                  </a:lnTo>
                  <a:lnTo>
                    <a:pt x="26" y="76"/>
                  </a:lnTo>
                  <a:lnTo>
                    <a:pt x="25" y="77"/>
                  </a:lnTo>
                  <a:lnTo>
                    <a:pt x="22" y="78"/>
                  </a:lnTo>
                  <a:lnTo>
                    <a:pt x="20" y="78"/>
                  </a:lnTo>
                  <a:lnTo>
                    <a:pt x="18" y="80"/>
                  </a:lnTo>
                  <a:lnTo>
                    <a:pt x="20" y="80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80"/>
                  </a:lnTo>
                  <a:lnTo>
                    <a:pt x="26" y="81"/>
                  </a:lnTo>
                  <a:lnTo>
                    <a:pt x="28" y="78"/>
                  </a:lnTo>
                  <a:lnTo>
                    <a:pt x="29" y="77"/>
                  </a:lnTo>
                  <a:lnTo>
                    <a:pt x="30" y="77"/>
                  </a:lnTo>
                  <a:lnTo>
                    <a:pt x="32" y="78"/>
                  </a:lnTo>
                  <a:lnTo>
                    <a:pt x="33" y="78"/>
                  </a:lnTo>
                  <a:lnTo>
                    <a:pt x="36" y="80"/>
                  </a:lnTo>
                  <a:lnTo>
                    <a:pt x="37" y="78"/>
                  </a:lnTo>
                  <a:lnTo>
                    <a:pt x="39" y="78"/>
                  </a:lnTo>
                  <a:lnTo>
                    <a:pt x="39" y="80"/>
                  </a:lnTo>
                  <a:lnTo>
                    <a:pt x="37" y="80"/>
                  </a:lnTo>
                  <a:lnTo>
                    <a:pt x="39" y="81"/>
                  </a:lnTo>
                  <a:lnTo>
                    <a:pt x="39" y="84"/>
                  </a:lnTo>
                  <a:lnTo>
                    <a:pt x="41" y="85"/>
                  </a:lnTo>
                  <a:lnTo>
                    <a:pt x="43" y="85"/>
                  </a:lnTo>
                  <a:lnTo>
                    <a:pt x="44" y="85"/>
                  </a:lnTo>
                  <a:lnTo>
                    <a:pt x="48" y="85"/>
                  </a:lnTo>
                  <a:lnTo>
                    <a:pt x="49" y="84"/>
                  </a:lnTo>
                  <a:lnTo>
                    <a:pt x="51" y="84"/>
                  </a:lnTo>
                  <a:lnTo>
                    <a:pt x="52" y="84"/>
                  </a:lnTo>
                  <a:lnTo>
                    <a:pt x="55" y="84"/>
                  </a:lnTo>
                  <a:lnTo>
                    <a:pt x="56" y="84"/>
                  </a:lnTo>
                  <a:lnTo>
                    <a:pt x="56" y="81"/>
                  </a:lnTo>
                  <a:lnTo>
                    <a:pt x="56" y="80"/>
                  </a:lnTo>
                  <a:lnTo>
                    <a:pt x="56" y="77"/>
                  </a:lnTo>
                  <a:lnTo>
                    <a:pt x="60" y="76"/>
                  </a:lnTo>
                  <a:lnTo>
                    <a:pt x="64" y="77"/>
                  </a:lnTo>
                  <a:lnTo>
                    <a:pt x="70" y="80"/>
                  </a:lnTo>
                  <a:lnTo>
                    <a:pt x="73" y="80"/>
                  </a:lnTo>
                  <a:lnTo>
                    <a:pt x="77" y="85"/>
                  </a:lnTo>
                  <a:lnTo>
                    <a:pt x="79" y="87"/>
                  </a:lnTo>
                  <a:lnTo>
                    <a:pt x="90" y="85"/>
                  </a:lnTo>
                  <a:lnTo>
                    <a:pt x="93" y="84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97" y="84"/>
                  </a:lnTo>
                  <a:lnTo>
                    <a:pt x="97" y="81"/>
                  </a:lnTo>
                  <a:lnTo>
                    <a:pt x="102" y="76"/>
                  </a:lnTo>
                  <a:lnTo>
                    <a:pt x="104" y="76"/>
                  </a:lnTo>
                  <a:lnTo>
                    <a:pt x="108" y="77"/>
                  </a:lnTo>
                  <a:lnTo>
                    <a:pt x="111" y="78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7" y="74"/>
                  </a:lnTo>
                  <a:lnTo>
                    <a:pt x="119" y="76"/>
                  </a:lnTo>
                  <a:lnTo>
                    <a:pt x="120" y="77"/>
                  </a:lnTo>
                  <a:lnTo>
                    <a:pt x="117" y="80"/>
                  </a:lnTo>
                  <a:lnTo>
                    <a:pt x="116" y="81"/>
                  </a:lnTo>
                  <a:lnTo>
                    <a:pt x="116" y="83"/>
                  </a:lnTo>
                  <a:lnTo>
                    <a:pt x="117" y="85"/>
                  </a:lnTo>
                  <a:lnTo>
                    <a:pt x="117" y="87"/>
                  </a:lnTo>
                  <a:lnTo>
                    <a:pt x="120" y="88"/>
                  </a:lnTo>
                  <a:lnTo>
                    <a:pt x="122" y="87"/>
                  </a:lnTo>
                  <a:lnTo>
                    <a:pt x="124" y="87"/>
                  </a:lnTo>
                  <a:lnTo>
                    <a:pt x="124" y="84"/>
                  </a:lnTo>
                  <a:lnTo>
                    <a:pt x="126" y="83"/>
                  </a:lnTo>
                  <a:lnTo>
                    <a:pt x="126" y="78"/>
                  </a:lnTo>
                  <a:lnTo>
                    <a:pt x="127" y="77"/>
                  </a:lnTo>
                  <a:lnTo>
                    <a:pt x="130" y="77"/>
                  </a:lnTo>
                  <a:lnTo>
                    <a:pt x="132" y="78"/>
                  </a:lnTo>
                  <a:lnTo>
                    <a:pt x="138" y="76"/>
                  </a:lnTo>
                  <a:lnTo>
                    <a:pt x="139" y="76"/>
                  </a:lnTo>
                  <a:lnTo>
                    <a:pt x="141" y="74"/>
                  </a:lnTo>
                  <a:lnTo>
                    <a:pt x="146" y="74"/>
                  </a:lnTo>
                  <a:lnTo>
                    <a:pt x="149" y="74"/>
                  </a:lnTo>
                  <a:lnTo>
                    <a:pt x="150" y="76"/>
                  </a:lnTo>
                  <a:lnTo>
                    <a:pt x="154" y="76"/>
                  </a:lnTo>
                  <a:lnTo>
                    <a:pt x="160" y="77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4" y="73"/>
                  </a:lnTo>
                  <a:lnTo>
                    <a:pt x="169" y="72"/>
                  </a:lnTo>
                  <a:lnTo>
                    <a:pt x="172" y="72"/>
                  </a:lnTo>
                  <a:lnTo>
                    <a:pt x="173" y="70"/>
                  </a:lnTo>
                  <a:lnTo>
                    <a:pt x="180" y="72"/>
                  </a:lnTo>
                  <a:lnTo>
                    <a:pt x="184" y="70"/>
                  </a:lnTo>
                  <a:lnTo>
                    <a:pt x="188" y="69"/>
                  </a:lnTo>
                  <a:lnTo>
                    <a:pt x="188" y="70"/>
                  </a:lnTo>
                  <a:lnTo>
                    <a:pt x="192" y="68"/>
                  </a:lnTo>
                  <a:lnTo>
                    <a:pt x="195" y="68"/>
                  </a:lnTo>
                  <a:lnTo>
                    <a:pt x="195" y="66"/>
                  </a:lnTo>
                  <a:lnTo>
                    <a:pt x="200" y="66"/>
                  </a:lnTo>
                  <a:lnTo>
                    <a:pt x="204" y="68"/>
                  </a:lnTo>
                  <a:lnTo>
                    <a:pt x="207" y="68"/>
                  </a:lnTo>
                  <a:lnTo>
                    <a:pt x="209" y="68"/>
                  </a:lnTo>
                  <a:lnTo>
                    <a:pt x="209" y="70"/>
                  </a:lnTo>
                  <a:lnTo>
                    <a:pt x="211" y="72"/>
                  </a:lnTo>
                  <a:lnTo>
                    <a:pt x="214" y="70"/>
                  </a:lnTo>
                  <a:lnTo>
                    <a:pt x="214" y="69"/>
                  </a:lnTo>
                  <a:lnTo>
                    <a:pt x="213" y="66"/>
                  </a:lnTo>
                  <a:lnTo>
                    <a:pt x="210" y="61"/>
                  </a:lnTo>
                  <a:lnTo>
                    <a:pt x="207" y="59"/>
                  </a:lnTo>
                  <a:lnTo>
                    <a:pt x="207" y="58"/>
                  </a:lnTo>
                  <a:lnTo>
                    <a:pt x="207" y="55"/>
                  </a:lnTo>
                  <a:lnTo>
                    <a:pt x="209" y="51"/>
                  </a:lnTo>
                  <a:lnTo>
                    <a:pt x="209" y="50"/>
                  </a:lnTo>
                  <a:lnTo>
                    <a:pt x="206" y="50"/>
                  </a:lnTo>
                  <a:lnTo>
                    <a:pt x="206" y="47"/>
                  </a:lnTo>
                  <a:lnTo>
                    <a:pt x="206" y="44"/>
                  </a:lnTo>
                  <a:lnTo>
                    <a:pt x="204" y="40"/>
                  </a:lnTo>
                  <a:lnTo>
                    <a:pt x="203" y="38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07" y="34"/>
                  </a:lnTo>
                  <a:lnTo>
                    <a:pt x="209" y="32"/>
                  </a:lnTo>
                  <a:lnTo>
                    <a:pt x="207" y="30"/>
                  </a:lnTo>
                  <a:lnTo>
                    <a:pt x="206" y="28"/>
                  </a:lnTo>
                  <a:lnTo>
                    <a:pt x="203" y="28"/>
                  </a:lnTo>
                  <a:lnTo>
                    <a:pt x="200" y="28"/>
                  </a:lnTo>
                  <a:lnTo>
                    <a:pt x="196" y="25"/>
                  </a:lnTo>
                  <a:lnTo>
                    <a:pt x="196" y="21"/>
                  </a:lnTo>
                  <a:lnTo>
                    <a:pt x="198" y="17"/>
                  </a:lnTo>
                  <a:lnTo>
                    <a:pt x="196" y="15"/>
                  </a:lnTo>
                  <a:lnTo>
                    <a:pt x="194" y="15"/>
                  </a:lnTo>
                  <a:lnTo>
                    <a:pt x="194" y="13"/>
                  </a:lnTo>
                  <a:lnTo>
                    <a:pt x="191" y="10"/>
                  </a:lnTo>
                  <a:lnTo>
                    <a:pt x="190" y="10"/>
                  </a:lnTo>
                  <a:lnTo>
                    <a:pt x="184" y="6"/>
                  </a:lnTo>
                  <a:lnTo>
                    <a:pt x="183" y="6"/>
                  </a:lnTo>
                  <a:lnTo>
                    <a:pt x="181" y="8"/>
                  </a:lnTo>
                  <a:lnTo>
                    <a:pt x="180" y="8"/>
                  </a:lnTo>
                  <a:lnTo>
                    <a:pt x="176" y="6"/>
                  </a:lnTo>
                  <a:lnTo>
                    <a:pt x="176" y="8"/>
                  </a:lnTo>
                  <a:lnTo>
                    <a:pt x="175" y="8"/>
                  </a:lnTo>
                  <a:lnTo>
                    <a:pt x="173" y="5"/>
                  </a:lnTo>
                  <a:lnTo>
                    <a:pt x="172" y="5"/>
                  </a:lnTo>
                  <a:lnTo>
                    <a:pt x="172" y="5"/>
                  </a:lnTo>
                  <a:close/>
                  <a:moveTo>
                    <a:pt x="22" y="81"/>
                  </a:moveTo>
                  <a:lnTo>
                    <a:pt x="24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4" y="81"/>
                  </a:lnTo>
                  <a:lnTo>
                    <a:pt x="22" y="81"/>
                  </a:lnTo>
                  <a:lnTo>
                    <a:pt x="22" y="8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3" name="Freeform 73"/>
            <p:cNvSpPr>
              <a:spLocks/>
            </p:cNvSpPr>
            <p:nvPr/>
          </p:nvSpPr>
          <p:spPr bwMode="auto">
            <a:xfrm>
              <a:off x="2409" y="1537"/>
              <a:ext cx="114" cy="110"/>
            </a:xfrm>
            <a:custGeom>
              <a:avLst/>
              <a:gdLst>
                <a:gd name="T0" fmla="*/ 113 w 114"/>
                <a:gd name="T1" fmla="*/ 94 h 110"/>
                <a:gd name="T2" fmla="*/ 109 w 114"/>
                <a:gd name="T3" fmla="*/ 91 h 110"/>
                <a:gd name="T4" fmla="*/ 103 w 114"/>
                <a:gd name="T5" fmla="*/ 85 h 110"/>
                <a:gd name="T6" fmla="*/ 103 w 114"/>
                <a:gd name="T7" fmla="*/ 78 h 110"/>
                <a:gd name="T8" fmla="*/ 103 w 114"/>
                <a:gd name="T9" fmla="*/ 70 h 110"/>
                <a:gd name="T10" fmla="*/ 99 w 114"/>
                <a:gd name="T11" fmla="*/ 65 h 110"/>
                <a:gd name="T12" fmla="*/ 97 w 114"/>
                <a:gd name="T13" fmla="*/ 64 h 110"/>
                <a:gd name="T14" fmla="*/ 86 w 114"/>
                <a:gd name="T15" fmla="*/ 59 h 110"/>
                <a:gd name="T16" fmla="*/ 82 w 114"/>
                <a:gd name="T17" fmla="*/ 57 h 110"/>
                <a:gd name="T18" fmla="*/ 82 w 114"/>
                <a:gd name="T19" fmla="*/ 56 h 110"/>
                <a:gd name="T20" fmla="*/ 80 w 114"/>
                <a:gd name="T21" fmla="*/ 51 h 110"/>
                <a:gd name="T22" fmla="*/ 76 w 114"/>
                <a:gd name="T23" fmla="*/ 49 h 110"/>
                <a:gd name="T24" fmla="*/ 74 w 114"/>
                <a:gd name="T25" fmla="*/ 46 h 110"/>
                <a:gd name="T26" fmla="*/ 75 w 114"/>
                <a:gd name="T27" fmla="*/ 44 h 110"/>
                <a:gd name="T28" fmla="*/ 75 w 114"/>
                <a:gd name="T29" fmla="*/ 41 h 110"/>
                <a:gd name="T30" fmla="*/ 76 w 114"/>
                <a:gd name="T31" fmla="*/ 36 h 110"/>
                <a:gd name="T32" fmla="*/ 78 w 114"/>
                <a:gd name="T33" fmla="*/ 33 h 110"/>
                <a:gd name="T34" fmla="*/ 79 w 114"/>
                <a:gd name="T35" fmla="*/ 27 h 110"/>
                <a:gd name="T36" fmla="*/ 79 w 114"/>
                <a:gd name="T37" fmla="*/ 23 h 110"/>
                <a:gd name="T38" fmla="*/ 82 w 114"/>
                <a:gd name="T39" fmla="*/ 23 h 110"/>
                <a:gd name="T40" fmla="*/ 82 w 114"/>
                <a:gd name="T41" fmla="*/ 22 h 110"/>
                <a:gd name="T42" fmla="*/ 78 w 114"/>
                <a:gd name="T43" fmla="*/ 21 h 110"/>
                <a:gd name="T44" fmla="*/ 72 w 114"/>
                <a:gd name="T45" fmla="*/ 18 h 110"/>
                <a:gd name="T46" fmla="*/ 68 w 114"/>
                <a:gd name="T47" fmla="*/ 17 h 110"/>
                <a:gd name="T48" fmla="*/ 65 w 114"/>
                <a:gd name="T49" fmla="*/ 12 h 110"/>
                <a:gd name="T50" fmla="*/ 63 w 114"/>
                <a:gd name="T51" fmla="*/ 10 h 110"/>
                <a:gd name="T52" fmla="*/ 63 w 114"/>
                <a:gd name="T53" fmla="*/ 4 h 110"/>
                <a:gd name="T54" fmla="*/ 57 w 114"/>
                <a:gd name="T55" fmla="*/ 6 h 110"/>
                <a:gd name="T56" fmla="*/ 55 w 114"/>
                <a:gd name="T57" fmla="*/ 2 h 110"/>
                <a:gd name="T58" fmla="*/ 50 w 114"/>
                <a:gd name="T59" fmla="*/ 2 h 110"/>
                <a:gd name="T60" fmla="*/ 41 w 114"/>
                <a:gd name="T61" fmla="*/ 0 h 110"/>
                <a:gd name="T62" fmla="*/ 38 w 114"/>
                <a:gd name="T63" fmla="*/ 2 h 110"/>
                <a:gd name="T64" fmla="*/ 36 w 114"/>
                <a:gd name="T65" fmla="*/ 4 h 110"/>
                <a:gd name="T66" fmla="*/ 33 w 114"/>
                <a:gd name="T67" fmla="*/ 7 h 110"/>
                <a:gd name="T68" fmla="*/ 26 w 114"/>
                <a:gd name="T69" fmla="*/ 10 h 110"/>
                <a:gd name="T70" fmla="*/ 23 w 114"/>
                <a:gd name="T71" fmla="*/ 18 h 110"/>
                <a:gd name="T72" fmla="*/ 25 w 114"/>
                <a:gd name="T73" fmla="*/ 26 h 110"/>
                <a:gd name="T74" fmla="*/ 23 w 114"/>
                <a:gd name="T75" fmla="*/ 31 h 110"/>
                <a:gd name="T76" fmla="*/ 22 w 114"/>
                <a:gd name="T77" fmla="*/ 38 h 110"/>
                <a:gd name="T78" fmla="*/ 0 w 114"/>
                <a:gd name="T79" fmla="*/ 55 h 110"/>
                <a:gd name="T80" fmla="*/ 0 w 114"/>
                <a:gd name="T81" fmla="*/ 55 h 110"/>
                <a:gd name="T82" fmla="*/ 16 w 114"/>
                <a:gd name="T83" fmla="*/ 71 h 110"/>
                <a:gd name="T84" fmla="*/ 93 w 114"/>
                <a:gd name="T85" fmla="*/ 110 h 110"/>
                <a:gd name="T86" fmla="*/ 98 w 114"/>
                <a:gd name="T87" fmla="*/ 99 h 110"/>
                <a:gd name="T88" fmla="*/ 108 w 114"/>
                <a:gd name="T89" fmla="*/ 98 h 110"/>
                <a:gd name="T90" fmla="*/ 112 w 114"/>
                <a:gd name="T91" fmla="*/ 98 h 110"/>
                <a:gd name="T92" fmla="*/ 114 w 114"/>
                <a:gd name="T93" fmla="*/ 9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4" h="110">
                  <a:moveTo>
                    <a:pt x="114" y="94"/>
                  </a:moveTo>
                  <a:lnTo>
                    <a:pt x="113" y="94"/>
                  </a:lnTo>
                  <a:lnTo>
                    <a:pt x="110" y="93"/>
                  </a:lnTo>
                  <a:lnTo>
                    <a:pt x="109" y="91"/>
                  </a:lnTo>
                  <a:lnTo>
                    <a:pt x="108" y="85"/>
                  </a:lnTo>
                  <a:lnTo>
                    <a:pt x="103" y="85"/>
                  </a:lnTo>
                  <a:lnTo>
                    <a:pt x="103" y="80"/>
                  </a:lnTo>
                  <a:lnTo>
                    <a:pt x="103" y="78"/>
                  </a:lnTo>
                  <a:lnTo>
                    <a:pt x="106" y="75"/>
                  </a:lnTo>
                  <a:lnTo>
                    <a:pt x="103" y="70"/>
                  </a:lnTo>
                  <a:lnTo>
                    <a:pt x="101" y="70"/>
                  </a:lnTo>
                  <a:lnTo>
                    <a:pt x="99" y="65"/>
                  </a:lnTo>
                  <a:lnTo>
                    <a:pt x="98" y="64"/>
                  </a:lnTo>
                  <a:lnTo>
                    <a:pt x="97" y="64"/>
                  </a:lnTo>
                  <a:lnTo>
                    <a:pt x="87" y="59"/>
                  </a:lnTo>
                  <a:lnTo>
                    <a:pt x="86" y="59"/>
                  </a:lnTo>
                  <a:lnTo>
                    <a:pt x="84" y="60"/>
                  </a:lnTo>
                  <a:lnTo>
                    <a:pt x="82" y="57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3" y="53"/>
                  </a:lnTo>
                  <a:lnTo>
                    <a:pt x="80" y="51"/>
                  </a:lnTo>
                  <a:lnTo>
                    <a:pt x="79" y="49"/>
                  </a:lnTo>
                  <a:lnTo>
                    <a:pt x="76" y="49"/>
                  </a:lnTo>
                  <a:lnTo>
                    <a:pt x="76" y="46"/>
                  </a:lnTo>
                  <a:lnTo>
                    <a:pt x="74" y="46"/>
                  </a:lnTo>
                  <a:lnTo>
                    <a:pt x="74" y="45"/>
                  </a:lnTo>
                  <a:lnTo>
                    <a:pt x="75" y="44"/>
                  </a:lnTo>
                  <a:lnTo>
                    <a:pt x="75" y="42"/>
                  </a:lnTo>
                  <a:lnTo>
                    <a:pt x="75" y="41"/>
                  </a:lnTo>
                  <a:lnTo>
                    <a:pt x="75" y="37"/>
                  </a:lnTo>
                  <a:lnTo>
                    <a:pt x="76" y="36"/>
                  </a:lnTo>
                  <a:lnTo>
                    <a:pt x="76" y="31"/>
                  </a:lnTo>
                  <a:lnTo>
                    <a:pt x="78" y="33"/>
                  </a:lnTo>
                  <a:lnTo>
                    <a:pt x="79" y="31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3"/>
                  </a:lnTo>
                  <a:lnTo>
                    <a:pt x="80" y="23"/>
                  </a:lnTo>
                  <a:lnTo>
                    <a:pt x="82" y="23"/>
                  </a:lnTo>
                  <a:lnTo>
                    <a:pt x="83" y="22"/>
                  </a:lnTo>
                  <a:lnTo>
                    <a:pt x="82" y="22"/>
                  </a:lnTo>
                  <a:lnTo>
                    <a:pt x="80" y="21"/>
                  </a:lnTo>
                  <a:lnTo>
                    <a:pt x="78" y="21"/>
                  </a:lnTo>
                  <a:lnTo>
                    <a:pt x="76" y="21"/>
                  </a:lnTo>
                  <a:lnTo>
                    <a:pt x="72" y="18"/>
                  </a:lnTo>
                  <a:lnTo>
                    <a:pt x="71" y="18"/>
                  </a:lnTo>
                  <a:lnTo>
                    <a:pt x="68" y="17"/>
                  </a:lnTo>
                  <a:lnTo>
                    <a:pt x="67" y="14"/>
                  </a:lnTo>
                  <a:lnTo>
                    <a:pt x="65" y="12"/>
                  </a:lnTo>
                  <a:lnTo>
                    <a:pt x="64" y="12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0" y="4"/>
                  </a:lnTo>
                  <a:lnTo>
                    <a:pt x="57" y="6"/>
                  </a:lnTo>
                  <a:lnTo>
                    <a:pt x="55" y="4"/>
                  </a:lnTo>
                  <a:lnTo>
                    <a:pt x="55" y="2"/>
                  </a:lnTo>
                  <a:lnTo>
                    <a:pt x="53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1" y="0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0" y="10"/>
                  </a:lnTo>
                  <a:lnTo>
                    <a:pt x="26" y="10"/>
                  </a:lnTo>
                  <a:lnTo>
                    <a:pt x="23" y="14"/>
                  </a:lnTo>
                  <a:lnTo>
                    <a:pt x="23" y="18"/>
                  </a:lnTo>
                  <a:lnTo>
                    <a:pt x="25" y="22"/>
                  </a:lnTo>
                  <a:lnTo>
                    <a:pt x="25" y="26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6"/>
                  </a:lnTo>
                  <a:lnTo>
                    <a:pt x="22" y="38"/>
                  </a:lnTo>
                  <a:lnTo>
                    <a:pt x="21" y="40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6" y="70"/>
                  </a:lnTo>
                  <a:lnTo>
                    <a:pt x="16" y="71"/>
                  </a:lnTo>
                  <a:lnTo>
                    <a:pt x="71" y="109"/>
                  </a:lnTo>
                  <a:lnTo>
                    <a:pt x="93" y="110"/>
                  </a:lnTo>
                  <a:lnTo>
                    <a:pt x="95" y="105"/>
                  </a:lnTo>
                  <a:lnTo>
                    <a:pt x="98" y="99"/>
                  </a:lnTo>
                  <a:lnTo>
                    <a:pt x="103" y="97"/>
                  </a:lnTo>
                  <a:lnTo>
                    <a:pt x="108" y="98"/>
                  </a:lnTo>
                  <a:lnTo>
                    <a:pt x="110" y="97"/>
                  </a:lnTo>
                  <a:lnTo>
                    <a:pt x="112" y="98"/>
                  </a:lnTo>
                  <a:lnTo>
                    <a:pt x="113" y="95"/>
                  </a:lnTo>
                  <a:lnTo>
                    <a:pt x="114" y="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4" name="Freeform 74"/>
            <p:cNvSpPr>
              <a:spLocks/>
            </p:cNvSpPr>
            <p:nvPr/>
          </p:nvSpPr>
          <p:spPr bwMode="auto">
            <a:xfrm>
              <a:off x="2502" y="1634"/>
              <a:ext cx="20" cy="20"/>
            </a:xfrm>
            <a:custGeom>
              <a:avLst/>
              <a:gdLst>
                <a:gd name="T0" fmla="*/ 0 w 20"/>
                <a:gd name="T1" fmla="*/ 13 h 20"/>
                <a:gd name="T2" fmla="*/ 2 w 20"/>
                <a:gd name="T3" fmla="*/ 8 h 20"/>
                <a:gd name="T4" fmla="*/ 5 w 20"/>
                <a:gd name="T5" fmla="*/ 2 h 20"/>
                <a:gd name="T6" fmla="*/ 10 w 20"/>
                <a:gd name="T7" fmla="*/ 0 h 20"/>
                <a:gd name="T8" fmla="*/ 15 w 20"/>
                <a:gd name="T9" fmla="*/ 1 h 20"/>
                <a:gd name="T10" fmla="*/ 17 w 20"/>
                <a:gd name="T11" fmla="*/ 0 h 20"/>
                <a:gd name="T12" fmla="*/ 19 w 20"/>
                <a:gd name="T13" fmla="*/ 1 h 20"/>
                <a:gd name="T14" fmla="*/ 19 w 20"/>
                <a:gd name="T15" fmla="*/ 1 h 20"/>
                <a:gd name="T16" fmla="*/ 19 w 20"/>
                <a:gd name="T17" fmla="*/ 7 h 20"/>
                <a:gd name="T18" fmla="*/ 12 w 20"/>
                <a:gd name="T19" fmla="*/ 8 h 20"/>
                <a:gd name="T20" fmla="*/ 17 w 20"/>
                <a:gd name="T21" fmla="*/ 11 h 20"/>
                <a:gd name="T22" fmla="*/ 17 w 20"/>
                <a:gd name="T23" fmla="*/ 9 h 20"/>
                <a:gd name="T24" fmla="*/ 19 w 20"/>
                <a:gd name="T25" fmla="*/ 12 h 20"/>
                <a:gd name="T26" fmla="*/ 19 w 20"/>
                <a:gd name="T27" fmla="*/ 13 h 20"/>
                <a:gd name="T28" fmla="*/ 20 w 20"/>
                <a:gd name="T29" fmla="*/ 15 h 20"/>
                <a:gd name="T30" fmla="*/ 20 w 20"/>
                <a:gd name="T31" fmla="*/ 15 h 20"/>
                <a:gd name="T32" fmla="*/ 19 w 20"/>
                <a:gd name="T33" fmla="*/ 16 h 20"/>
                <a:gd name="T34" fmla="*/ 20 w 20"/>
                <a:gd name="T35" fmla="*/ 17 h 20"/>
                <a:gd name="T36" fmla="*/ 13 w 20"/>
                <a:gd name="T37" fmla="*/ 20 h 20"/>
                <a:gd name="T38" fmla="*/ 12 w 20"/>
                <a:gd name="T39" fmla="*/ 16 h 20"/>
                <a:gd name="T40" fmla="*/ 2 w 20"/>
                <a:gd name="T41" fmla="*/ 13 h 20"/>
                <a:gd name="T42" fmla="*/ 0 w 20"/>
                <a:gd name="T43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20">
                  <a:moveTo>
                    <a:pt x="0" y="13"/>
                  </a:moveTo>
                  <a:lnTo>
                    <a:pt x="2" y="8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5" y="1"/>
                  </a:lnTo>
                  <a:lnTo>
                    <a:pt x="17" y="0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7"/>
                  </a:lnTo>
                  <a:lnTo>
                    <a:pt x="12" y="8"/>
                  </a:lnTo>
                  <a:lnTo>
                    <a:pt x="17" y="11"/>
                  </a:lnTo>
                  <a:lnTo>
                    <a:pt x="17" y="9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6"/>
                  </a:lnTo>
                  <a:lnTo>
                    <a:pt x="20" y="17"/>
                  </a:lnTo>
                  <a:lnTo>
                    <a:pt x="13" y="20"/>
                  </a:lnTo>
                  <a:lnTo>
                    <a:pt x="12" y="16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5" name="Freeform 75"/>
            <p:cNvSpPr>
              <a:spLocks/>
            </p:cNvSpPr>
            <p:nvPr/>
          </p:nvSpPr>
          <p:spPr bwMode="auto">
            <a:xfrm>
              <a:off x="2371" y="1540"/>
              <a:ext cx="74" cy="67"/>
            </a:xfrm>
            <a:custGeom>
              <a:avLst/>
              <a:gdLst>
                <a:gd name="T0" fmla="*/ 59 w 74"/>
                <a:gd name="T1" fmla="*/ 37 h 67"/>
                <a:gd name="T2" fmla="*/ 61 w 74"/>
                <a:gd name="T3" fmla="*/ 33 h 67"/>
                <a:gd name="T4" fmla="*/ 61 w 74"/>
                <a:gd name="T5" fmla="*/ 27 h 67"/>
                <a:gd name="T6" fmla="*/ 63 w 74"/>
                <a:gd name="T7" fmla="*/ 19 h 67"/>
                <a:gd name="T8" fmla="*/ 61 w 74"/>
                <a:gd name="T9" fmla="*/ 11 h 67"/>
                <a:gd name="T10" fmla="*/ 68 w 74"/>
                <a:gd name="T11" fmla="*/ 7 h 67"/>
                <a:gd name="T12" fmla="*/ 71 w 74"/>
                <a:gd name="T13" fmla="*/ 4 h 67"/>
                <a:gd name="T14" fmla="*/ 72 w 74"/>
                <a:gd name="T15" fmla="*/ 0 h 67"/>
                <a:gd name="T16" fmla="*/ 64 w 74"/>
                <a:gd name="T17" fmla="*/ 3 h 67"/>
                <a:gd name="T18" fmla="*/ 56 w 74"/>
                <a:gd name="T19" fmla="*/ 3 h 67"/>
                <a:gd name="T20" fmla="*/ 48 w 74"/>
                <a:gd name="T21" fmla="*/ 4 h 67"/>
                <a:gd name="T22" fmla="*/ 44 w 74"/>
                <a:gd name="T23" fmla="*/ 7 h 67"/>
                <a:gd name="T24" fmla="*/ 38 w 74"/>
                <a:gd name="T25" fmla="*/ 7 h 67"/>
                <a:gd name="T26" fmla="*/ 33 w 74"/>
                <a:gd name="T27" fmla="*/ 5 h 67"/>
                <a:gd name="T28" fmla="*/ 25 w 74"/>
                <a:gd name="T29" fmla="*/ 5 h 67"/>
                <a:gd name="T30" fmla="*/ 22 w 74"/>
                <a:gd name="T31" fmla="*/ 7 h 67"/>
                <a:gd name="T32" fmla="*/ 14 w 74"/>
                <a:gd name="T33" fmla="*/ 8 h 67"/>
                <a:gd name="T34" fmla="*/ 10 w 74"/>
                <a:gd name="T35" fmla="*/ 9 h 67"/>
                <a:gd name="T36" fmla="*/ 8 w 74"/>
                <a:gd name="T37" fmla="*/ 15 h 67"/>
                <a:gd name="T38" fmla="*/ 6 w 74"/>
                <a:gd name="T39" fmla="*/ 18 h 67"/>
                <a:gd name="T40" fmla="*/ 1 w 74"/>
                <a:gd name="T41" fmla="*/ 18 h 67"/>
                <a:gd name="T42" fmla="*/ 0 w 74"/>
                <a:gd name="T43" fmla="*/ 19 h 67"/>
                <a:gd name="T44" fmla="*/ 1 w 74"/>
                <a:gd name="T45" fmla="*/ 26 h 67"/>
                <a:gd name="T46" fmla="*/ 3 w 74"/>
                <a:gd name="T47" fmla="*/ 33 h 67"/>
                <a:gd name="T48" fmla="*/ 7 w 74"/>
                <a:gd name="T49" fmla="*/ 37 h 67"/>
                <a:gd name="T50" fmla="*/ 10 w 74"/>
                <a:gd name="T51" fmla="*/ 41 h 67"/>
                <a:gd name="T52" fmla="*/ 11 w 74"/>
                <a:gd name="T53" fmla="*/ 45 h 67"/>
                <a:gd name="T54" fmla="*/ 8 w 74"/>
                <a:gd name="T55" fmla="*/ 46 h 67"/>
                <a:gd name="T56" fmla="*/ 6 w 74"/>
                <a:gd name="T57" fmla="*/ 50 h 67"/>
                <a:gd name="T58" fmla="*/ 3 w 74"/>
                <a:gd name="T59" fmla="*/ 53 h 67"/>
                <a:gd name="T60" fmla="*/ 6 w 74"/>
                <a:gd name="T61" fmla="*/ 56 h 67"/>
                <a:gd name="T62" fmla="*/ 6 w 74"/>
                <a:gd name="T63" fmla="*/ 61 h 67"/>
                <a:gd name="T64" fmla="*/ 10 w 74"/>
                <a:gd name="T65" fmla="*/ 64 h 67"/>
                <a:gd name="T66" fmla="*/ 14 w 74"/>
                <a:gd name="T67" fmla="*/ 65 h 67"/>
                <a:gd name="T68" fmla="*/ 38 w 74"/>
                <a:gd name="T69" fmla="*/ 5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" h="67">
                  <a:moveTo>
                    <a:pt x="38" y="52"/>
                  </a:moveTo>
                  <a:lnTo>
                    <a:pt x="59" y="37"/>
                  </a:lnTo>
                  <a:lnTo>
                    <a:pt x="60" y="35"/>
                  </a:lnTo>
                  <a:lnTo>
                    <a:pt x="61" y="33"/>
                  </a:lnTo>
                  <a:lnTo>
                    <a:pt x="61" y="28"/>
                  </a:lnTo>
                  <a:lnTo>
                    <a:pt x="61" y="27"/>
                  </a:lnTo>
                  <a:lnTo>
                    <a:pt x="63" y="23"/>
                  </a:lnTo>
                  <a:lnTo>
                    <a:pt x="63" y="19"/>
                  </a:lnTo>
                  <a:lnTo>
                    <a:pt x="61" y="15"/>
                  </a:lnTo>
                  <a:lnTo>
                    <a:pt x="61" y="11"/>
                  </a:lnTo>
                  <a:lnTo>
                    <a:pt x="64" y="7"/>
                  </a:lnTo>
                  <a:lnTo>
                    <a:pt x="68" y="7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4" y="1"/>
                  </a:lnTo>
                  <a:lnTo>
                    <a:pt x="72" y="0"/>
                  </a:lnTo>
                  <a:lnTo>
                    <a:pt x="68" y="1"/>
                  </a:lnTo>
                  <a:lnTo>
                    <a:pt x="64" y="3"/>
                  </a:lnTo>
                  <a:lnTo>
                    <a:pt x="57" y="1"/>
                  </a:lnTo>
                  <a:lnTo>
                    <a:pt x="56" y="3"/>
                  </a:lnTo>
                  <a:lnTo>
                    <a:pt x="53" y="3"/>
                  </a:lnTo>
                  <a:lnTo>
                    <a:pt x="48" y="4"/>
                  </a:lnTo>
                  <a:lnTo>
                    <a:pt x="46" y="5"/>
                  </a:lnTo>
                  <a:lnTo>
                    <a:pt x="44" y="7"/>
                  </a:lnTo>
                  <a:lnTo>
                    <a:pt x="44" y="8"/>
                  </a:lnTo>
                  <a:lnTo>
                    <a:pt x="38" y="7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0" y="5"/>
                  </a:lnTo>
                  <a:lnTo>
                    <a:pt x="25" y="5"/>
                  </a:lnTo>
                  <a:lnTo>
                    <a:pt x="23" y="7"/>
                  </a:lnTo>
                  <a:lnTo>
                    <a:pt x="22" y="7"/>
                  </a:lnTo>
                  <a:lnTo>
                    <a:pt x="16" y="9"/>
                  </a:lnTo>
                  <a:lnTo>
                    <a:pt x="14" y="8"/>
                  </a:lnTo>
                  <a:lnTo>
                    <a:pt x="11" y="8"/>
                  </a:lnTo>
                  <a:lnTo>
                    <a:pt x="10" y="9"/>
                  </a:lnTo>
                  <a:lnTo>
                    <a:pt x="10" y="14"/>
                  </a:lnTo>
                  <a:lnTo>
                    <a:pt x="8" y="15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9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3" y="30"/>
                  </a:lnTo>
                  <a:lnTo>
                    <a:pt x="3" y="33"/>
                  </a:lnTo>
                  <a:lnTo>
                    <a:pt x="1" y="37"/>
                  </a:lnTo>
                  <a:lnTo>
                    <a:pt x="7" y="37"/>
                  </a:lnTo>
                  <a:lnTo>
                    <a:pt x="8" y="39"/>
                  </a:lnTo>
                  <a:lnTo>
                    <a:pt x="10" y="41"/>
                  </a:lnTo>
                  <a:lnTo>
                    <a:pt x="10" y="43"/>
                  </a:lnTo>
                  <a:lnTo>
                    <a:pt x="11" y="45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10" y="64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5" y="67"/>
                  </a:lnTo>
                  <a:lnTo>
                    <a:pt x="38" y="52"/>
                  </a:lnTo>
                  <a:lnTo>
                    <a:pt x="38" y="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6" name="Freeform 76"/>
            <p:cNvSpPr>
              <a:spLocks/>
            </p:cNvSpPr>
            <p:nvPr/>
          </p:nvSpPr>
          <p:spPr bwMode="auto">
            <a:xfrm>
              <a:off x="2356" y="1593"/>
              <a:ext cx="18" cy="52"/>
            </a:xfrm>
            <a:custGeom>
              <a:avLst/>
              <a:gdLst>
                <a:gd name="T0" fmla="*/ 11 w 18"/>
                <a:gd name="T1" fmla="*/ 52 h 52"/>
                <a:gd name="T2" fmla="*/ 12 w 18"/>
                <a:gd name="T3" fmla="*/ 49 h 52"/>
                <a:gd name="T4" fmla="*/ 12 w 18"/>
                <a:gd name="T5" fmla="*/ 49 h 52"/>
                <a:gd name="T6" fmla="*/ 12 w 18"/>
                <a:gd name="T7" fmla="*/ 48 h 52"/>
                <a:gd name="T8" fmla="*/ 14 w 18"/>
                <a:gd name="T9" fmla="*/ 46 h 52"/>
                <a:gd name="T10" fmla="*/ 14 w 18"/>
                <a:gd name="T11" fmla="*/ 43 h 52"/>
                <a:gd name="T12" fmla="*/ 15 w 18"/>
                <a:gd name="T13" fmla="*/ 41 h 52"/>
                <a:gd name="T14" fmla="*/ 15 w 18"/>
                <a:gd name="T15" fmla="*/ 37 h 52"/>
                <a:gd name="T16" fmla="*/ 15 w 18"/>
                <a:gd name="T17" fmla="*/ 37 h 52"/>
                <a:gd name="T18" fmla="*/ 15 w 18"/>
                <a:gd name="T19" fmla="*/ 34 h 52"/>
                <a:gd name="T20" fmla="*/ 16 w 18"/>
                <a:gd name="T21" fmla="*/ 31 h 52"/>
                <a:gd name="T22" fmla="*/ 15 w 18"/>
                <a:gd name="T23" fmla="*/ 30 h 52"/>
                <a:gd name="T24" fmla="*/ 16 w 18"/>
                <a:gd name="T25" fmla="*/ 24 h 52"/>
                <a:gd name="T26" fmla="*/ 15 w 18"/>
                <a:gd name="T27" fmla="*/ 24 h 52"/>
                <a:gd name="T28" fmla="*/ 14 w 18"/>
                <a:gd name="T29" fmla="*/ 24 h 52"/>
                <a:gd name="T30" fmla="*/ 12 w 18"/>
                <a:gd name="T31" fmla="*/ 26 h 52"/>
                <a:gd name="T32" fmla="*/ 11 w 18"/>
                <a:gd name="T33" fmla="*/ 24 h 52"/>
                <a:gd name="T34" fmla="*/ 11 w 18"/>
                <a:gd name="T35" fmla="*/ 22 h 52"/>
                <a:gd name="T36" fmla="*/ 11 w 18"/>
                <a:gd name="T37" fmla="*/ 16 h 52"/>
                <a:gd name="T38" fmla="*/ 11 w 18"/>
                <a:gd name="T39" fmla="*/ 15 h 52"/>
                <a:gd name="T40" fmla="*/ 11 w 18"/>
                <a:gd name="T41" fmla="*/ 11 h 52"/>
                <a:gd name="T42" fmla="*/ 14 w 18"/>
                <a:gd name="T43" fmla="*/ 11 h 52"/>
                <a:gd name="T44" fmla="*/ 14 w 18"/>
                <a:gd name="T45" fmla="*/ 14 h 52"/>
                <a:gd name="T46" fmla="*/ 15 w 18"/>
                <a:gd name="T47" fmla="*/ 14 h 52"/>
                <a:gd name="T48" fmla="*/ 16 w 18"/>
                <a:gd name="T49" fmla="*/ 12 h 52"/>
                <a:gd name="T50" fmla="*/ 16 w 18"/>
                <a:gd name="T51" fmla="*/ 11 h 52"/>
                <a:gd name="T52" fmla="*/ 16 w 18"/>
                <a:gd name="T53" fmla="*/ 11 h 52"/>
                <a:gd name="T54" fmla="*/ 16 w 18"/>
                <a:gd name="T55" fmla="*/ 9 h 52"/>
                <a:gd name="T56" fmla="*/ 16 w 18"/>
                <a:gd name="T57" fmla="*/ 8 h 52"/>
                <a:gd name="T58" fmla="*/ 16 w 18"/>
                <a:gd name="T59" fmla="*/ 4 h 52"/>
                <a:gd name="T60" fmla="*/ 18 w 18"/>
                <a:gd name="T61" fmla="*/ 1 h 52"/>
                <a:gd name="T62" fmla="*/ 18 w 18"/>
                <a:gd name="T63" fmla="*/ 0 h 52"/>
                <a:gd name="T64" fmla="*/ 16 w 18"/>
                <a:gd name="T65" fmla="*/ 0 h 52"/>
                <a:gd name="T66" fmla="*/ 15 w 18"/>
                <a:gd name="T67" fmla="*/ 3 h 52"/>
                <a:gd name="T68" fmla="*/ 12 w 18"/>
                <a:gd name="T69" fmla="*/ 3 h 52"/>
                <a:gd name="T70" fmla="*/ 11 w 18"/>
                <a:gd name="T71" fmla="*/ 3 h 52"/>
                <a:gd name="T72" fmla="*/ 8 w 18"/>
                <a:gd name="T73" fmla="*/ 5 h 52"/>
                <a:gd name="T74" fmla="*/ 7 w 18"/>
                <a:gd name="T75" fmla="*/ 14 h 52"/>
                <a:gd name="T76" fmla="*/ 4 w 18"/>
                <a:gd name="T77" fmla="*/ 20 h 52"/>
                <a:gd name="T78" fmla="*/ 0 w 18"/>
                <a:gd name="T79" fmla="*/ 26 h 52"/>
                <a:gd name="T80" fmla="*/ 1 w 18"/>
                <a:gd name="T81" fmla="*/ 26 h 52"/>
                <a:gd name="T82" fmla="*/ 4 w 18"/>
                <a:gd name="T83" fmla="*/ 30 h 52"/>
                <a:gd name="T84" fmla="*/ 4 w 18"/>
                <a:gd name="T85" fmla="*/ 34 h 52"/>
                <a:gd name="T86" fmla="*/ 8 w 18"/>
                <a:gd name="T87" fmla="*/ 38 h 52"/>
                <a:gd name="T88" fmla="*/ 11 w 18"/>
                <a:gd name="T89" fmla="*/ 45 h 52"/>
                <a:gd name="T90" fmla="*/ 10 w 18"/>
                <a:gd name="T91" fmla="*/ 48 h 52"/>
                <a:gd name="T92" fmla="*/ 11 w 18"/>
                <a:gd name="T9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" h="52">
                  <a:moveTo>
                    <a:pt x="11" y="52"/>
                  </a:moveTo>
                  <a:lnTo>
                    <a:pt x="12" y="49"/>
                  </a:lnTo>
                  <a:lnTo>
                    <a:pt x="12" y="49"/>
                  </a:lnTo>
                  <a:lnTo>
                    <a:pt x="12" y="48"/>
                  </a:lnTo>
                  <a:lnTo>
                    <a:pt x="14" y="46"/>
                  </a:lnTo>
                  <a:lnTo>
                    <a:pt x="14" y="43"/>
                  </a:lnTo>
                  <a:lnTo>
                    <a:pt x="15" y="41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4"/>
                  </a:lnTo>
                  <a:lnTo>
                    <a:pt x="16" y="31"/>
                  </a:lnTo>
                  <a:lnTo>
                    <a:pt x="15" y="30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8" y="5"/>
                  </a:lnTo>
                  <a:lnTo>
                    <a:pt x="7" y="14"/>
                  </a:lnTo>
                  <a:lnTo>
                    <a:pt x="4" y="20"/>
                  </a:lnTo>
                  <a:lnTo>
                    <a:pt x="0" y="26"/>
                  </a:lnTo>
                  <a:lnTo>
                    <a:pt x="1" y="26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8" y="38"/>
                  </a:lnTo>
                  <a:lnTo>
                    <a:pt x="11" y="45"/>
                  </a:lnTo>
                  <a:lnTo>
                    <a:pt x="10" y="48"/>
                  </a:lnTo>
                  <a:lnTo>
                    <a:pt x="11" y="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7" name="Freeform 77"/>
            <p:cNvSpPr>
              <a:spLocks/>
            </p:cNvSpPr>
            <p:nvPr/>
          </p:nvSpPr>
          <p:spPr bwMode="auto">
            <a:xfrm>
              <a:off x="2372" y="1593"/>
              <a:ext cx="5" cy="11"/>
            </a:xfrm>
            <a:custGeom>
              <a:avLst/>
              <a:gdLst>
                <a:gd name="T0" fmla="*/ 0 w 5"/>
                <a:gd name="T1" fmla="*/ 11 h 11"/>
                <a:gd name="T2" fmla="*/ 0 w 5"/>
                <a:gd name="T3" fmla="*/ 9 h 11"/>
                <a:gd name="T4" fmla="*/ 0 w 5"/>
                <a:gd name="T5" fmla="*/ 8 h 11"/>
                <a:gd name="T6" fmla="*/ 0 w 5"/>
                <a:gd name="T7" fmla="*/ 4 h 11"/>
                <a:gd name="T8" fmla="*/ 2 w 5"/>
                <a:gd name="T9" fmla="*/ 1 h 11"/>
                <a:gd name="T10" fmla="*/ 2 w 5"/>
                <a:gd name="T11" fmla="*/ 0 h 11"/>
                <a:gd name="T12" fmla="*/ 2 w 5"/>
                <a:gd name="T13" fmla="*/ 0 h 11"/>
                <a:gd name="T14" fmla="*/ 3 w 5"/>
                <a:gd name="T15" fmla="*/ 1 h 11"/>
                <a:gd name="T16" fmla="*/ 5 w 5"/>
                <a:gd name="T17" fmla="*/ 3 h 11"/>
                <a:gd name="T18" fmla="*/ 5 w 5"/>
                <a:gd name="T19" fmla="*/ 7 h 11"/>
                <a:gd name="T20" fmla="*/ 5 w 5"/>
                <a:gd name="T21" fmla="*/ 8 h 11"/>
                <a:gd name="T22" fmla="*/ 5 w 5"/>
                <a:gd name="T23" fmla="*/ 8 h 11"/>
                <a:gd name="T24" fmla="*/ 3 w 5"/>
                <a:gd name="T25" fmla="*/ 9 h 11"/>
                <a:gd name="T26" fmla="*/ 2 w 5"/>
                <a:gd name="T27" fmla="*/ 11 h 11"/>
                <a:gd name="T28" fmla="*/ 0 w 5"/>
                <a:gd name="T2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11">
                  <a:moveTo>
                    <a:pt x="0" y="11"/>
                  </a:moveTo>
                  <a:lnTo>
                    <a:pt x="0" y="9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5" y="3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9"/>
                  </a:lnTo>
                  <a:lnTo>
                    <a:pt x="2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8" name="Freeform 78"/>
            <p:cNvSpPr>
              <a:spLocks/>
            </p:cNvSpPr>
            <p:nvPr/>
          </p:nvSpPr>
          <p:spPr bwMode="auto">
            <a:xfrm>
              <a:off x="2367" y="1604"/>
              <a:ext cx="7" cy="15"/>
            </a:xfrm>
            <a:custGeom>
              <a:avLst/>
              <a:gdLst>
                <a:gd name="T0" fmla="*/ 4 w 7"/>
                <a:gd name="T1" fmla="*/ 13 h 15"/>
                <a:gd name="T2" fmla="*/ 3 w 7"/>
                <a:gd name="T3" fmla="*/ 13 h 15"/>
                <a:gd name="T4" fmla="*/ 1 w 7"/>
                <a:gd name="T5" fmla="*/ 15 h 15"/>
                <a:gd name="T6" fmla="*/ 0 w 7"/>
                <a:gd name="T7" fmla="*/ 13 h 15"/>
                <a:gd name="T8" fmla="*/ 0 w 7"/>
                <a:gd name="T9" fmla="*/ 11 h 15"/>
                <a:gd name="T10" fmla="*/ 0 w 7"/>
                <a:gd name="T11" fmla="*/ 5 h 15"/>
                <a:gd name="T12" fmla="*/ 0 w 7"/>
                <a:gd name="T13" fmla="*/ 4 h 15"/>
                <a:gd name="T14" fmla="*/ 0 w 7"/>
                <a:gd name="T15" fmla="*/ 0 h 15"/>
                <a:gd name="T16" fmla="*/ 3 w 7"/>
                <a:gd name="T17" fmla="*/ 0 h 15"/>
                <a:gd name="T18" fmla="*/ 3 w 7"/>
                <a:gd name="T19" fmla="*/ 3 h 15"/>
                <a:gd name="T20" fmla="*/ 4 w 7"/>
                <a:gd name="T21" fmla="*/ 3 h 15"/>
                <a:gd name="T22" fmla="*/ 5 w 7"/>
                <a:gd name="T23" fmla="*/ 1 h 15"/>
                <a:gd name="T24" fmla="*/ 5 w 7"/>
                <a:gd name="T25" fmla="*/ 3 h 15"/>
                <a:gd name="T26" fmla="*/ 7 w 7"/>
                <a:gd name="T27" fmla="*/ 4 h 15"/>
                <a:gd name="T28" fmla="*/ 5 w 7"/>
                <a:gd name="T29" fmla="*/ 4 h 15"/>
                <a:gd name="T30" fmla="*/ 5 w 7"/>
                <a:gd name="T31" fmla="*/ 8 h 15"/>
                <a:gd name="T32" fmla="*/ 5 w 7"/>
                <a:gd name="T33" fmla="*/ 9 h 15"/>
                <a:gd name="T34" fmla="*/ 5 w 7"/>
                <a:gd name="T35" fmla="*/ 13 h 15"/>
                <a:gd name="T36" fmla="*/ 4 w 7"/>
                <a:gd name="T3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" h="15">
                  <a:moveTo>
                    <a:pt x="4" y="13"/>
                  </a:moveTo>
                  <a:lnTo>
                    <a:pt x="3" y="13"/>
                  </a:lnTo>
                  <a:lnTo>
                    <a:pt x="1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1"/>
                  </a:lnTo>
                  <a:lnTo>
                    <a:pt x="5" y="3"/>
                  </a:lnTo>
                  <a:lnTo>
                    <a:pt x="7" y="4"/>
                  </a:lnTo>
                  <a:lnTo>
                    <a:pt x="5" y="4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13"/>
                  </a:lnTo>
                  <a:lnTo>
                    <a:pt x="4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79" name="Freeform 79"/>
            <p:cNvSpPr>
              <a:spLocks/>
            </p:cNvSpPr>
            <p:nvPr/>
          </p:nvSpPr>
          <p:spPr bwMode="auto">
            <a:xfrm>
              <a:off x="2367" y="1577"/>
              <a:ext cx="15" cy="19"/>
            </a:xfrm>
            <a:custGeom>
              <a:avLst/>
              <a:gdLst>
                <a:gd name="T0" fmla="*/ 0 w 15"/>
                <a:gd name="T1" fmla="*/ 19 h 19"/>
                <a:gd name="T2" fmla="*/ 1 w 15"/>
                <a:gd name="T3" fmla="*/ 19 h 19"/>
                <a:gd name="T4" fmla="*/ 4 w 15"/>
                <a:gd name="T5" fmla="*/ 19 h 19"/>
                <a:gd name="T6" fmla="*/ 5 w 15"/>
                <a:gd name="T7" fmla="*/ 16 h 19"/>
                <a:gd name="T8" fmla="*/ 7 w 15"/>
                <a:gd name="T9" fmla="*/ 16 h 19"/>
                <a:gd name="T10" fmla="*/ 10 w 15"/>
                <a:gd name="T11" fmla="*/ 13 h 19"/>
                <a:gd name="T12" fmla="*/ 10 w 15"/>
                <a:gd name="T13" fmla="*/ 11 h 19"/>
                <a:gd name="T14" fmla="*/ 12 w 15"/>
                <a:gd name="T15" fmla="*/ 9 h 19"/>
                <a:gd name="T16" fmla="*/ 14 w 15"/>
                <a:gd name="T17" fmla="*/ 9 h 19"/>
                <a:gd name="T18" fmla="*/ 15 w 15"/>
                <a:gd name="T19" fmla="*/ 8 h 19"/>
                <a:gd name="T20" fmla="*/ 14 w 15"/>
                <a:gd name="T21" fmla="*/ 6 h 19"/>
                <a:gd name="T22" fmla="*/ 14 w 15"/>
                <a:gd name="T23" fmla="*/ 4 h 19"/>
                <a:gd name="T24" fmla="*/ 12 w 15"/>
                <a:gd name="T25" fmla="*/ 2 h 19"/>
                <a:gd name="T26" fmla="*/ 11 w 15"/>
                <a:gd name="T27" fmla="*/ 0 h 19"/>
                <a:gd name="T28" fmla="*/ 5 w 15"/>
                <a:gd name="T29" fmla="*/ 0 h 19"/>
                <a:gd name="T30" fmla="*/ 5 w 15"/>
                <a:gd name="T31" fmla="*/ 0 h 19"/>
                <a:gd name="T32" fmla="*/ 4 w 15"/>
                <a:gd name="T33" fmla="*/ 1 h 19"/>
                <a:gd name="T34" fmla="*/ 4 w 15"/>
                <a:gd name="T35" fmla="*/ 9 h 19"/>
                <a:gd name="T36" fmla="*/ 1 w 15"/>
                <a:gd name="T37" fmla="*/ 12 h 19"/>
                <a:gd name="T38" fmla="*/ 0 w 15"/>
                <a:gd name="T39" fmla="*/ 15 h 19"/>
                <a:gd name="T40" fmla="*/ 0 w 15"/>
                <a:gd name="T41" fmla="*/ 17 h 19"/>
                <a:gd name="T42" fmla="*/ 0 w 15"/>
                <a:gd name="T4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" h="19">
                  <a:moveTo>
                    <a:pt x="0" y="19"/>
                  </a:moveTo>
                  <a:lnTo>
                    <a:pt x="1" y="19"/>
                  </a:lnTo>
                  <a:lnTo>
                    <a:pt x="4" y="19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5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11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1"/>
                  </a:lnTo>
                  <a:lnTo>
                    <a:pt x="4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0" name="Freeform 80"/>
            <p:cNvSpPr>
              <a:spLocks/>
            </p:cNvSpPr>
            <p:nvPr/>
          </p:nvSpPr>
          <p:spPr bwMode="auto">
            <a:xfrm>
              <a:off x="2368" y="1592"/>
              <a:ext cx="47" cy="58"/>
            </a:xfrm>
            <a:custGeom>
              <a:avLst/>
              <a:gdLst>
                <a:gd name="T0" fmla="*/ 0 w 47"/>
                <a:gd name="T1" fmla="*/ 50 h 58"/>
                <a:gd name="T2" fmla="*/ 0 w 47"/>
                <a:gd name="T3" fmla="*/ 50 h 58"/>
                <a:gd name="T4" fmla="*/ 0 w 47"/>
                <a:gd name="T5" fmla="*/ 49 h 58"/>
                <a:gd name="T6" fmla="*/ 2 w 47"/>
                <a:gd name="T7" fmla="*/ 47 h 58"/>
                <a:gd name="T8" fmla="*/ 2 w 47"/>
                <a:gd name="T9" fmla="*/ 44 h 58"/>
                <a:gd name="T10" fmla="*/ 3 w 47"/>
                <a:gd name="T11" fmla="*/ 42 h 58"/>
                <a:gd name="T12" fmla="*/ 3 w 47"/>
                <a:gd name="T13" fmla="*/ 38 h 58"/>
                <a:gd name="T14" fmla="*/ 3 w 47"/>
                <a:gd name="T15" fmla="*/ 38 h 58"/>
                <a:gd name="T16" fmla="*/ 3 w 47"/>
                <a:gd name="T17" fmla="*/ 35 h 58"/>
                <a:gd name="T18" fmla="*/ 4 w 47"/>
                <a:gd name="T19" fmla="*/ 32 h 58"/>
                <a:gd name="T20" fmla="*/ 3 w 47"/>
                <a:gd name="T21" fmla="*/ 31 h 58"/>
                <a:gd name="T22" fmla="*/ 4 w 47"/>
                <a:gd name="T23" fmla="*/ 21 h 58"/>
                <a:gd name="T24" fmla="*/ 4 w 47"/>
                <a:gd name="T25" fmla="*/ 20 h 58"/>
                <a:gd name="T26" fmla="*/ 4 w 47"/>
                <a:gd name="T27" fmla="*/ 16 h 58"/>
                <a:gd name="T28" fmla="*/ 6 w 47"/>
                <a:gd name="T29" fmla="*/ 16 h 58"/>
                <a:gd name="T30" fmla="*/ 4 w 47"/>
                <a:gd name="T31" fmla="*/ 15 h 58"/>
                <a:gd name="T32" fmla="*/ 4 w 47"/>
                <a:gd name="T33" fmla="*/ 12 h 58"/>
                <a:gd name="T34" fmla="*/ 6 w 47"/>
                <a:gd name="T35" fmla="*/ 12 h 58"/>
                <a:gd name="T36" fmla="*/ 7 w 47"/>
                <a:gd name="T37" fmla="*/ 10 h 58"/>
                <a:gd name="T38" fmla="*/ 9 w 47"/>
                <a:gd name="T39" fmla="*/ 9 h 58"/>
                <a:gd name="T40" fmla="*/ 9 w 47"/>
                <a:gd name="T41" fmla="*/ 9 h 58"/>
                <a:gd name="T42" fmla="*/ 13 w 47"/>
                <a:gd name="T43" fmla="*/ 12 h 58"/>
                <a:gd name="T44" fmla="*/ 15 w 47"/>
                <a:gd name="T45" fmla="*/ 13 h 58"/>
                <a:gd name="T46" fmla="*/ 17 w 47"/>
                <a:gd name="T47" fmla="*/ 13 h 58"/>
                <a:gd name="T48" fmla="*/ 18 w 47"/>
                <a:gd name="T49" fmla="*/ 15 h 58"/>
                <a:gd name="T50" fmla="*/ 41 w 47"/>
                <a:gd name="T51" fmla="*/ 0 h 58"/>
                <a:gd name="T52" fmla="*/ 47 w 47"/>
                <a:gd name="T53" fmla="*/ 15 h 58"/>
                <a:gd name="T54" fmla="*/ 47 w 47"/>
                <a:gd name="T55" fmla="*/ 15 h 58"/>
                <a:gd name="T56" fmla="*/ 43 w 47"/>
                <a:gd name="T57" fmla="*/ 20 h 58"/>
                <a:gd name="T58" fmla="*/ 25 w 47"/>
                <a:gd name="T59" fmla="*/ 24 h 58"/>
                <a:gd name="T60" fmla="*/ 38 w 47"/>
                <a:gd name="T61" fmla="*/ 39 h 58"/>
                <a:gd name="T62" fmla="*/ 33 w 47"/>
                <a:gd name="T63" fmla="*/ 44 h 58"/>
                <a:gd name="T64" fmla="*/ 33 w 47"/>
                <a:gd name="T65" fmla="*/ 49 h 58"/>
                <a:gd name="T66" fmla="*/ 23 w 47"/>
                <a:gd name="T67" fmla="*/ 50 h 58"/>
                <a:gd name="T68" fmla="*/ 15 w 47"/>
                <a:gd name="T69" fmla="*/ 58 h 58"/>
                <a:gd name="T70" fmla="*/ 3 w 47"/>
                <a:gd name="T71" fmla="*/ 54 h 58"/>
                <a:gd name="T72" fmla="*/ 0 w 47"/>
                <a:gd name="T73" fmla="*/ 55 h 58"/>
                <a:gd name="T74" fmla="*/ 0 w 47"/>
                <a:gd name="T75" fmla="*/ 54 h 58"/>
                <a:gd name="T76" fmla="*/ 0 w 47"/>
                <a:gd name="T77" fmla="*/ 51 h 58"/>
                <a:gd name="T78" fmla="*/ 0 w 47"/>
                <a:gd name="T79" fmla="*/ 50 h 58"/>
                <a:gd name="T80" fmla="*/ 0 w 47"/>
                <a:gd name="T81" fmla="*/ 5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7" h="58">
                  <a:moveTo>
                    <a:pt x="0" y="50"/>
                  </a:moveTo>
                  <a:lnTo>
                    <a:pt x="0" y="50"/>
                  </a:lnTo>
                  <a:lnTo>
                    <a:pt x="0" y="49"/>
                  </a:lnTo>
                  <a:lnTo>
                    <a:pt x="2" y="47"/>
                  </a:lnTo>
                  <a:lnTo>
                    <a:pt x="2" y="44"/>
                  </a:lnTo>
                  <a:lnTo>
                    <a:pt x="3" y="42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5"/>
                  </a:lnTo>
                  <a:lnTo>
                    <a:pt x="4" y="32"/>
                  </a:lnTo>
                  <a:lnTo>
                    <a:pt x="3" y="3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0"/>
                  </a:lnTo>
                  <a:lnTo>
                    <a:pt x="9" y="9"/>
                  </a:lnTo>
                  <a:lnTo>
                    <a:pt x="9" y="9"/>
                  </a:lnTo>
                  <a:lnTo>
                    <a:pt x="13" y="12"/>
                  </a:lnTo>
                  <a:lnTo>
                    <a:pt x="15" y="13"/>
                  </a:lnTo>
                  <a:lnTo>
                    <a:pt x="17" y="13"/>
                  </a:lnTo>
                  <a:lnTo>
                    <a:pt x="18" y="15"/>
                  </a:lnTo>
                  <a:lnTo>
                    <a:pt x="41" y="0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3" y="20"/>
                  </a:lnTo>
                  <a:lnTo>
                    <a:pt x="25" y="24"/>
                  </a:lnTo>
                  <a:lnTo>
                    <a:pt x="38" y="39"/>
                  </a:lnTo>
                  <a:lnTo>
                    <a:pt x="33" y="44"/>
                  </a:lnTo>
                  <a:lnTo>
                    <a:pt x="33" y="49"/>
                  </a:lnTo>
                  <a:lnTo>
                    <a:pt x="23" y="50"/>
                  </a:lnTo>
                  <a:lnTo>
                    <a:pt x="15" y="58"/>
                  </a:lnTo>
                  <a:lnTo>
                    <a:pt x="3" y="54"/>
                  </a:lnTo>
                  <a:lnTo>
                    <a:pt x="0" y="55"/>
                  </a:lnTo>
                  <a:lnTo>
                    <a:pt x="0" y="54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1" name="Freeform 81"/>
            <p:cNvSpPr>
              <a:spLocks/>
            </p:cNvSpPr>
            <p:nvPr/>
          </p:nvSpPr>
          <p:spPr bwMode="auto">
            <a:xfrm>
              <a:off x="2367" y="1607"/>
              <a:ext cx="243" cy="205"/>
            </a:xfrm>
            <a:custGeom>
              <a:avLst/>
              <a:gdLst>
                <a:gd name="T0" fmla="*/ 147 w 243"/>
                <a:gd name="T1" fmla="*/ 43 h 205"/>
                <a:gd name="T2" fmla="*/ 58 w 243"/>
                <a:gd name="T3" fmla="*/ 1 h 205"/>
                <a:gd name="T4" fmla="*/ 26 w 243"/>
                <a:gd name="T5" fmla="*/ 9 h 205"/>
                <a:gd name="T6" fmla="*/ 34 w 243"/>
                <a:gd name="T7" fmla="*/ 34 h 205"/>
                <a:gd name="T8" fmla="*/ 4 w 243"/>
                <a:gd name="T9" fmla="*/ 39 h 205"/>
                <a:gd name="T10" fmla="*/ 0 w 243"/>
                <a:gd name="T11" fmla="*/ 48 h 205"/>
                <a:gd name="T12" fmla="*/ 1 w 243"/>
                <a:gd name="T13" fmla="*/ 53 h 205"/>
                <a:gd name="T14" fmla="*/ 5 w 243"/>
                <a:gd name="T15" fmla="*/ 54 h 205"/>
                <a:gd name="T16" fmla="*/ 11 w 243"/>
                <a:gd name="T17" fmla="*/ 63 h 205"/>
                <a:gd name="T18" fmla="*/ 15 w 243"/>
                <a:gd name="T19" fmla="*/ 69 h 205"/>
                <a:gd name="T20" fmla="*/ 20 w 243"/>
                <a:gd name="T21" fmla="*/ 76 h 205"/>
                <a:gd name="T22" fmla="*/ 23 w 243"/>
                <a:gd name="T23" fmla="*/ 81 h 205"/>
                <a:gd name="T24" fmla="*/ 29 w 243"/>
                <a:gd name="T25" fmla="*/ 89 h 205"/>
                <a:gd name="T26" fmla="*/ 31 w 243"/>
                <a:gd name="T27" fmla="*/ 96 h 205"/>
                <a:gd name="T28" fmla="*/ 33 w 243"/>
                <a:gd name="T29" fmla="*/ 102 h 205"/>
                <a:gd name="T30" fmla="*/ 39 w 243"/>
                <a:gd name="T31" fmla="*/ 103 h 205"/>
                <a:gd name="T32" fmla="*/ 46 w 243"/>
                <a:gd name="T33" fmla="*/ 110 h 205"/>
                <a:gd name="T34" fmla="*/ 49 w 243"/>
                <a:gd name="T35" fmla="*/ 114 h 205"/>
                <a:gd name="T36" fmla="*/ 53 w 243"/>
                <a:gd name="T37" fmla="*/ 123 h 205"/>
                <a:gd name="T38" fmla="*/ 52 w 243"/>
                <a:gd name="T39" fmla="*/ 130 h 205"/>
                <a:gd name="T40" fmla="*/ 54 w 243"/>
                <a:gd name="T41" fmla="*/ 141 h 205"/>
                <a:gd name="T42" fmla="*/ 63 w 243"/>
                <a:gd name="T43" fmla="*/ 150 h 205"/>
                <a:gd name="T44" fmla="*/ 69 w 243"/>
                <a:gd name="T45" fmla="*/ 153 h 205"/>
                <a:gd name="T46" fmla="*/ 73 w 243"/>
                <a:gd name="T47" fmla="*/ 159 h 205"/>
                <a:gd name="T48" fmla="*/ 78 w 243"/>
                <a:gd name="T49" fmla="*/ 161 h 205"/>
                <a:gd name="T50" fmla="*/ 83 w 243"/>
                <a:gd name="T51" fmla="*/ 176 h 205"/>
                <a:gd name="T52" fmla="*/ 94 w 243"/>
                <a:gd name="T53" fmla="*/ 190 h 205"/>
                <a:gd name="T54" fmla="*/ 102 w 243"/>
                <a:gd name="T55" fmla="*/ 197 h 205"/>
                <a:gd name="T56" fmla="*/ 107 w 243"/>
                <a:gd name="T57" fmla="*/ 194 h 205"/>
                <a:gd name="T58" fmla="*/ 110 w 243"/>
                <a:gd name="T59" fmla="*/ 183 h 205"/>
                <a:gd name="T60" fmla="*/ 132 w 243"/>
                <a:gd name="T61" fmla="*/ 190 h 205"/>
                <a:gd name="T62" fmla="*/ 163 w 243"/>
                <a:gd name="T63" fmla="*/ 176 h 205"/>
                <a:gd name="T64" fmla="*/ 241 w 243"/>
                <a:gd name="T65" fmla="*/ 118 h 205"/>
                <a:gd name="T66" fmla="*/ 203 w 243"/>
                <a:gd name="T67" fmla="*/ 116 h 205"/>
                <a:gd name="T68" fmla="*/ 197 w 243"/>
                <a:gd name="T69" fmla="*/ 100 h 205"/>
                <a:gd name="T70" fmla="*/ 194 w 243"/>
                <a:gd name="T71" fmla="*/ 99 h 205"/>
                <a:gd name="T72" fmla="*/ 194 w 243"/>
                <a:gd name="T73" fmla="*/ 96 h 205"/>
                <a:gd name="T74" fmla="*/ 188 w 243"/>
                <a:gd name="T75" fmla="*/ 93 h 205"/>
                <a:gd name="T76" fmla="*/ 185 w 243"/>
                <a:gd name="T77" fmla="*/ 91 h 205"/>
                <a:gd name="T78" fmla="*/ 177 w 243"/>
                <a:gd name="T79" fmla="*/ 77 h 205"/>
                <a:gd name="T80" fmla="*/ 177 w 243"/>
                <a:gd name="T81" fmla="*/ 70 h 205"/>
                <a:gd name="T82" fmla="*/ 174 w 243"/>
                <a:gd name="T83" fmla="*/ 66 h 205"/>
                <a:gd name="T84" fmla="*/ 167 w 243"/>
                <a:gd name="T85" fmla="*/ 59 h 205"/>
                <a:gd name="T86" fmla="*/ 169 w 243"/>
                <a:gd name="T87" fmla="*/ 59 h 205"/>
                <a:gd name="T88" fmla="*/ 162 w 243"/>
                <a:gd name="T89" fmla="*/ 57 h 205"/>
                <a:gd name="T90" fmla="*/ 156 w 243"/>
                <a:gd name="T91" fmla="*/ 47 h 205"/>
                <a:gd name="T92" fmla="*/ 155 w 243"/>
                <a:gd name="T93" fmla="*/ 4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3" h="205">
                  <a:moveTo>
                    <a:pt x="155" y="44"/>
                  </a:moveTo>
                  <a:lnTo>
                    <a:pt x="148" y="47"/>
                  </a:lnTo>
                  <a:lnTo>
                    <a:pt x="147" y="43"/>
                  </a:lnTo>
                  <a:lnTo>
                    <a:pt x="137" y="40"/>
                  </a:lnTo>
                  <a:lnTo>
                    <a:pt x="113" y="39"/>
                  </a:lnTo>
                  <a:lnTo>
                    <a:pt x="58" y="1"/>
                  </a:lnTo>
                  <a:lnTo>
                    <a:pt x="48" y="0"/>
                  </a:lnTo>
                  <a:lnTo>
                    <a:pt x="44" y="5"/>
                  </a:lnTo>
                  <a:lnTo>
                    <a:pt x="26" y="9"/>
                  </a:lnTo>
                  <a:lnTo>
                    <a:pt x="39" y="24"/>
                  </a:lnTo>
                  <a:lnTo>
                    <a:pt x="34" y="29"/>
                  </a:lnTo>
                  <a:lnTo>
                    <a:pt x="34" y="34"/>
                  </a:lnTo>
                  <a:lnTo>
                    <a:pt x="24" y="35"/>
                  </a:lnTo>
                  <a:lnTo>
                    <a:pt x="16" y="43"/>
                  </a:lnTo>
                  <a:lnTo>
                    <a:pt x="4" y="39"/>
                  </a:lnTo>
                  <a:lnTo>
                    <a:pt x="1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1" y="53"/>
                  </a:lnTo>
                  <a:lnTo>
                    <a:pt x="1" y="54"/>
                  </a:lnTo>
                  <a:lnTo>
                    <a:pt x="3" y="53"/>
                  </a:lnTo>
                  <a:lnTo>
                    <a:pt x="5" y="54"/>
                  </a:lnTo>
                  <a:lnTo>
                    <a:pt x="5" y="55"/>
                  </a:lnTo>
                  <a:lnTo>
                    <a:pt x="11" y="61"/>
                  </a:lnTo>
                  <a:lnTo>
                    <a:pt x="11" y="63"/>
                  </a:lnTo>
                  <a:lnTo>
                    <a:pt x="12" y="63"/>
                  </a:lnTo>
                  <a:lnTo>
                    <a:pt x="12" y="66"/>
                  </a:lnTo>
                  <a:lnTo>
                    <a:pt x="15" y="69"/>
                  </a:lnTo>
                  <a:lnTo>
                    <a:pt x="16" y="69"/>
                  </a:lnTo>
                  <a:lnTo>
                    <a:pt x="19" y="74"/>
                  </a:lnTo>
                  <a:lnTo>
                    <a:pt x="20" y="76"/>
                  </a:lnTo>
                  <a:lnTo>
                    <a:pt x="20" y="78"/>
                  </a:lnTo>
                  <a:lnTo>
                    <a:pt x="23" y="78"/>
                  </a:lnTo>
                  <a:lnTo>
                    <a:pt x="23" y="81"/>
                  </a:lnTo>
                  <a:lnTo>
                    <a:pt x="24" y="82"/>
                  </a:lnTo>
                  <a:lnTo>
                    <a:pt x="27" y="84"/>
                  </a:lnTo>
                  <a:lnTo>
                    <a:pt x="29" y="89"/>
                  </a:lnTo>
                  <a:lnTo>
                    <a:pt x="31" y="91"/>
                  </a:lnTo>
                  <a:lnTo>
                    <a:pt x="31" y="95"/>
                  </a:lnTo>
                  <a:lnTo>
                    <a:pt x="31" y="96"/>
                  </a:lnTo>
                  <a:lnTo>
                    <a:pt x="31" y="97"/>
                  </a:lnTo>
                  <a:lnTo>
                    <a:pt x="33" y="99"/>
                  </a:lnTo>
                  <a:lnTo>
                    <a:pt x="33" y="102"/>
                  </a:lnTo>
                  <a:lnTo>
                    <a:pt x="35" y="102"/>
                  </a:lnTo>
                  <a:lnTo>
                    <a:pt x="37" y="100"/>
                  </a:lnTo>
                  <a:lnTo>
                    <a:pt x="39" y="103"/>
                  </a:lnTo>
                  <a:lnTo>
                    <a:pt x="44" y="104"/>
                  </a:lnTo>
                  <a:lnTo>
                    <a:pt x="46" y="107"/>
                  </a:lnTo>
                  <a:lnTo>
                    <a:pt x="46" y="110"/>
                  </a:lnTo>
                  <a:lnTo>
                    <a:pt x="48" y="110"/>
                  </a:lnTo>
                  <a:lnTo>
                    <a:pt x="48" y="112"/>
                  </a:lnTo>
                  <a:lnTo>
                    <a:pt x="49" y="114"/>
                  </a:lnTo>
                  <a:lnTo>
                    <a:pt x="50" y="118"/>
                  </a:lnTo>
                  <a:lnTo>
                    <a:pt x="52" y="119"/>
                  </a:lnTo>
                  <a:lnTo>
                    <a:pt x="53" y="123"/>
                  </a:lnTo>
                  <a:lnTo>
                    <a:pt x="54" y="125"/>
                  </a:lnTo>
                  <a:lnTo>
                    <a:pt x="53" y="129"/>
                  </a:lnTo>
                  <a:lnTo>
                    <a:pt x="52" y="130"/>
                  </a:lnTo>
                  <a:lnTo>
                    <a:pt x="53" y="131"/>
                  </a:lnTo>
                  <a:lnTo>
                    <a:pt x="54" y="135"/>
                  </a:lnTo>
                  <a:lnTo>
                    <a:pt x="54" y="141"/>
                  </a:lnTo>
                  <a:lnTo>
                    <a:pt x="57" y="142"/>
                  </a:lnTo>
                  <a:lnTo>
                    <a:pt x="57" y="144"/>
                  </a:lnTo>
                  <a:lnTo>
                    <a:pt x="63" y="150"/>
                  </a:lnTo>
                  <a:lnTo>
                    <a:pt x="65" y="150"/>
                  </a:lnTo>
                  <a:lnTo>
                    <a:pt x="67" y="152"/>
                  </a:lnTo>
                  <a:lnTo>
                    <a:pt x="69" y="153"/>
                  </a:lnTo>
                  <a:lnTo>
                    <a:pt x="69" y="153"/>
                  </a:lnTo>
                  <a:lnTo>
                    <a:pt x="73" y="156"/>
                  </a:lnTo>
                  <a:lnTo>
                    <a:pt x="73" y="159"/>
                  </a:lnTo>
                  <a:lnTo>
                    <a:pt x="76" y="159"/>
                  </a:lnTo>
                  <a:lnTo>
                    <a:pt x="76" y="160"/>
                  </a:lnTo>
                  <a:lnTo>
                    <a:pt x="78" y="161"/>
                  </a:lnTo>
                  <a:lnTo>
                    <a:pt x="80" y="171"/>
                  </a:lnTo>
                  <a:lnTo>
                    <a:pt x="83" y="172"/>
                  </a:lnTo>
                  <a:lnTo>
                    <a:pt x="83" y="176"/>
                  </a:lnTo>
                  <a:lnTo>
                    <a:pt x="92" y="184"/>
                  </a:lnTo>
                  <a:lnTo>
                    <a:pt x="94" y="184"/>
                  </a:lnTo>
                  <a:lnTo>
                    <a:pt x="94" y="190"/>
                  </a:lnTo>
                  <a:lnTo>
                    <a:pt x="98" y="191"/>
                  </a:lnTo>
                  <a:lnTo>
                    <a:pt x="99" y="197"/>
                  </a:lnTo>
                  <a:lnTo>
                    <a:pt x="102" y="197"/>
                  </a:lnTo>
                  <a:lnTo>
                    <a:pt x="103" y="198"/>
                  </a:lnTo>
                  <a:lnTo>
                    <a:pt x="105" y="195"/>
                  </a:lnTo>
                  <a:lnTo>
                    <a:pt x="107" y="194"/>
                  </a:lnTo>
                  <a:lnTo>
                    <a:pt x="106" y="190"/>
                  </a:lnTo>
                  <a:lnTo>
                    <a:pt x="107" y="184"/>
                  </a:lnTo>
                  <a:lnTo>
                    <a:pt x="110" y="183"/>
                  </a:lnTo>
                  <a:lnTo>
                    <a:pt x="114" y="186"/>
                  </a:lnTo>
                  <a:lnTo>
                    <a:pt x="121" y="186"/>
                  </a:lnTo>
                  <a:lnTo>
                    <a:pt x="132" y="190"/>
                  </a:lnTo>
                  <a:lnTo>
                    <a:pt x="141" y="195"/>
                  </a:lnTo>
                  <a:lnTo>
                    <a:pt x="143" y="205"/>
                  </a:lnTo>
                  <a:lnTo>
                    <a:pt x="163" y="176"/>
                  </a:lnTo>
                  <a:lnTo>
                    <a:pt x="241" y="153"/>
                  </a:lnTo>
                  <a:lnTo>
                    <a:pt x="243" y="127"/>
                  </a:lnTo>
                  <a:lnTo>
                    <a:pt x="241" y="118"/>
                  </a:lnTo>
                  <a:lnTo>
                    <a:pt x="241" y="118"/>
                  </a:lnTo>
                  <a:lnTo>
                    <a:pt x="237" y="122"/>
                  </a:lnTo>
                  <a:lnTo>
                    <a:pt x="203" y="116"/>
                  </a:lnTo>
                  <a:lnTo>
                    <a:pt x="200" y="107"/>
                  </a:lnTo>
                  <a:lnTo>
                    <a:pt x="197" y="104"/>
                  </a:lnTo>
                  <a:lnTo>
                    <a:pt x="197" y="100"/>
                  </a:lnTo>
                  <a:lnTo>
                    <a:pt x="197" y="100"/>
                  </a:lnTo>
                  <a:lnTo>
                    <a:pt x="196" y="100"/>
                  </a:lnTo>
                  <a:lnTo>
                    <a:pt x="194" y="99"/>
                  </a:lnTo>
                  <a:lnTo>
                    <a:pt x="196" y="97"/>
                  </a:lnTo>
                  <a:lnTo>
                    <a:pt x="196" y="96"/>
                  </a:lnTo>
                  <a:lnTo>
                    <a:pt x="194" y="96"/>
                  </a:lnTo>
                  <a:lnTo>
                    <a:pt x="194" y="96"/>
                  </a:lnTo>
                  <a:lnTo>
                    <a:pt x="192" y="96"/>
                  </a:lnTo>
                  <a:lnTo>
                    <a:pt x="188" y="93"/>
                  </a:lnTo>
                  <a:lnTo>
                    <a:pt x="188" y="92"/>
                  </a:lnTo>
                  <a:lnTo>
                    <a:pt x="188" y="93"/>
                  </a:lnTo>
                  <a:lnTo>
                    <a:pt x="185" y="91"/>
                  </a:lnTo>
                  <a:lnTo>
                    <a:pt x="185" y="87"/>
                  </a:lnTo>
                  <a:lnTo>
                    <a:pt x="178" y="80"/>
                  </a:lnTo>
                  <a:lnTo>
                    <a:pt x="177" y="77"/>
                  </a:lnTo>
                  <a:lnTo>
                    <a:pt x="178" y="77"/>
                  </a:lnTo>
                  <a:lnTo>
                    <a:pt x="178" y="76"/>
                  </a:lnTo>
                  <a:lnTo>
                    <a:pt x="177" y="70"/>
                  </a:lnTo>
                  <a:lnTo>
                    <a:pt x="177" y="69"/>
                  </a:lnTo>
                  <a:lnTo>
                    <a:pt x="175" y="66"/>
                  </a:lnTo>
                  <a:lnTo>
                    <a:pt x="174" y="66"/>
                  </a:lnTo>
                  <a:lnTo>
                    <a:pt x="170" y="61"/>
                  </a:lnTo>
                  <a:lnTo>
                    <a:pt x="169" y="61"/>
                  </a:lnTo>
                  <a:lnTo>
                    <a:pt x="167" y="59"/>
                  </a:lnTo>
                  <a:lnTo>
                    <a:pt x="167" y="58"/>
                  </a:lnTo>
                  <a:lnTo>
                    <a:pt x="167" y="58"/>
                  </a:lnTo>
                  <a:lnTo>
                    <a:pt x="169" y="59"/>
                  </a:lnTo>
                  <a:lnTo>
                    <a:pt x="167" y="58"/>
                  </a:lnTo>
                  <a:lnTo>
                    <a:pt x="166" y="57"/>
                  </a:lnTo>
                  <a:lnTo>
                    <a:pt x="162" y="57"/>
                  </a:lnTo>
                  <a:lnTo>
                    <a:pt x="159" y="50"/>
                  </a:lnTo>
                  <a:lnTo>
                    <a:pt x="159" y="47"/>
                  </a:lnTo>
                  <a:lnTo>
                    <a:pt x="156" y="47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5" y="4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2" name="Freeform 82"/>
            <p:cNvSpPr>
              <a:spLocks/>
            </p:cNvSpPr>
            <p:nvPr/>
          </p:nvSpPr>
          <p:spPr bwMode="auto">
            <a:xfrm>
              <a:off x="2555" y="1683"/>
              <a:ext cx="8" cy="20"/>
            </a:xfrm>
            <a:custGeom>
              <a:avLst/>
              <a:gdLst>
                <a:gd name="T0" fmla="*/ 6 w 8"/>
                <a:gd name="T1" fmla="*/ 20 h 20"/>
                <a:gd name="T2" fmla="*/ 4 w 8"/>
                <a:gd name="T3" fmla="*/ 20 h 20"/>
                <a:gd name="T4" fmla="*/ 0 w 8"/>
                <a:gd name="T5" fmla="*/ 17 h 20"/>
                <a:gd name="T6" fmla="*/ 0 w 8"/>
                <a:gd name="T7" fmla="*/ 16 h 20"/>
                <a:gd name="T8" fmla="*/ 1 w 8"/>
                <a:gd name="T9" fmla="*/ 16 h 20"/>
                <a:gd name="T10" fmla="*/ 1 w 8"/>
                <a:gd name="T11" fmla="*/ 13 h 20"/>
                <a:gd name="T12" fmla="*/ 0 w 8"/>
                <a:gd name="T13" fmla="*/ 13 h 20"/>
                <a:gd name="T14" fmla="*/ 0 w 8"/>
                <a:gd name="T15" fmla="*/ 11 h 20"/>
                <a:gd name="T16" fmla="*/ 0 w 8"/>
                <a:gd name="T17" fmla="*/ 8 h 20"/>
                <a:gd name="T18" fmla="*/ 1 w 8"/>
                <a:gd name="T19" fmla="*/ 8 h 20"/>
                <a:gd name="T20" fmla="*/ 1 w 8"/>
                <a:gd name="T21" fmla="*/ 8 h 20"/>
                <a:gd name="T22" fmla="*/ 1 w 8"/>
                <a:gd name="T23" fmla="*/ 5 h 20"/>
                <a:gd name="T24" fmla="*/ 1 w 8"/>
                <a:gd name="T25" fmla="*/ 5 h 20"/>
                <a:gd name="T26" fmla="*/ 1 w 8"/>
                <a:gd name="T27" fmla="*/ 2 h 20"/>
                <a:gd name="T28" fmla="*/ 1 w 8"/>
                <a:gd name="T29" fmla="*/ 2 h 20"/>
                <a:gd name="T30" fmla="*/ 1 w 8"/>
                <a:gd name="T31" fmla="*/ 1 h 20"/>
                <a:gd name="T32" fmla="*/ 2 w 8"/>
                <a:gd name="T33" fmla="*/ 1 h 20"/>
                <a:gd name="T34" fmla="*/ 2 w 8"/>
                <a:gd name="T35" fmla="*/ 0 h 20"/>
                <a:gd name="T36" fmla="*/ 4 w 8"/>
                <a:gd name="T37" fmla="*/ 0 h 20"/>
                <a:gd name="T38" fmla="*/ 5 w 8"/>
                <a:gd name="T39" fmla="*/ 1 h 20"/>
                <a:gd name="T40" fmla="*/ 5 w 8"/>
                <a:gd name="T41" fmla="*/ 2 h 20"/>
                <a:gd name="T42" fmla="*/ 6 w 8"/>
                <a:gd name="T43" fmla="*/ 2 h 20"/>
                <a:gd name="T44" fmla="*/ 6 w 8"/>
                <a:gd name="T45" fmla="*/ 4 h 20"/>
                <a:gd name="T46" fmla="*/ 6 w 8"/>
                <a:gd name="T47" fmla="*/ 8 h 20"/>
                <a:gd name="T48" fmla="*/ 5 w 8"/>
                <a:gd name="T49" fmla="*/ 8 h 20"/>
                <a:gd name="T50" fmla="*/ 6 w 8"/>
                <a:gd name="T51" fmla="*/ 12 h 20"/>
                <a:gd name="T52" fmla="*/ 6 w 8"/>
                <a:gd name="T53" fmla="*/ 12 h 20"/>
                <a:gd name="T54" fmla="*/ 8 w 8"/>
                <a:gd name="T55" fmla="*/ 13 h 20"/>
                <a:gd name="T56" fmla="*/ 8 w 8"/>
                <a:gd name="T57" fmla="*/ 19 h 20"/>
                <a:gd name="T58" fmla="*/ 6 w 8"/>
                <a:gd name="T59" fmla="*/ 20 h 20"/>
                <a:gd name="T60" fmla="*/ 6 w 8"/>
                <a:gd name="T6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20">
                  <a:moveTo>
                    <a:pt x="6" y="20"/>
                  </a:moveTo>
                  <a:lnTo>
                    <a:pt x="4" y="20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1" y="16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8"/>
                  </a:lnTo>
                  <a:lnTo>
                    <a:pt x="5" y="8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3"/>
                  </a:lnTo>
                  <a:lnTo>
                    <a:pt x="8" y="19"/>
                  </a:lnTo>
                  <a:lnTo>
                    <a:pt x="6" y="20"/>
                  </a:lnTo>
                  <a:lnTo>
                    <a:pt x="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3" name="Freeform 83"/>
            <p:cNvSpPr>
              <a:spLocks/>
            </p:cNvSpPr>
            <p:nvPr/>
          </p:nvSpPr>
          <p:spPr bwMode="auto">
            <a:xfrm>
              <a:off x="2564" y="1684"/>
              <a:ext cx="56" cy="45"/>
            </a:xfrm>
            <a:custGeom>
              <a:avLst/>
              <a:gdLst>
                <a:gd name="T0" fmla="*/ 0 w 56"/>
                <a:gd name="T1" fmla="*/ 23 h 45"/>
                <a:gd name="T2" fmla="*/ 0 w 56"/>
                <a:gd name="T3" fmla="*/ 27 h 45"/>
                <a:gd name="T4" fmla="*/ 3 w 56"/>
                <a:gd name="T5" fmla="*/ 30 h 45"/>
                <a:gd name="T6" fmla="*/ 6 w 56"/>
                <a:gd name="T7" fmla="*/ 39 h 45"/>
                <a:gd name="T8" fmla="*/ 40 w 56"/>
                <a:gd name="T9" fmla="*/ 45 h 45"/>
                <a:gd name="T10" fmla="*/ 44 w 56"/>
                <a:gd name="T11" fmla="*/ 41 h 45"/>
                <a:gd name="T12" fmla="*/ 53 w 56"/>
                <a:gd name="T13" fmla="*/ 11 h 45"/>
                <a:gd name="T14" fmla="*/ 56 w 56"/>
                <a:gd name="T15" fmla="*/ 10 h 45"/>
                <a:gd name="T16" fmla="*/ 56 w 56"/>
                <a:gd name="T17" fmla="*/ 7 h 45"/>
                <a:gd name="T18" fmla="*/ 55 w 56"/>
                <a:gd name="T19" fmla="*/ 5 h 45"/>
                <a:gd name="T20" fmla="*/ 55 w 56"/>
                <a:gd name="T21" fmla="*/ 5 h 45"/>
                <a:gd name="T22" fmla="*/ 53 w 56"/>
                <a:gd name="T23" fmla="*/ 5 h 45"/>
                <a:gd name="T24" fmla="*/ 53 w 56"/>
                <a:gd name="T25" fmla="*/ 5 h 45"/>
                <a:gd name="T26" fmla="*/ 52 w 56"/>
                <a:gd name="T27" fmla="*/ 5 h 45"/>
                <a:gd name="T28" fmla="*/ 52 w 56"/>
                <a:gd name="T29" fmla="*/ 1 h 45"/>
                <a:gd name="T30" fmla="*/ 50 w 56"/>
                <a:gd name="T31" fmla="*/ 0 h 45"/>
                <a:gd name="T32" fmla="*/ 50 w 56"/>
                <a:gd name="T33" fmla="*/ 3 h 45"/>
                <a:gd name="T34" fmla="*/ 49 w 56"/>
                <a:gd name="T35" fmla="*/ 3 h 45"/>
                <a:gd name="T36" fmla="*/ 42 w 56"/>
                <a:gd name="T37" fmla="*/ 8 h 45"/>
                <a:gd name="T38" fmla="*/ 42 w 56"/>
                <a:gd name="T39" fmla="*/ 11 h 45"/>
                <a:gd name="T40" fmla="*/ 36 w 56"/>
                <a:gd name="T41" fmla="*/ 16 h 45"/>
                <a:gd name="T42" fmla="*/ 34 w 56"/>
                <a:gd name="T43" fmla="*/ 18 h 45"/>
                <a:gd name="T44" fmla="*/ 36 w 56"/>
                <a:gd name="T45" fmla="*/ 19 h 45"/>
                <a:gd name="T46" fmla="*/ 37 w 56"/>
                <a:gd name="T47" fmla="*/ 20 h 45"/>
                <a:gd name="T48" fmla="*/ 33 w 56"/>
                <a:gd name="T49" fmla="*/ 23 h 45"/>
                <a:gd name="T50" fmla="*/ 33 w 56"/>
                <a:gd name="T51" fmla="*/ 22 h 45"/>
                <a:gd name="T52" fmla="*/ 31 w 56"/>
                <a:gd name="T53" fmla="*/ 22 h 45"/>
                <a:gd name="T54" fmla="*/ 30 w 56"/>
                <a:gd name="T55" fmla="*/ 22 h 45"/>
                <a:gd name="T56" fmla="*/ 30 w 56"/>
                <a:gd name="T57" fmla="*/ 25 h 45"/>
                <a:gd name="T58" fmla="*/ 29 w 56"/>
                <a:gd name="T59" fmla="*/ 25 h 45"/>
                <a:gd name="T60" fmla="*/ 29 w 56"/>
                <a:gd name="T61" fmla="*/ 26 h 45"/>
                <a:gd name="T62" fmla="*/ 25 w 56"/>
                <a:gd name="T63" fmla="*/ 26 h 45"/>
                <a:gd name="T64" fmla="*/ 23 w 56"/>
                <a:gd name="T65" fmla="*/ 26 h 45"/>
                <a:gd name="T66" fmla="*/ 22 w 56"/>
                <a:gd name="T67" fmla="*/ 25 h 45"/>
                <a:gd name="T68" fmla="*/ 19 w 56"/>
                <a:gd name="T69" fmla="*/ 26 h 45"/>
                <a:gd name="T70" fmla="*/ 18 w 56"/>
                <a:gd name="T71" fmla="*/ 25 h 45"/>
                <a:gd name="T72" fmla="*/ 16 w 56"/>
                <a:gd name="T73" fmla="*/ 25 h 45"/>
                <a:gd name="T74" fmla="*/ 12 w 56"/>
                <a:gd name="T75" fmla="*/ 25 h 45"/>
                <a:gd name="T76" fmla="*/ 8 w 56"/>
                <a:gd name="T77" fmla="*/ 29 h 45"/>
                <a:gd name="T78" fmla="*/ 6 w 56"/>
                <a:gd name="T79" fmla="*/ 27 h 45"/>
                <a:gd name="T80" fmla="*/ 4 w 56"/>
                <a:gd name="T81" fmla="*/ 27 h 45"/>
                <a:gd name="T82" fmla="*/ 3 w 56"/>
                <a:gd name="T83" fmla="*/ 29 h 45"/>
                <a:gd name="T84" fmla="*/ 2 w 56"/>
                <a:gd name="T85" fmla="*/ 23 h 45"/>
                <a:gd name="T86" fmla="*/ 0 w 56"/>
                <a:gd name="T87" fmla="*/ 23 h 45"/>
                <a:gd name="T88" fmla="*/ 0 w 56"/>
                <a:gd name="T89" fmla="*/ 2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" h="45">
                  <a:moveTo>
                    <a:pt x="0" y="23"/>
                  </a:moveTo>
                  <a:lnTo>
                    <a:pt x="0" y="27"/>
                  </a:lnTo>
                  <a:lnTo>
                    <a:pt x="3" y="30"/>
                  </a:lnTo>
                  <a:lnTo>
                    <a:pt x="6" y="39"/>
                  </a:lnTo>
                  <a:lnTo>
                    <a:pt x="40" y="45"/>
                  </a:lnTo>
                  <a:lnTo>
                    <a:pt x="44" y="41"/>
                  </a:lnTo>
                  <a:lnTo>
                    <a:pt x="53" y="11"/>
                  </a:lnTo>
                  <a:lnTo>
                    <a:pt x="56" y="10"/>
                  </a:lnTo>
                  <a:lnTo>
                    <a:pt x="56" y="7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1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2" y="8"/>
                  </a:lnTo>
                  <a:lnTo>
                    <a:pt x="42" y="11"/>
                  </a:lnTo>
                  <a:lnTo>
                    <a:pt x="36" y="16"/>
                  </a:lnTo>
                  <a:lnTo>
                    <a:pt x="34" y="18"/>
                  </a:lnTo>
                  <a:lnTo>
                    <a:pt x="36" y="19"/>
                  </a:lnTo>
                  <a:lnTo>
                    <a:pt x="37" y="20"/>
                  </a:lnTo>
                  <a:lnTo>
                    <a:pt x="33" y="23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0" y="22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5" y="26"/>
                  </a:lnTo>
                  <a:lnTo>
                    <a:pt x="23" y="26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8" y="25"/>
                  </a:lnTo>
                  <a:lnTo>
                    <a:pt x="16" y="25"/>
                  </a:lnTo>
                  <a:lnTo>
                    <a:pt x="12" y="25"/>
                  </a:lnTo>
                  <a:lnTo>
                    <a:pt x="8" y="29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3" y="29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4" name="Freeform 84"/>
            <p:cNvSpPr>
              <a:spLocks noEditPoints="1"/>
            </p:cNvSpPr>
            <p:nvPr/>
          </p:nvSpPr>
          <p:spPr bwMode="auto">
            <a:xfrm>
              <a:off x="2574" y="1679"/>
              <a:ext cx="88" cy="123"/>
            </a:xfrm>
            <a:custGeom>
              <a:avLst/>
              <a:gdLst>
                <a:gd name="T0" fmla="*/ 34 w 88"/>
                <a:gd name="T1" fmla="*/ 81 h 123"/>
                <a:gd name="T2" fmla="*/ 34 w 88"/>
                <a:gd name="T3" fmla="*/ 46 h 123"/>
                <a:gd name="T4" fmla="*/ 46 w 88"/>
                <a:gd name="T5" fmla="*/ 15 h 123"/>
                <a:gd name="T6" fmla="*/ 50 w 88"/>
                <a:gd name="T7" fmla="*/ 27 h 123"/>
                <a:gd name="T8" fmla="*/ 57 w 88"/>
                <a:gd name="T9" fmla="*/ 34 h 123"/>
                <a:gd name="T10" fmla="*/ 61 w 88"/>
                <a:gd name="T11" fmla="*/ 34 h 123"/>
                <a:gd name="T12" fmla="*/ 69 w 88"/>
                <a:gd name="T13" fmla="*/ 35 h 123"/>
                <a:gd name="T14" fmla="*/ 73 w 88"/>
                <a:gd name="T15" fmla="*/ 35 h 123"/>
                <a:gd name="T16" fmla="*/ 77 w 88"/>
                <a:gd name="T17" fmla="*/ 42 h 123"/>
                <a:gd name="T18" fmla="*/ 81 w 88"/>
                <a:gd name="T19" fmla="*/ 46 h 123"/>
                <a:gd name="T20" fmla="*/ 87 w 88"/>
                <a:gd name="T21" fmla="*/ 50 h 123"/>
                <a:gd name="T22" fmla="*/ 88 w 88"/>
                <a:gd name="T23" fmla="*/ 53 h 123"/>
                <a:gd name="T24" fmla="*/ 87 w 88"/>
                <a:gd name="T25" fmla="*/ 57 h 123"/>
                <a:gd name="T26" fmla="*/ 81 w 88"/>
                <a:gd name="T27" fmla="*/ 65 h 123"/>
                <a:gd name="T28" fmla="*/ 77 w 88"/>
                <a:gd name="T29" fmla="*/ 70 h 123"/>
                <a:gd name="T30" fmla="*/ 74 w 88"/>
                <a:gd name="T31" fmla="*/ 77 h 123"/>
                <a:gd name="T32" fmla="*/ 72 w 88"/>
                <a:gd name="T33" fmla="*/ 76 h 123"/>
                <a:gd name="T34" fmla="*/ 73 w 88"/>
                <a:gd name="T35" fmla="*/ 73 h 123"/>
                <a:gd name="T36" fmla="*/ 70 w 88"/>
                <a:gd name="T37" fmla="*/ 74 h 123"/>
                <a:gd name="T38" fmla="*/ 69 w 88"/>
                <a:gd name="T39" fmla="*/ 77 h 123"/>
                <a:gd name="T40" fmla="*/ 69 w 88"/>
                <a:gd name="T41" fmla="*/ 78 h 123"/>
                <a:gd name="T42" fmla="*/ 66 w 88"/>
                <a:gd name="T43" fmla="*/ 84 h 123"/>
                <a:gd name="T44" fmla="*/ 66 w 88"/>
                <a:gd name="T45" fmla="*/ 87 h 123"/>
                <a:gd name="T46" fmla="*/ 66 w 88"/>
                <a:gd name="T47" fmla="*/ 88 h 123"/>
                <a:gd name="T48" fmla="*/ 69 w 88"/>
                <a:gd name="T49" fmla="*/ 93 h 123"/>
                <a:gd name="T50" fmla="*/ 62 w 88"/>
                <a:gd name="T51" fmla="*/ 95 h 123"/>
                <a:gd name="T52" fmla="*/ 60 w 88"/>
                <a:gd name="T53" fmla="*/ 95 h 123"/>
                <a:gd name="T54" fmla="*/ 53 w 88"/>
                <a:gd name="T55" fmla="*/ 102 h 123"/>
                <a:gd name="T56" fmla="*/ 51 w 88"/>
                <a:gd name="T57" fmla="*/ 106 h 123"/>
                <a:gd name="T58" fmla="*/ 49 w 88"/>
                <a:gd name="T59" fmla="*/ 107 h 123"/>
                <a:gd name="T60" fmla="*/ 42 w 88"/>
                <a:gd name="T61" fmla="*/ 108 h 123"/>
                <a:gd name="T62" fmla="*/ 39 w 88"/>
                <a:gd name="T63" fmla="*/ 111 h 123"/>
                <a:gd name="T64" fmla="*/ 39 w 88"/>
                <a:gd name="T65" fmla="*/ 112 h 123"/>
                <a:gd name="T66" fmla="*/ 39 w 88"/>
                <a:gd name="T67" fmla="*/ 115 h 123"/>
                <a:gd name="T68" fmla="*/ 39 w 88"/>
                <a:gd name="T69" fmla="*/ 115 h 123"/>
                <a:gd name="T70" fmla="*/ 35 w 88"/>
                <a:gd name="T71" fmla="*/ 121 h 123"/>
                <a:gd name="T72" fmla="*/ 31 w 88"/>
                <a:gd name="T73" fmla="*/ 119 h 123"/>
                <a:gd name="T74" fmla="*/ 24 w 88"/>
                <a:gd name="T75" fmla="*/ 122 h 123"/>
                <a:gd name="T76" fmla="*/ 20 w 88"/>
                <a:gd name="T77" fmla="*/ 123 h 123"/>
                <a:gd name="T78" fmla="*/ 17 w 88"/>
                <a:gd name="T79" fmla="*/ 123 h 123"/>
                <a:gd name="T80" fmla="*/ 9 w 88"/>
                <a:gd name="T81" fmla="*/ 115 h 123"/>
                <a:gd name="T82" fmla="*/ 0 w 88"/>
                <a:gd name="T83" fmla="*/ 97 h 123"/>
                <a:gd name="T84" fmla="*/ 1 w 88"/>
                <a:gd name="T85" fmla="*/ 91 h 123"/>
                <a:gd name="T86" fmla="*/ 43 w 88"/>
                <a:gd name="T87" fmla="*/ 9 h 123"/>
                <a:gd name="T88" fmla="*/ 45 w 88"/>
                <a:gd name="T89" fmla="*/ 4 h 123"/>
                <a:gd name="T90" fmla="*/ 45 w 88"/>
                <a:gd name="T91" fmla="*/ 2 h 123"/>
                <a:gd name="T92" fmla="*/ 45 w 88"/>
                <a:gd name="T93" fmla="*/ 1 h 123"/>
                <a:gd name="T94" fmla="*/ 45 w 88"/>
                <a:gd name="T95" fmla="*/ 0 h 123"/>
                <a:gd name="T96" fmla="*/ 43 w 88"/>
                <a:gd name="T97" fmla="*/ 0 h 123"/>
                <a:gd name="T98" fmla="*/ 42 w 88"/>
                <a:gd name="T99" fmla="*/ 4 h 123"/>
                <a:gd name="T100" fmla="*/ 40 w 88"/>
                <a:gd name="T101" fmla="*/ 5 h 123"/>
                <a:gd name="T102" fmla="*/ 42 w 88"/>
                <a:gd name="T103" fmla="*/ 6 h 123"/>
                <a:gd name="T104" fmla="*/ 43 w 88"/>
                <a:gd name="T105" fmla="*/ 1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" h="123">
                  <a:moveTo>
                    <a:pt x="1" y="91"/>
                  </a:moveTo>
                  <a:lnTo>
                    <a:pt x="34" y="81"/>
                  </a:lnTo>
                  <a:lnTo>
                    <a:pt x="36" y="55"/>
                  </a:lnTo>
                  <a:lnTo>
                    <a:pt x="34" y="46"/>
                  </a:lnTo>
                  <a:lnTo>
                    <a:pt x="43" y="16"/>
                  </a:lnTo>
                  <a:lnTo>
                    <a:pt x="46" y="15"/>
                  </a:lnTo>
                  <a:lnTo>
                    <a:pt x="46" y="23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7" y="34"/>
                  </a:lnTo>
                  <a:lnTo>
                    <a:pt x="60" y="35"/>
                  </a:lnTo>
                  <a:lnTo>
                    <a:pt x="61" y="34"/>
                  </a:lnTo>
                  <a:lnTo>
                    <a:pt x="64" y="34"/>
                  </a:lnTo>
                  <a:lnTo>
                    <a:pt x="69" y="35"/>
                  </a:lnTo>
                  <a:lnTo>
                    <a:pt x="72" y="35"/>
                  </a:lnTo>
                  <a:lnTo>
                    <a:pt x="73" y="35"/>
                  </a:lnTo>
                  <a:lnTo>
                    <a:pt x="77" y="39"/>
                  </a:lnTo>
                  <a:lnTo>
                    <a:pt x="77" y="42"/>
                  </a:lnTo>
                  <a:lnTo>
                    <a:pt x="80" y="43"/>
                  </a:lnTo>
                  <a:lnTo>
                    <a:pt x="81" y="46"/>
                  </a:lnTo>
                  <a:lnTo>
                    <a:pt x="85" y="50"/>
                  </a:lnTo>
                  <a:lnTo>
                    <a:pt x="87" y="50"/>
                  </a:lnTo>
                  <a:lnTo>
                    <a:pt x="88" y="50"/>
                  </a:lnTo>
                  <a:lnTo>
                    <a:pt x="88" y="53"/>
                  </a:lnTo>
                  <a:lnTo>
                    <a:pt x="87" y="55"/>
                  </a:lnTo>
                  <a:lnTo>
                    <a:pt x="87" y="57"/>
                  </a:lnTo>
                  <a:lnTo>
                    <a:pt x="87" y="58"/>
                  </a:lnTo>
                  <a:lnTo>
                    <a:pt x="81" y="65"/>
                  </a:lnTo>
                  <a:lnTo>
                    <a:pt x="79" y="68"/>
                  </a:lnTo>
                  <a:lnTo>
                    <a:pt x="77" y="70"/>
                  </a:lnTo>
                  <a:lnTo>
                    <a:pt x="76" y="72"/>
                  </a:lnTo>
                  <a:lnTo>
                    <a:pt x="74" y="77"/>
                  </a:lnTo>
                  <a:lnTo>
                    <a:pt x="73" y="76"/>
                  </a:lnTo>
                  <a:lnTo>
                    <a:pt x="72" y="76"/>
                  </a:lnTo>
                  <a:lnTo>
                    <a:pt x="73" y="74"/>
                  </a:lnTo>
                  <a:lnTo>
                    <a:pt x="73" y="73"/>
                  </a:lnTo>
                  <a:lnTo>
                    <a:pt x="72" y="73"/>
                  </a:lnTo>
                  <a:lnTo>
                    <a:pt x="70" y="74"/>
                  </a:lnTo>
                  <a:lnTo>
                    <a:pt x="69" y="76"/>
                  </a:lnTo>
                  <a:lnTo>
                    <a:pt x="69" y="77"/>
                  </a:lnTo>
                  <a:lnTo>
                    <a:pt x="70" y="78"/>
                  </a:lnTo>
                  <a:lnTo>
                    <a:pt x="69" y="78"/>
                  </a:lnTo>
                  <a:lnTo>
                    <a:pt x="66" y="83"/>
                  </a:lnTo>
                  <a:lnTo>
                    <a:pt x="66" y="84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8" y="88"/>
                  </a:lnTo>
                  <a:lnTo>
                    <a:pt x="66" y="88"/>
                  </a:lnTo>
                  <a:lnTo>
                    <a:pt x="68" y="92"/>
                  </a:lnTo>
                  <a:lnTo>
                    <a:pt x="69" y="93"/>
                  </a:lnTo>
                  <a:lnTo>
                    <a:pt x="69" y="95"/>
                  </a:lnTo>
                  <a:lnTo>
                    <a:pt x="62" y="95"/>
                  </a:lnTo>
                  <a:lnTo>
                    <a:pt x="62" y="96"/>
                  </a:lnTo>
                  <a:lnTo>
                    <a:pt x="60" y="95"/>
                  </a:lnTo>
                  <a:lnTo>
                    <a:pt x="57" y="96"/>
                  </a:lnTo>
                  <a:lnTo>
                    <a:pt x="53" y="102"/>
                  </a:lnTo>
                  <a:lnTo>
                    <a:pt x="53" y="104"/>
                  </a:lnTo>
                  <a:lnTo>
                    <a:pt x="51" y="106"/>
                  </a:lnTo>
                  <a:lnTo>
                    <a:pt x="50" y="108"/>
                  </a:lnTo>
                  <a:lnTo>
                    <a:pt x="49" y="107"/>
                  </a:lnTo>
                  <a:lnTo>
                    <a:pt x="46" y="108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39" y="111"/>
                  </a:lnTo>
                  <a:lnTo>
                    <a:pt x="39" y="111"/>
                  </a:lnTo>
                  <a:lnTo>
                    <a:pt x="39" y="112"/>
                  </a:lnTo>
                  <a:lnTo>
                    <a:pt x="40" y="114"/>
                  </a:lnTo>
                  <a:lnTo>
                    <a:pt x="39" y="115"/>
                  </a:lnTo>
                  <a:lnTo>
                    <a:pt x="39" y="115"/>
                  </a:lnTo>
                  <a:lnTo>
                    <a:pt x="39" y="115"/>
                  </a:lnTo>
                  <a:lnTo>
                    <a:pt x="36" y="119"/>
                  </a:lnTo>
                  <a:lnTo>
                    <a:pt x="35" y="121"/>
                  </a:lnTo>
                  <a:lnTo>
                    <a:pt x="34" y="119"/>
                  </a:lnTo>
                  <a:lnTo>
                    <a:pt x="31" y="119"/>
                  </a:lnTo>
                  <a:lnTo>
                    <a:pt x="28" y="119"/>
                  </a:lnTo>
                  <a:lnTo>
                    <a:pt x="24" y="122"/>
                  </a:lnTo>
                  <a:lnTo>
                    <a:pt x="23" y="121"/>
                  </a:lnTo>
                  <a:lnTo>
                    <a:pt x="20" y="123"/>
                  </a:lnTo>
                  <a:lnTo>
                    <a:pt x="19" y="123"/>
                  </a:lnTo>
                  <a:lnTo>
                    <a:pt x="17" y="123"/>
                  </a:lnTo>
                  <a:lnTo>
                    <a:pt x="16" y="123"/>
                  </a:lnTo>
                  <a:lnTo>
                    <a:pt x="9" y="115"/>
                  </a:lnTo>
                  <a:lnTo>
                    <a:pt x="11" y="111"/>
                  </a:lnTo>
                  <a:lnTo>
                    <a:pt x="0" y="97"/>
                  </a:lnTo>
                  <a:lnTo>
                    <a:pt x="1" y="91"/>
                  </a:lnTo>
                  <a:lnTo>
                    <a:pt x="1" y="91"/>
                  </a:lnTo>
                  <a:close/>
                  <a:moveTo>
                    <a:pt x="43" y="10"/>
                  </a:moveTo>
                  <a:lnTo>
                    <a:pt x="43" y="9"/>
                  </a:lnTo>
                  <a:lnTo>
                    <a:pt x="45" y="6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2" y="6"/>
                  </a:lnTo>
                  <a:lnTo>
                    <a:pt x="42" y="10"/>
                  </a:lnTo>
                  <a:lnTo>
                    <a:pt x="43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5" name="Freeform 85"/>
            <p:cNvSpPr>
              <a:spLocks/>
            </p:cNvSpPr>
            <p:nvPr/>
          </p:nvSpPr>
          <p:spPr bwMode="auto">
            <a:xfrm>
              <a:off x="2465" y="1770"/>
              <a:ext cx="125" cy="81"/>
            </a:xfrm>
            <a:custGeom>
              <a:avLst/>
              <a:gdLst>
                <a:gd name="T0" fmla="*/ 4 w 125"/>
                <a:gd name="T1" fmla="*/ 34 h 81"/>
                <a:gd name="T2" fmla="*/ 7 w 125"/>
                <a:gd name="T3" fmla="*/ 32 h 81"/>
                <a:gd name="T4" fmla="*/ 8 w 125"/>
                <a:gd name="T5" fmla="*/ 27 h 81"/>
                <a:gd name="T6" fmla="*/ 12 w 125"/>
                <a:gd name="T7" fmla="*/ 20 h 81"/>
                <a:gd name="T8" fmla="*/ 23 w 125"/>
                <a:gd name="T9" fmla="*/ 23 h 81"/>
                <a:gd name="T10" fmla="*/ 43 w 125"/>
                <a:gd name="T11" fmla="*/ 32 h 81"/>
                <a:gd name="T12" fmla="*/ 65 w 125"/>
                <a:gd name="T13" fmla="*/ 13 h 81"/>
                <a:gd name="T14" fmla="*/ 109 w 125"/>
                <a:gd name="T15" fmla="*/ 6 h 81"/>
                <a:gd name="T16" fmla="*/ 118 w 125"/>
                <a:gd name="T17" fmla="*/ 24 h 81"/>
                <a:gd name="T18" fmla="*/ 122 w 125"/>
                <a:gd name="T19" fmla="*/ 34 h 81"/>
                <a:gd name="T20" fmla="*/ 114 w 125"/>
                <a:gd name="T21" fmla="*/ 39 h 81"/>
                <a:gd name="T22" fmla="*/ 114 w 125"/>
                <a:gd name="T23" fmla="*/ 43 h 81"/>
                <a:gd name="T24" fmla="*/ 115 w 125"/>
                <a:gd name="T25" fmla="*/ 45 h 81"/>
                <a:gd name="T26" fmla="*/ 107 w 125"/>
                <a:gd name="T27" fmla="*/ 49 h 81"/>
                <a:gd name="T28" fmla="*/ 95 w 125"/>
                <a:gd name="T29" fmla="*/ 51 h 81"/>
                <a:gd name="T30" fmla="*/ 81 w 125"/>
                <a:gd name="T31" fmla="*/ 57 h 81"/>
                <a:gd name="T32" fmla="*/ 79 w 125"/>
                <a:gd name="T33" fmla="*/ 58 h 81"/>
                <a:gd name="T34" fmla="*/ 72 w 125"/>
                <a:gd name="T35" fmla="*/ 65 h 81"/>
                <a:gd name="T36" fmla="*/ 71 w 125"/>
                <a:gd name="T37" fmla="*/ 64 h 81"/>
                <a:gd name="T38" fmla="*/ 67 w 125"/>
                <a:gd name="T39" fmla="*/ 65 h 81"/>
                <a:gd name="T40" fmla="*/ 64 w 125"/>
                <a:gd name="T41" fmla="*/ 64 h 81"/>
                <a:gd name="T42" fmla="*/ 60 w 125"/>
                <a:gd name="T43" fmla="*/ 69 h 81"/>
                <a:gd name="T44" fmla="*/ 53 w 125"/>
                <a:gd name="T45" fmla="*/ 70 h 81"/>
                <a:gd name="T46" fmla="*/ 46 w 125"/>
                <a:gd name="T47" fmla="*/ 72 h 81"/>
                <a:gd name="T48" fmla="*/ 42 w 125"/>
                <a:gd name="T49" fmla="*/ 72 h 81"/>
                <a:gd name="T50" fmla="*/ 39 w 125"/>
                <a:gd name="T51" fmla="*/ 70 h 81"/>
                <a:gd name="T52" fmla="*/ 35 w 125"/>
                <a:gd name="T53" fmla="*/ 73 h 81"/>
                <a:gd name="T54" fmla="*/ 33 w 125"/>
                <a:gd name="T55" fmla="*/ 76 h 81"/>
                <a:gd name="T56" fmla="*/ 28 w 125"/>
                <a:gd name="T57" fmla="*/ 80 h 81"/>
                <a:gd name="T58" fmla="*/ 24 w 125"/>
                <a:gd name="T59" fmla="*/ 79 h 81"/>
                <a:gd name="T60" fmla="*/ 20 w 125"/>
                <a:gd name="T61" fmla="*/ 81 h 81"/>
                <a:gd name="T62" fmla="*/ 16 w 125"/>
                <a:gd name="T63" fmla="*/ 81 h 81"/>
                <a:gd name="T64" fmla="*/ 13 w 125"/>
                <a:gd name="T65" fmla="*/ 80 h 81"/>
                <a:gd name="T66" fmla="*/ 9 w 125"/>
                <a:gd name="T67" fmla="*/ 74 h 81"/>
                <a:gd name="T68" fmla="*/ 9 w 125"/>
                <a:gd name="T69" fmla="*/ 70 h 81"/>
                <a:gd name="T70" fmla="*/ 7 w 125"/>
                <a:gd name="T71" fmla="*/ 64 h 81"/>
                <a:gd name="T72" fmla="*/ 3 w 125"/>
                <a:gd name="T73" fmla="*/ 50 h 81"/>
                <a:gd name="T74" fmla="*/ 1 w 125"/>
                <a:gd name="T75" fmla="*/ 47 h 81"/>
                <a:gd name="T76" fmla="*/ 3 w 125"/>
                <a:gd name="T77" fmla="*/ 47 h 81"/>
                <a:gd name="T78" fmla="*/ 4 w 125"/>
                <a:gd name="T79" fmla="*/ 46 h 81"/>
                <a:gd name="T80" fmla="*/ 3 w 125"/>
                <a:gd name="T81" fmla="*/ 36 h 81"/>
                <a:gd name="T82" fmla="*/ 1 w 125"/>
                <a:gd name="T83" fmla="*/ 3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81">
                  <a:moveTo>
                    <a:pt x="1" y="34"/>
                  </a:moveTo>
                  <a:lnTo>
                    <a:pt x="4" y="34"/>
                  </a:lnTo>
                  <a:lnTo>
                    <a:pt x="5" y="35"/>
                  </a:lnTo>
                  <a:lnTo>
                    <a:pt x="7" y="32"/>
                  </a:lnTo>
                  <a:lnTo>
                    <a:pt x="9" y="31"/>
                  </a:lnTo>
                  <a:lnTo>
                    <a:pt x="8" y="27"/>
                  </a:lnTo>
                  <a:lnTo>
                    <a:pt x="9" y="21"/>
                  </a:lnTo>
                  <a:lnTo>
                    <a:pt x="12" y="20"/>
                  </a:lnTo>
                  <a:lnTo>
                    <a:pt x="16" y="23"/>
                  </a:lnTo>
                  <a:lnTo>
                    <a:pt x="23" y="23"/>
                  </a:lnTo>
                  <a:lnTo>
                    <a:pt x="34" y="27"/>
                  </a:lnTo>
                  <a:lnTo>
                    <a:pt x="43" y="32"/>
                  </a:lnTo>
                  <a:lnTo>
                    <a:pt x="45" y="42"/>
                  </a:lnTo>
                  <a:lnTo>
                    <a:pt x="65" y="13"/>
                  </a:lnTo>
                  <a:lnTo>
                    <a:pt x="110" y="0"/>
                  </a:lnTo>
                  <a:lnTo>
                    <a:pt x="109" y="6"/>
                  </a:lnTo>
                  <a:lnTo>
                    <a:pt x="120" y="20"/>
                  </a:lnTo>
                  <a:lnTo>
                    <a:pt x="118" y="24"/>
                  </a:lnTo>
                  <a:lnTo>
                    <a:pt x="125" y="32"/>
                  </a:lnTo>
                  <a:lnTo>
                    <a:pt x="122" y="34"/>
                  </a:lnTo>
                  <a:lnTo>
                    <a:pt x="118" y="34"/>
                  </a:lnTo>
                  <a:lnTo>
                    <a:pt x="114" y="39"/>
                  </a:lnTo>
                  <a:lnTo>
                    <a:pt x="114" y="42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5" y="45"/>
                  </a:lnTo>
                  <a:lnTo>
                    <a:pt x="110" y="46"/>
                  </a:lnTo>
                  <a:lnTo>
                    <a:pt x="107" y="49"/>
                  </a:lnTo>
                  <a:lnTo>
                    <a:pt x="103" y="50"/>
                  </a:lnTo>
                  <a:lnTo>
                    <a:pt x="95" y="51"/>
                  </a:lnTo>
                  <a:lnTo>
                    <a:pt x="95" y="53"/>
                  </a:lnTo>
                  <a:lnTo>
                    <a:pt x="81" y="57"/>
                  </a:lnTo>
                  <a:lnTo>
                    <a:pt x="80" y="57"/>
                  </a:lnTo>
                  <a:lnTo>
                    <a:pt x="79" y="58"/>
                  </a:lnTo>
                  <a:lnTo>
                    <a:pt x="76" y="62"/>
                  </a:lnTo>
                  <a:lnTo>
                    <a:pt x="72" y="65"/>
                  </a:lnTo>
                  <a:lnTo>
                    <a:pt x="71" y="65"/>
                  </a:lnTo>
                  <a:lnTo>
                    <a:pt x="71" y="64"/>
                  </a:lnTo>
                  <a:lnTo>
                    <a:pt x="69" y="65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4" y="64"/>
                  </a:lnTo>
                  <a:lnTo>
                    <a:pt x="60" y="68"/>
                  </a:lnTo>
                  <a:lnTo>
                    <a:pt x="60" y="69"/>
                  </a:lnTo>
                  <a:lnTo>
                    <a:pt x="58" y="70"/>
                  </a:lnTo>
                  <a:lnTo>
                    <a:pt x="53" y="70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5" y="72"/>
                  </a:lnTo>
                  <a:lnTo>
                    <a:pt x="42" y="72"/>
                  </a:lnTo>
                  <a:lnTo>
                    <a:pt x="41" y="70"/>
                  </a:lnTo>
                  <a:lnTo>
                    <a:pt x="39" y="70"/>
                  </a:lnTo>
                  <a:lnTo>
                    <a:pt x="38" y="72"/>
                  </a:lnTo>
                  <a:lnTo>
                    <a:pt x="35" y="73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0" y="80"/>
                  </a:lnTo>
                  <a:lnTo>
                    <a:pt x="28" y="80"/>
                  </a:lnTo>
                  <a:lnTo>
                    <a:pt x="27" y="79"/>
                  </a:lnTo>
                  <a:lnTo>
                    <a:pt x="24" y="79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3" y="81"/>
                  </a:lnTo>
                  <a:lnTo>
                    <a:pt x="13" y="80"/>
                  </a:lnTo>
                  <a:lnTo>
                    <a:pt x="12" y="77"/>
                  </a:lnTo>
                  <a:lnTo>
                    <a:pt x="9" y="74"/>
                  </a:lnTo>
                  <a:lnTo>
                    <a:pt x="8" y="70"/>
                  </a:lnTo>
                  <a:lnTo>
                    <a:pt x="9" y="70"/>
                  </a:lnTo>
                  <a:lnTo>
                    <a:pt x="9" y="66"/>
                  </a:lnTo>
                  <a:lnTo>
                    <a:pt x="7" y="64"/>
                  </a:lnTo>
                  <a:lnTo>
                    <a:pt x="5" y="53"/>
                  </a:lnTo>
                  <a:lnTo>
                    <a:pt x="3" y="50"/>
                  </a:lnTo>
                  <a:lnTo>
                    <a:pt x="3" y="47"/>
                  </a:lnTo>
                  <a:lnTo>
                    <a:pt x="1" y="47"/>
                  </a:lnTo>
                  <a:lnTo>
                    <a:pt x="0" y="46"/>
                  </a:lnTo>
                  <a:lnTo>
                    <a:pt x="3" y="47"/>
                  </a:lnTo>
                  <a:lnTo>
                    <a:pt x="3" y="46"/>
                  </a:lnTo>
                  <a:lnTo>
                    <a:pt x="4" y="46"/>
                  </a:lnTo>
                  <a:lnTo>
                    <a:pt x="4" y="42"/>
                  </a:lnTo>
                  <a:lnTo>
                    <a:pt x="3" y="36"/>
                  </a:lnTo>
                  <a:lnTo>
                    <a:pt x="1" y="34"/>
                  </a:lnTo>
                  <a:lnTo>
                    <a:pt x="1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6" name="Freeform 86"/>
            <p:cNvSpPr>
              <a:spLocks/>
            </p:cNvSpPr>
            <p:nvPr/>
          </p:nvSpPr>
          <p:spPr bwMode="auto">
            <a:xfrm>
              <a:off x="2250" y="1616"/>
              <a:ext cx="147" cy="122"/>
            </a:xfrm>
            <a:custGeom>
              <a:avLst/>
              <a:gdLst>
                <a:gd name="T0" fmla="*/ 117 w 147"/>
                <a:gd name="T1" fmla="*/ 22 h 122"/>
                <a:gd name="T2" fmla="*/ 110 w 147"/>
                <a:gd name="T3" fmla="*/ 7 h 122"/>
                <a:gd name="T4" fmla="*/ 105 w 147"/>
                <a:gd name="T5" fmla="*/ 4 h 122"/>
                <a:gd name="T6" fmla="*/ 88 w 147"/>
                <a:gd name="T7" fmla="*/ 6 h 122"/>
                <a:gd name="T8" fmla="*/ 84 w 147"/>
                <a:gd name="T9" fmla="*/ 7 h 122"/>
                <a:gd name="T10" fmla="*/ 80 w 147"/>
                <a:gd name="T11" fmla="*/ 6 h 122"/>
                <a:gd name="T12" fmla="*/ 80 w 147"/>
                <a:gd name="T13" fmla="*/ 1 h 122"/>
                <a:gd name="T14" fmla="*/ 72 w 147"/>
                <a:gd name="T15" fmla="*/ 0 h 122"/>
                <a:gd name="T16" fmla="*/ 73 w 147"/>
                <a:gd name="T17" fmla="*/ 1 h 122"/>
                <a:gd name="T18" fmla="*/ 67 w 147"/>
                <a:gd name="T19" fmla="*/ 3 h 122"/>
                <a:gd name="T20" fmla="*/ 68 w 147"/>
                <a:gd name="T21" fmla="*/ 1 h 122"/>
                <a:gd name="T22" fmla="*/ 64 w 147"/>
                <a:gd name="T23" fmla="*/ 1 h 122"/>
                <a:gd name="T24" fmla="*/ 59 w 147"/>
                <a:gd name="T25" fmla="*/ 4 h 122"/>
                <a:gd name="T26" fmla="*/ 52 w 147"/>
                <a:gd name="T27" fmla="*/ 8 h 122"/>
                <a:gd name="T28" fmla="*/ 41 w 147"/>
                <a:gd name="T29" fmla="*/ 6 h 122"/>
                <a:gd name="T30" fmla="*/ 33 w 147"/>
                <a:gd name="T31" fmla="*/ 4 h 122"/>
                <a:gd name="T32" fmla="*/ 25 w 147"/>
                <a:gd name="T33" fmla="*/ 1 h 122"/>
                <a:gd name="T34" fmla="*/ 4 w 147"/>
                <a:gd name="T35" fmla="*/ 0 h 122"/>
                <a:gd name="T36" fmla="*/ 3 w 147"/>
                <a:gd name="T37" fmla="*/ 3 h 122"/>
                <a:gd name="T38" fmla="*/ 3 w 147"/>
                <a:gd name="T39" fmla="*/ 12 h 122"/>
                <a:gd name="T40" fmla="*/ 1 w 147"/>
                <a:gd name="T41" fmla="*/ 23 h 122"/>
                <a:gd name="T42" fmla="*/ 147 w 147"/>
                <a:gd name="T43" fmla="*/ 121 h 122"/>
                <a:gd name="T44" fmla="*/ 141 w 147"/>
                <a:gd name="T45" fmla="*/ 118 h 122"/>
                <a:gd name="T46" fmla="*/ 137 w 147"/>
                <a:gd name="T47" fmla="*/ 113 h 122"/>
                <a:gd name="T48" fmla="*/ 131 w 147"/>
                <a:gd name="T49" fmla="*/ 110 h 122"/>
                <a:gd name="T50" fmla="*/ 129 w 147"/>
                <a:gd name="T51" fmla="*/ 101 h 122"/>
                <a:gd name="T52" fmla="*/ 129 w 147"/>
                <a:gd name="T53" fmla="*/ 98 h 122"/>
                <a:gd name="T54" fmla="*/ 131 w 147"/>
                <a:gd name="T55" fmla="*/ 97 h 122"/>
                <a:gd name="T56" fmla="*/ 127 w 147"/>
                <a:gd name="T57" fmla="*/ 94 h 122"/>
                <a:gd name="T58" fmla="*/ 120 w 147"/>
                <a:gd name="T59" fmla="*/ 83 h 122"/>
                <a:gd name="T60" fmla="*/ 110 w 147"/>
                <a:gd name="T61" fmla="*/ 67 h 122"/>
                <a:gd name="T62" fmla="*/ 109 w 147"/>
                <a:gd name="T63" fmla="*/ 59 h 122"/>
                <a:gd name="T64" fmla="*/ 103 w 147"/>
                <a:gd name="T65" fmla="*/ 50 h 122"/>
                <a:gd name="T66" fmla="*/ 103 w 147"/>
                <a:gd name="T67" fmla="*/ 46 h 122"/>
                <a:gd name="T68" fmla="*/ 91 w 147"/>
                <a:gd name="T69" fmla="*/ 33 h 122"/>
                <a:gd name="T70" fmla="*/ 88 w 147"/>
                <a:gd name="T71" fmla="*/ 26 h 122"/>
                <a:gd name="T72" fmla="*/ 90 w 147"/>
                <a:gd name="T73" fmla="*/ 23 h 122"/>
                <a:gd name="T74" fmla="*/ 93 w 147"/>
                <a:gd name="T75" fmla="*/ 29 h 122"/>
                <a:gd name="T76" fmla="*/ 98 w 147"/>
                <a:gd name="T77" fmla="*/ 35 h 122"/>
                <a:gd name="T78" fmla="*/ 102 w 147"/>
                <a:gd name="T79" fmla="*/ 42 h 122"/>
                <a:gd name="T80" fmla="*/ 112 w 147"/>
                <a:gd name="T81" fmla="*/ 50 h 122"/>
                <a:gd name="T82" fmla="*/ 114 w 147"/>
                <a:gd name="T83" fmla="*/ 42 h 122"/>
                <a:gd name="T84" fmla="*/ 116 w 147"/>
                <a:gd name="T85" fmla="*/ 3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7" h="122">
                  <a:moveTo>
                    <a:pt x="117" y="29"/>
                  </a:moveTo>
                  <a:lnTo>
                    <a:pt x="116" y="25"/>
                  </a:lnTo>
                  <a:lnTo>
                    <a:pt x="117" y="22"/>
                  </a:lnTo>
                  <a:lnTo>
                    <a:pt x="114" y="15"/>
                  </a:lnTo>
                  <a:lnTo>
                    <a:pt x="110" y="11"/>
                  </a:lnTo>
                  <a:lnTo>
                    <a:pt x="110" y="7"/>
                  </a:lnTo>
                  <a:lnTo>
                    <a:pt x="107" y="3"/>
                  </a:lnTo>
                  <a:lnTo>
                    <a:pt x="106" y="3"/>
                  </a:lnTo>
                  <a:lnTo>
                    <a:pt x="105" y="4"/>
                  </a:lnTo>
                  <a:lnTo>
                    <a:pt x="101" y="6"/>
                  </a:lnTo>
                  <a:lnTo>
                    <a:pt x="94" y="4"/>
                  </a:lnTo>
                  <a:lnTo>
                    <a:pt x="88" y="6"/>
                  </a:lnTo>
                  <a:lnTo>
                    <a:pt x="84" y="3"/>
                  </a:lnTo>
                  <a:lnTo>
                    <a:pt x="83" y="6"/>
                  </a:lnTo>
                  <a:lnTo>
                    <a:pt x="84" y="7"/>
                  </a:lnTo>
                  <a:lnTo>
                    <a:pt x="84" y="8"/>
                  </a:lnTo>
                  <a:lnTo>
                    <a:pt x="83" y="7"/>
                  </a:lnTo>
                  <a:lnTo>
                    <a:pt x="80" y="6"/>
                  </a:lnTo>
                  <a:lnTo>
                    <a:pt x="80" y="3"/>
                  </a:lnTo>
                  <a:lnTo>
                    <a:pt x="82" y="3"/>
                  </a:lnTo>
                  <a:lnTo>
                    <a:pt x="80" y="1"/>
                  </a:lnTo>
                  <a:lnTo>
                    <a:pt x="79" y="1"/>
                  </a:lnTo>
                  <a:lnTo>
                    <a:pt x="76" y="1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1" y="1"/>
                  </a:lnTo>
                  <a:lnTo>
                    <a:pt x="69" y="1"/>
                  </a:lnTo>
                  <a:lnTo>
                    <a:pt x="67" y="3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8" y="1"/>
                  </a:lnTo>
                  <a:lnTo>
                    <a:pt x="69" y="0"/>
                  </a:lnTo>
                  <a:lnTo>
                    <a:pt x="68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0" y="4"/>
                  </a:lnTo>
                  <a:lnTo>
                    <a:pt x="59" y="4"/>
                  </a:lnTo>
                  <a:lnTo>
                    <a:pt x="56" y="6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1" y="6"/>
                  </a:lnTo>
                  <a:lnTo>
                    <a:pt x="37" y="6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1" y="6"/>
                  </a:lnTo>
                  <a:lnTo>
                    <a:pt x="29" y="3"/>
                  </a:lnTo>
                  <a:lnTo>
                    <a:pt x="25" y="1"/>
                  </a:lnTo>
                  <a:lnTo>
                    <a:pt x="15" y="1"/>
                  </a:lnTo>
                  <a:lnTo>
                    <a:pt x="11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3"/>
                  </a:lnTo>
                  <a:lnTo>
                    <a:pt x="1" y="7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1" y="23"/>
                  </a:lnTo>
                  <a:lnTo>
                    <a:pt x="3" y="30"/>
                  </a:lnTo>
                  <a:lnTo>
                    <a:pt x="7" y="122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4" y="121"/>
                  </a:lnTo>
                  <a:lnTo>
                    <a:pt x="141" y="118"/>
                  </a:lnTo>
                  <a:lnTo>
                    <a:pt x="141" y="116"/>
                  </a:lnTo>
                  <a:lnTo>
                    <a:pt x="139" y="116"/>
                  </a:lnTo>
                  <a:lnTo>
                    <a:pt x="137" y="113"/>
                  </a:lnTo>
                  <a:lnTo>
                    <a:pt x="136" y="113"/>
                  </a:lnTo>
                  <a:lnTo>
                    <a:pt x="133" y="113"/>
                  </a:lnTo>
                  <a:lnTo>
                    <a:pt x="131" y="110"/>
                  </a:lnTo>
                  <a:lnTo>
                    <a:pt x="128" y="105"/>
                  </a:lnTo>
                  <a:lnTo>
                    <a:pt x="129" y="103"/>
                  </a:lnTo>
                  <a:lnTo>
                    <a:pt x="129" y="101"/>
                  </a:lnTo>
                  <a:lnTo>
                    <a:pt x="128" y="98"/>
                  </a:lnTo>
                  <a:lnTo>
                    <a:pt x="128" y="98"/>
                  </a:lnTo>
                  <a:lnTo>
                    <a:pt x="129" y="98"/>
                  </a:lnTo>
                  <a:lnTo>
                    <a:pt x="132" y="98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7" y="94"/>
                  </a:lnTo>
                  <a:lnTo>
                    <a:pt x="125" y="93"/>
                  </a:lnTo>
                  <a:lnTo>
                    <a:pt x="125" y="90"/>
                  </a:lnTo>
                  <a:lnTo>
                    <a:pt x="120" y="83"/>
                  </a:lnTo>
                  <a:lnTo>
                    <a:pt x="118" y="82"/>
                  </a:lnTo>
                  <a:lnTo>
                    <a:pt x="117" y="78"/>
                  </a:lnTo>
                  <a:lnTo>
                    <a:pt x="110" y="67"/>
                  </a:lnTo>
                  <a:lnTo>
                    <a:pt x="110" y="65"/>
                  </a:lnTo>
                  <a:lnTo>
                    <a:pt x="109" y="63"/>
                  </a:lnTo>
                  <a:lnTo>
                    <a:pt x="109" y="59"/>
                  </a:lnTo>
                  <a:lnTo>
                    <a:pt x="107" y="57"/>
                  </a:lnTo>
                  <a:lnTo>
                    <a:pt x="107" y="56"/>
                  </a:lnTo>
                  <a:lnTo>
                    <a:pt x="103" y="50"/>
                  </a:lnTo>
                  <a:lnTo>
                    <a:pt x="103" y="49"/>
                  </a:lnTo>
                  <a:lnTo>
                    <a:pt x="103" y="48"/>
                  </a:lnTo>
                  <a:lnTo>
                    <a:pt x="103" y="46"/>
                  </a:lnTo>
                  <a:lnTo>
                    <a:pt x="97" y="39"/>
                  </a:lnTo>
                  <a:lnTo>
                    <a:pt x="95" y="38"/>
                  </a:lnTo>
                  <a:lnTo>
                    <a:pt x="91" y="33"/>
                  </a:lnTo>
                  <a:lnTo>
                    <a:pt x="91" y="30"/>
                  </a:lnTo>
                  <a:lnTo>
                    <a:pt x="88" y="27"/>
                  </a:lnTo>
                  <a:lnTo>
                    <a:pt x="88" y="26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1" y="23"/>
                  </a:lnTo>
                  <a:lnTo>
                    <a:pt x="91" y="27"/>
                  </a:lnTo>
                  <a:lnTo>
                    <a:pt x="93" y="29"/>
                  </a:lnTo>
                  <a:lnTo>
                    <a:pt x="93" y="30"/>
                  </a:lnTo>
                  <a:lnTo>
                    <a:pt x="98" y="33"/>
                  </a:lnTo>
                  <a:lnTo>
                    <a:pt x="98" y="35"/>
                  </a:lnTo>
                  <a:lnTo>
                    <a:pt x="98" y="38"/>
                  </a:lnTo>
                  <a:lnTo>
                    <a:pt x="102" y="39"/>
                  </a:lnTo>
                  <a:lnTo>
                    <a:pt x="102" y="42"/>
                  </a:lnTo>
                  <a:lnTo>
                    <a:pt x="107" y="48"/>
                  </a:lnTo>
                  <a:lnTo>
                    <a:pt x="112" y="49"/>
                  </a:lnTo>
                  <a:lnTo>
                    <a:pt x="112" y="50"/>
                  </a:lnTo>
                  <a:lnTo>
                    <a:pt x="112" y="49"/>
                  </a:lnTo>
                  <a:lnTo>
                    <a:pt x="113" y="46"/>
                  </a:lnTo>
                  <a:lnTo>
                    <a:pt x="114" y="42"/>
                  </a:lnTo>
                  <a:lnTo>
                    <a:pt x="113" y="42"/>
                  </a:lnTo>
                  <a:lnTo>
                    <a:pt x="114" y="38"/>
                  </a:lnTo>
                  <a:lnTo>
                    <a:pt x="116" y="35"/>
                  </a:lnTo>
                  <a:lnTo>
                    <a:pt x="117" y="29"/>
                  </a:lnTo>
                  <a:lnTo>
                    <a:pt x="117" y="2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7" name="Freeform 87"/>
            <p:cNvSpPr>
              <a:spLocks/>
            </p:cNvSpPr>
            <p:nvPr/>
          </p:nvSpPr>
          <p:spPr bwMode="auto">
            <a:xfrm>
              <a:off x="2224" y="1737"/>
              <a:ext cx="193" cy="223"/>
            </a:xfrm>
            <a:custGeom>
              <a:avLst/>
              <a:gdLst>
                <a:gd name="T0" fmla="*/ 173 w 193"/>
                <a:gd name="T1" fmla="*/ 3 h 223"/>
                <a:gd name="T2" fmla="*/ 174 w 193"/>
                <a:gd name="T3" fmla="*/ 10 h 223"/>
                <a:gd name="T4" fmla="*/ 174 w 193"/>
                <a:gd name="T5" fmla="*/ 11 h 223"/>
                <a:gd name="T6" fmla="*/ 177 w 193"/>
                <a:gd name="T7" fmla="*/ 31 h 223"/>
                <a:gd name="T8" fmla="*/ 188 w 193"/>
                <a:gd name="T9" fmla="*/ 46 h 223"/>
                <a:gd name="T10" fmla="*/ 192 w 193"/>
                <a:gd name="T11" fmla="*/ 52 h 223"/>
                <a:gd name="T12" fmla="*/ 184 w 193"/>
                <a:gd name="T13" fmla="*/ 56 h 223"/>
                <a:gd name="T14" fmla="*/ 178 w 193"/>
                <a:gd name="T15" fmla="*/ 60 h 223"/>
                <a:gd name="T16" fmla="*/ 177 w 193"/>
                <a:gd name="T17" fmla="*/ 67 h 223"/>
                <a:gd name="T18" fmla="*/ 173 w 193"/>
                <a:gd name="T19" fmla="*/ 83 h 223"/>
                <a:gd name="T20" fmla="*/ 173 w 193"/>
                <a:gd name="T21" fmla="*/ 94 h 223"/>
                <a:gd name="T22" fmla="*/ 167 w 193"/>
                <a:gd name="T23" fmla="*/ 112 h 223"/>
                <a:gd name="T24" fmla="*/ 161 w 193"/>
                <a:gd name="T25" fmla="*/ 121 h 223"/>
                <a:gd name="T26" fmla="*/ 151 w 193"/>
                <a:gd name="T27" fmla="*/ 135 h 223"/>
                <a:gd name="T28" fmla="*/ 148 w 193"/>
                <a:gd name="T29" fmla="*/ 145 h 223"/>
                <a:gd name="T30" fmla="*/ 144 w 193"/>
                <a:gd name="T31" fmla="*/ 163 h 223"/>
                <a:gd name="T32" fmla="*/ 136 w 193"/>
                <a:gd name="T33" fmla="*/ 163 h 223"/>
                <a:gd name="T34" fmla="*/ 135 w 193"/>
                <a:gd name="T35" fmla="*/ 171 h 223"/>
                <a:gd name="T36" fmla="*/ 144 w 193"/>
                <a:gd name="T37" fmla="*/ 178 h 223"/>
                <a:gd name="T38" fmla="*/ 153 w 193"/>
                <a:gd name="T39" fmla="*/ 185 h 223"/>
                <a:gd name="T40" fmla="*/ 158 w 193"/>
                <a:gd name="T41" fmla="*/ 196 h 223"/>
                <a:gd name="T42" fmla="*/ 148 w 193"/>
                <a:gd name="T43" fmla="*/ 211 h 223"/>
                <a:gd name="T44" fmla="*/ 143 w 193"/>
                <a:gd name="T45" fmla="*/ 216 h 223"/>
                <a:gd name="T46" fmla="*/ 129 w 193"/>
                <a:gd name="T47" fmla="*/ 220 h 223"/>
                <a:gd name="T48" fmla="*/ 124 w 193"/>
                <a:gd name="T49" fmla="*/ 223 h 223"/>
                <a:gd name="T50" fmla="*/ 116 w 193"/>
                <a:gd name="T51" fmla="*/ 220 h 223"/>
                <a:gd name="T52" fmla="*/ 109 w 193"/>
                <a:gd name="T53" fmla="*/ 222 h 223"/>
                <a:gd name="T54" fmla="*/ 105 w 193"/>
                <a:gd name="T55" fmla="*/ 220 h 223"/>
                <a:gd name="T56" fmla="*/ 98 w 193"/>
                <a:gd name="T57" fmla="*/ 215 h 223"/>
                <a:gd name="T58" fmla="*/ 91 w 193"/>
                <a:gd name="T59" fmla="*/ 208 h 223"/>
                <a:gd name="T60" fmla="*/ 85 w 193"/>
                <a:gd name="T61" fmla="*/ 211 h 223"/>
                <a:gd name="T62" fmla="*/ 76 w 193"/>
                <a:gd name="T63" fmla="*/ 213 h 223"/>
                <a:gd name="T64" fmla="*/ 68 w 193"/>
                <a:gd name="T65" fmla="*/ 207 h 223"/>
                <a:gd name="T66" fmla="*/ 64 w 193"/>
                <a:gd name="T67" fmla="*/ 203 h 223"/>
                <a:gd name="T68" fmla="*/ 57 w 193"/>
                <a:gd name="T69" fmla="*/ 194 h 223"/>
                <a:gd name="T70" fmla="*/ 52 w 193"/>
                <a:gd name="T71" fmla="*/ 188 h 223"/>
                <a:gd name="T72" fmla="*/ 45 w 193"/>
                <a:gd name="T73" fmla="*/ 179 h 223"/>
                <a:gd name="T74" fmla="*/ 41 w 193"/>
                <a:gd name="T75" fmla="*/ 175 h 223"/>
                <a:gd name="T76" fmla="*/ 37 w 193"/>
                <a:gd name="T77" fmla="*/ 170 h 223"/>
                <a:gd name="T78" fmla="*/ 29 w 193"/>
                <a:gd name="T79" fmla="*/ 165 h 223"/>
                <a:gd name="T80" fmla="*/ 23 w 193"/>
                <a:gd name="T81" fmla="*/ 160 h 223"/>
                <a:gd name="T82" fmla="*/ 19 w 193"/>
                <a:gd name="T83" fmla="*/ 152 h 223"/>
                <a:gd name="T84" fmla="*/ 14 w 193"/>
                <a:gd name="T85" fmla="*/ 139 h 223"/>
                <a:gd name="T86" fmla="*/ 11 w 193"/>
                <a:gd name="T87" fmla="*/ 132 h 223"/>
                <a:gd name="T88" fmla="*/ 6 w 193"/>
                <a:gd name="T89" fmla="*/ 124 h 223"/>
                <a:gd name="T90" fmla="*/ 6 w 193"/>
                <a:gd name="T91" fmla="*/ 116 h 223"/>
                <a:gd name="T92" fmla="*/ 0 w 193"/>
                <a:gd name="T93" fmla="*/ 112 h 223"/>
                <a:gd name="T94" fmla="*/ 3 w 193"/>
                <a:gd name="T95" fmla="*/ 99 h 223"/>
                <a:gd name="T96" fmla="*/ 7 w 193"/>
                <a:gd name="T97" fmla="*/ 91 h 223"/>
                <a:gd name="T98" fmla="*/ 12 w 193"/>
                <a:gd name="T99" fmla="*/ 79 h 223"/>
                <a:gd name="T100" fmla="*/ 23 w 193"/>
                <a:gd name="T101" fmla="*/ 76 h 223"/>
                <a:gd name="T102" fmla="*/ 33 w 193"/>
                <a:gd name="T103" fmla="*/ 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3" h="223">
                  <a:moveTo>
                    <a:pt x="33" y="1"/>
                  </a:moveTo>
                  <a:lnTo>
                    <a:pt x="173" y="0"/>
                  </a:lnTo>
                  <a:lnTo>
                    <a:pt x="173" y="1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73" y="4"/>
                  </a:lnTo>
                  <a:lnTo>
                    <a:pt x="173" y="4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4" y="10"/>
                  </a:lnTo>
                  <a:lnTo>
                    <a:pt x="177" y="12"/>
                  </a:lnTo>
                  <a:lnTo>
                    <a:pt x="177" y="12"/>
                  </a:lnTo>
                  <a:lnTo>
                    <a:pt x="176" y="12"/>
                  </a:lnTo>
                  <a:lnTo>
                    <a:pt x="176" y="12"/>
                  </a:lnTo>
                  <a:lnTo>
                    <a:pt x="174" y="11"/>
                  </a:lnTo>
                  <a:lnTo>
                    <a:pt x="174" y="11"/>
                  </a:lnTo>
                  <a:lnTo>
                    <a:pt x="174" y="14"/>
                  </a:lnTo>
                  <a:lnTo>
                    <a:pt x="177" y="22"/>
                  </a:lnTo>
                  <a:lnTo>
                    <a:pt x="178" y="26"/>
                  </a:lnTo>
                  <a:lnTo>
                    <a:pt x="177" y="31"/>
                  </a:lnTo>
                  <a:lnTo>
                    <a:pt x="178" y="35"/>
                  </a:lnTo>
                  <a:lnTo>
                    <a:pt x="181" y="39"/>
                  </a:lnTo>
                  <a:lnTo>
                    <a:pt x="182" y="41"/>
                  </a:lnTo>
                  <a:lnTo>
                    <a:pt x="188" y="44"/>
                  </a:lnTo>
                  <a:lnTo>
                    <a:pt x="188" y="46"/>
                  </a:lnTo>
                  <a:lnTo>
                    <a:pt x="191" y="46"/>
                  </a:lnTo>
                  <a:lnTo>
                    <a:pt x="193" y="48"/>
                  </a:lnTo>
                  <a:lnTo>
                    <a:pt x="193" y="49"/>
                  </a:lnTo>
                  <a:lnTo>
                    <a:pt x="193" y="49"/>
                  </a:lnTo>
                  <a:lnTo>
                    <a:pt x="192" y="52"/>
                  </a:lnTo>
                  <a:lnTo>
                    <a:pt x="191" y="52"/>
                  </a:lnTo>
                  <a:lnTo>
                    <a:pt x="188" y="53"/>
                  </a:lnTo>
                  <a:lnTo>
                    <a:pt x="188" y="54"/>
                  </a:lnTo>
                  <a:lnTo>
                    <a:pt x="185" y="54"/>
                  </a:lnTo>
                  <a:lnTo>
                    <a:pt x="184" y="56"/>
                  </a:lnTo>
                  <a:lnTo>
                    <a:pt x="181" y="56"/>
                  </a:lnTo>
                  <a:lnTo>
                    <a:pt x="181" y="57"/>
                  </a:lnTo>
                  <a:lnTo>
                    <a:pt x="181" y="58"/>
                  </a:lnTo>
                  <a:lnTo>
                    <a:pt x="181" y="60"/>
                  </a:lnTo>
                  <a:lnTo>
                    <a:pt x="178" y="60"/>
                  </a:lnTo>
                  <a:lnTo>
                    <a:pt x="177" y="60"/>
                  </a:lnTo>
                  <a:lnTo>
                    <a:pt x="177" y="63"/>
                  </a:lnTo>
                  <a:lnTo>
                    <a:pt x="176" y="65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77" y="68"/>
                  </a:lnTo>
                  <a:lnTo>
                    <a:pt x="176" y="72"/>
                  </a:lnTo>
                  <a:lnTo>
                    <a:pt x="174" y="78"/>
                  </a:lnTo>
                  <a:lnTo>
                    <a:pt x="173" y="80"/>
                  </a:lnTo>
                  <a:lnTo>
                    <a:pt x="173" y="83"/>
                  </a:lnTo>
                  <a:lnTo>
                    <a:pt x="172" y="84"/>
                  </a:lnTo>
                  <a:lnTo>
                    <a:pt x="172" y="87"/>
                  </a:lnTo>
                  <a:lnTo>
                    <a:pt x="173" y="91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5"/>
                  </a:lnTo>
                  <a:lnTo>
                    <a:pt x="172" y="99"/>
                  </a:lnTo>
                  <a:lnTo>
                    <a:pt x="172" y="102"/>
                  </a:lnTo>
                  <a:lnTo>
                    <a:pt x="169" y="107"/>
                  </a:lnTo>
                  <a:lnTo>
                    <a:pt x="167" y="112"/>
                  </a:lnTo>
                  <a:lnTo>
                    <a:pt x="166" y="112"/>
                  </a:lnTo>
                  <a:lnTo>
                    <a:pt x="163" y="112"/>
                  </a:lnTo>
                  <a:lnTo>
                    <a:pt x="163" y="114"/>
                  </a:lnTo>
                  <a:lnTo>
                    <a:pt x="161" y="118"/>
                  </a:lnTo>
                  <a:lnTo>
                    <a:pt x="161" y="121"/>
                  </a:lnTo>
                  <a:lnTo>
                    <a:pt x="157" y="122"/>
                  </a:lnTo>
                  <a:lnTo>
                    <a:pt x="155" y="126"/>
                  </a:lnTo>
                  <a:lnTo>
                    <a:pt x="154" y="136"/>
                  </a:lnTo>
                  <a:lnTo>
                    <a:pt x="153" y="135"/>
                  </a:lnTo>
                  <a:lnTo>
                    <a:pt x="151" y="135"/>
                  </a:lnTo>
                  <a:lnTo>
                    <a:pt x="151" y="137"/>
                  </a:lnTo>
                  <a:lnTo>
                    <a:pt x="148" y="140"/>
                  </a:lnTo>
                  <a:lnTo>
                    <a:pt x="147" y="143"/>
                  </a:lnTo>
                  <a:lnTo>
                    <a:pt x="148" y="144"/>
                  </a:lnTo>
                  <a:lnTo>
                    <a:pt x="148" y="145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46" y="156"/>
                  </a:lnTo>
                  <a:lnTo>
                    <a:pt x="146" y="162"/>
                  </a:lnTo>
                  <a:lnTo>
                    <a:pt x="144" y="163"/>
                  </a:lnTo>
                  <a:lnTo>
                    <a:pt x="143" y="165"/>
                  </a:lnTo>
                  <a:lnTo>
                    <a:pt x="142" y="165"/>
                  </a:lnTo>
                  <a:lnTo>
                    <a:pt x="140" y="163"/>
                  </a:lnTo>
                  <a:lnTo>
                    <a:pt x="138" y="165"/>
                  </a:lnTo>
                  <a:lnTo>
                    <a:pt x="136" y="163"/>
                  </a:lnTo>
                  <a:lnTo>
                    <a:pt x="135" y="166"/>
                  </a:lnTo>
                  <a:lnTo>
                    <a:pt x="135" y="167"/>
                  </a:lnTo>
                  <a:lnTo>
                    <a:pt x="132" y="170"/>
                  </a:lnTo>
                  <a:lnTo>
                    <a:pt x="133" y="171"/>
                  </a:lnTo>
                  <a:lnTo>
                    <a:pt x="135" y="171"/>
                  </a:lnTo>
                  <a:lnTo>
                    <a:pt x="140" y="171"/>
                  </a:lnTo>
                  <a:lnTo>
                    <a:pt x="142" y="173"/>
                  </a:lnTo>
                  <a:lnTo>
                    <a:pt x="143" y="175"/>
                  </a:lnTo>
                  <a:lnTo>
                    <a:pt x="144" y="177"/>
                  </a:lnTo>
                  <a:lnTo>
                    <a:pt x="144" y="178"/>
                  </a:lnTo>
                  <a:lnTo>
                    <a:pt x="147" y="182"/>
                  </a:lnTo>
                  <a:lnTo>
                    <a:pt x="150" y="182"/>
                  </a:lnTo>
                  <a:lnTo>
                    <a:pt x="148" y="184"/>
                  </a:lnTo>
                  <a:lnTo>
                    <a:pt x="150" y="185"/>
                  </a:lnTo>
                  <a:lnTo>
                    <a:pt x="153" y="185"/>
                  </a:lnTo>
                  <a:lnTo>
                    <a:pt x="154" y="186"/>
                  </a:lnTo>
                  <a:lnTo>
                    <a:pt x="155" y="188"/>
                  </a:lnTo>
                  <a:lnTo>
                    <a:pt x="157" y="190"/>
                  </a:lnTo>
                  <a:lnTo>
                    <a:pt x="157" y="194"/>
                  </a:lnTo>
                  <a:lnTo>
                    <a:pt x="158" y="196"/>
                  </a:lnTo>
                  <a:lnTo>
                    <a:pt x="159" y="200"/>
                  </a:lnTo>
                  <a:lnTo>
                    <a:pt x="155" y="204"/>
                  </a:lnTo>
                  <a:lnTo>
                    <a:pt x="153" y="208"/>
                  </a:lnTo>
                  <a:lnTo>
                    <a:pt x="151" y="208"/>
                  </a:lnTo>
                  <a:lnTo>
                    <a:pt x="148" y="211"/>
                  </a:lnTo>
                  <a:lnTo>
                    <a:pt x="147" y="212"/>
                  </a:lnTo>
                  <a:lnTo>
                    <a:pt x="147" y="212"/>
                  </a:lnTo>
                  <a:lnTo>
                    <a:pt x="146" y="213"/>
                  </a:lnTo>
                  <a:lnTo>
                    <a:pt x="146" y="213"/>
                  </a:lnTo>
                  <a:lnTo>
                    <a:pt x="143" y="216"/>
                  </a:lnTo>
                  <a:lnTo>
                    <a:pt x="142" y="218"/>
                  </a:lnTo>
                  <a:lnTo>
                    <a:pt x="139" y="219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29" y="220"/>
                  </a:lnTo>
                  <a:lnTo>
                    <a:pt x="127" y="220"/>
                  </a:lnTo>
                  <a:lnTo>
                    <a:pt x="127" y="220"/>
                  </a:lnTo>
                  <a:lnTo>
                    <a:pt x="125" y="220"/>
                  </a:lnTo>
                  <a:lnTo>
                    <a:pt x="124" y="222"/>
                  </a:lnTo>
                  <a:lnTo>
                    <a:pt x="124" y="223"/>
                  </a:lnTo>
                  <a:lnTo>
                    <a:pt x="123" y="223"/>
                  </a:lnTo>
                  <a:lnTo>
                    <a:pt x="120" y="222"/>
                  </a:lnTo>
                  <a:lnTo>
                    <a:pt x="120" y="220"/>
                  </a:lnTo>
                  <a:lnTo>
                    <a:pt x="117" y="220"/>
                  </a:lnTo>
                  <a:lnTo>
                    <a:pt x="116" y="220"/>
                  </a:lnTo>
                  <a:lnTo>
                    <a:pt x="112" y="219"/>
                  </a:lnTo>
                  <a:lnTo>
                    <a:pt x="110" y="219"/>
                  </a:lnTo>
                  <a:lnTo>
                    <a:pt x="109" y="220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3"/>
                  </a:lnTo>
                  <a:lnTo>
                    <a:pt x="108" y="222"/>
                  </a:lnTo>
                  <a:lnTo>
                    <a:pt x="105" y="222"/>
                  </a:lnTo>
                  <a:lnTo>
                    <a:pt x="105" y="222"/>
                  </a:lnTo>
                  <a:lnTo>
                    <a:pt x="105" y="220"/>
                  </a:lnTo>
                  <a:lnTo>
                    <a:pt x="104" y="219"/>
                  </a:lnTo>
                  <a:lnTo>
                    <a:pt x="104" y="219"/>
                  </a:lnTo>
                  <a:lnTo>
                    <a:pt x="102" y="216"/>
                  </a:lnTo>
                  <a:lnTo>
                    <a:pt x="101" y="215"/>
                  </a:lnTo>
                  <a:lnTo>
                    <a:pt x="98" y="215"/>
                  </a:lnTo>
                  <a:lnTo>
                    <a:pt x="97" y="213"/>
                  </a:lnTo>
                  <a:lnTo>
                    <a:pt x="95" y="212"/>
                  </a:lnTo>
                  <a:lnTo>
                    <a:pt x="94" y="208"/>
                  </a:lnTo>
                  <a:lnTo>
                    <a:pt x="94" y="208"/>
                  </a:lnTo>
                  <a:lnTo>
                    <a:pt x="91" y="208"/>
                  </a:lnTo>
                  <a:lnTo>
                    <a:pt x="90" y="209"/>
                  </a:lnTo>
                  <a:lnTo>
                    <a:pt x="89" y="211"/>
                  </a:lnTo>
                  <a:lnTo>
                    <a:pt x="86" y="212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3" y="211"/>
                  </a:lnTo>
                  <a:lnTo>
                    <a:pt x="80" y="211"/>
                  </a:lnTo>
                  <a:lnTo>
                    <a:pt x="79" y="212"/>
                  </a:lnTo>
                  <a:lnTo>
                    <a:pt x="78" y="213"/>
                  </a:lnTo>
                  <a:lnTo>
                    <a:pt x="76" y="213"/>
                  </a:lnTo>
                  <a:lnTo>
                    <a:pt x="75" y="212"/>
                  </a:lnTo>
                  <a:lnTo>
                    <a:pt x="72" y="211"/>
                  </a:lnTo>
                  <a:lnTo>
                    <a:pt x="71" y="209"/>
                  </a:lnTo>
                  <a:lnTo>
                    <a:pt x="70" y="208"/>
                  </a:lnTo>
                  <a:lnTo>
                    <a:pt x="68" y="207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4"/>
                  </a:lnTo>
                  <a:lnTo>
                    <a:pt x="64" y="203"/>
                  </a:lnTo>
                  <a:lnTo>
                    <a:pt x="63" y="201"/>
                  </a:lnTo>
                  <a:lnTo>
                    <a:pt x="63" y="197"/>
                  </a:lnTo>
                  <a:lnTo>
                    <a:pt x="63" y="196"/>
                  </a:lnTo>
                  <a:lnTo>
                    <a:pt x="61" y="194"/>
                  </a:lnTo>
                  <a:lnTo>
                    <a:pt x="57" y="194"/>
                  </a:lnTo>
                  <a:lnTo>
                    <a:pt x="56" y="193"/>
                  </a:lnTo>
                  <a:lnTo>
                    <a:pt x="56" y="190"/>
                  </a:lnTo>
                  <a:lnTo>
                    <a:pt x="56" y="189"/>
                  </a:lnTo>
                  <a:lnTo>
                    <a:pt x="53" y="189"/>
                  </a:lnTo>
                  <a:lnTo>
                    <a:pt x="52" y="188"/>
                  </a:lnTo>
                  <a:lnTo>
                    <a:pt x="52" y="184"/>
                  </a:lnTo>
                  <a:lnTo>
                    <a:pt x="51" y="182"/>
                  </a:lnTo>
                  <a:lnTo>
                    <a:pt x="48" y="181"/>
                  </a:lnTo>
                  <a:lnTo>
                    <a:pt x="46" y="181"/>
                  </a:lnTo>
                  <a:lnTo>
                    <a:pt x="45" y="179"/>
                  </a:lnTo>
                  <a:lnTo>
                    <a:pt x="44" y="179"/>
                  </a:lnTo>
                  <a:lnTo>
                    <a:pt x="41" y="179"/>
                  </a:lnTo>
                  <a:lnTo>
                    <a:pt x="40" y="178"/>
                  </a:lnTo>
                  <a:lnTo>
                    <a:pt x="40" y="177"/>
                  </a:lnTo>
                  <a:lnTo>
                    <a:pt x="41" y="175"/>
                  </a:lnTo>
                  <a:lnTo>
                    <a:pt x="42" y="174"/>
                  </a:lnTo>
                  <a:lnTo>
                    <a:pt x="42" y="173"/>
                  </a:lnTo>
                  <a:lnTo>
                    <a:pt x="41" y="171"/>
                  </a:lnTo>
                  <a:lnTo>
                    <a:pt x="40" y="171"/>
                  </a:lnTo>
                  <a:lnTo>
                    <a:pt x="37" y="170"/>
                  </a:lnTo>
                  <a:lnTo>
                    <a:pt x="37" y="169"/>
                  </a:lnTo>
                  <a:lnTo>
                    <a:pt x="34" y="167"/>
                  </a:lnTo>
                  <a:lnTo>
                    <a:pt x="33" y="167"/>
                  </a:lnTo>
                  <a:lnTo>
                    <a:pt x="30" y="166"/>
                  </a:lnTo>
                  <a:lnTo>
                    <a:pt x="29" y="165"/>
                  </a:lnTo>
                  <a:lnTo>
                    <a:pt x="27" y="162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21" y="160"/>
                  </a:lnTo>
                  <a:lnTo>
                    <a:pt x="18" y="159"/>
                  </a:lnTo>
                  <a:lnTo>
                    <a:pt x="18" y="156"/>
                  </a:lnTo>
                  <a:lnTo>
                    <a:pt x="19" y="154"/>
                  </a:lnTo>
                  <a:lnTo>
                    <a:pt x="19" y="152"/>
                  </a:lnTo>
                  <a:lnTo>
                    <a:pt x="21" y="150"/>
                  </a:lnTo>
                  <a:lnTo>
                    <a:pt x="19" y="148"/>
                  </a:lnTo>
                  <a:lnTo>
                    <a:pt x="18" y="144"/>
                  </a:lnTo>
                  <a:lnTo>
                    <a:pt x="15" y="140"/>
                  </a:lnTo>
                  <a:lnTo>
                    <a:pt x="14" y="139"/>
                  </a:lnTo>
                  <a:lnTo>
                    <a:pt x="11" y="136"/>
                  </a:lnTo>
                  <a:lnTo>
                    <a:pt x="12" y="136"/>
                  </a:lnTo>
                  <a:lnTo>
                    <a:pt x="12" y="135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1" y="131"/>
                  </a:lnTo>
                  <a:lnTo>
                    <a:pt x="12" y="129"/>
                  </a:lnTo>
                  <a:lnTo>
                    <a:pt x="11" y="126"/>
                  </a:lnTo>
                  <a:lnTo>
                    <a:pt x="7" y="126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6" y="118"/>
                  </a:lnTo>
                  <a:lnTo>
                    <a:pt x="6" y="117"/>
                  </a:lnTo>
                  <a:lnTo>
                    <a:pt x="4" y="116"/>
                  </a:lnTo>
                  <a:lnTo>
                    <a:pt x="6" y="116"/>
                  </a:lnTo>
                  <a:lnTo>
                    <a:pt x="6" y="113"/>
                  </a:lnTo>
                  <a:lnTo>
                    <a:pt x="4" y="113"/>
                  </a:lnTo>
                  <a:lnTo>
                    <a:pt x="2" y="116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4" y="107"/>
                  </a:lnTo>
                  <a:lnTo>
                    <a:pt x="4" y="105"/>
                  </a:lnTo>
                  <a:lnTo>
                    <a:pt x="4" y="102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6" y="98"/>
                  </a:lnTo>
                  <a:lnTo>
                    <a:pt x="7" y="97"/>
                  </a:lnTo>
                  <a:lnTo>
                    <a:pt x="6" y="95"/>
                  </a:lnTo>
                  <a:lnTo>
                    <a:pt x="6" y="92"/>
                  </a:lnTo>
                  <a:lnTo>
                    <a:pt x="7" y="91"/>
                  </a:lnTo>
                  <a:lnTo>
                    <a:pt x="8" y="91"/>
                  </a:lnTo>
                  <a:lnTo>
                    <a:pt x="12" y="86"/>
                  </a:lnTo>
                  <a:lnTo>
                    <a:pt x="14" y="83"/>
                  </a:lnTo>
                  <a:lnTo>
                    <a:pt x="12" y="82"/>
                  </a:lnTo>
                  <a:lnTo>
                    <a:pt x="12" y="79"/>
                  </a:lnTo>
                  <a:lnTo>
                    <a:pt x="14" y="78"/>
                  </a:lnTo>
                  <a:lnTo>
                    <a:pt x="18" y="78"/>
                  </a:lnTo>
                  <a:lnTo>
                    <a:pt x="19" y="79"/>
                  </a:lnTo>
                  <a:lnTo>
                    <a:pt x="22" y="78"/>
                  </a:lnTo>
                  <a:lnTo>
                    <a:pt x="23" y="76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6"/>
                  </a:lnTo>
                  <a:lnTo>
                    <a:pt x="34" y="25"/>
                  </a:lnTo>
                  <a:lnTo>
                    <a:pt x="33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8" name="Freeform 88"/>
            <p:cNvSpPr>
              <a:spLocks/>
            </p:cNvSpPr>
            <p:nvPr/>
          </p:nvSpPr>
          <p:spPr bwMode="auto">
            <a:xfrm>
              <a:off x="2356" y="1824"/>
              <a:ext cx="180" cy="136"/>
            </a:xfrm>
            <a:custGeom>
              <a:avLst/>
              <a:gdLst>
                <a:gd name="T0" fmla="*/ 25 w 180"/>
                <a:gd name="T1" fmla="*/ 107 h 136"/>
                <a:gd name="T2" fmla="*/ 22 w 180"/>
                <a:gd name="T3" fmla="*/ 99 h 136"/>
                <a:gd name="T4" fmla="*/ 16 w 180"/>
                <a:gd name="T5" fmla="*/ 97 h 136"/>
                <a:gd name="T6" fmla="*/ 12 w 180"/>
                <a:gd name="T7" fmla="*/ 91 h 136"/>
                <a:gd name="T8" fmla="*/ 10 w 180"/>
                <a:gd name="T9" fmla="*/ 86 h 136"/>
                <a:gd name="T10" fmla="*/ 1 w 180"/>
                <a:gd name="T11" fmla="*/ 84 h 136"/>
                <a:gd name="T12" fmla="*/ 3 w 180"/>
                <a:gd name="T13" fmla="*/ 79 h 136"/>
                <a:gd name="T14" fmla="*/ 8 w 180"/>
                <a:gd name="T15" fmla="*/ 76 h 136"/>
                <a:gd name="T16" fmla="*/ 12 w 180"/>
                <a:gd name="T17" fmla="*/ 76 h 136"/>
                <a:gd name="T18" fmla="*/ 14 w 180"/>
                <a:gd name="T19" fmla="*/ 65 h 136"/>
                <a:gd name="T20" fmla="*/ 16 w 180"/>
                <a:gd name="T21" fmla="*/ 57 h 136"/>
                <a:gd name="T22" fmla="*/ 19 w 180"/>
                <a:gd name="T23" fmla="*/ 50 h 136"/>
                <a:gd name="T24" fmla="*/ 22 w 180"/>
                <a:gd name="T25" fmla="*/ 49 h 136"/>
                <a:gd name="T26" fmla="*/ 29 w 180"/>
                <a:gd name="T27" fmla="*/ 34 h 136"/>
                <a:gd name="T28" fmla="*/ 31 w 180"/>
                <a:gd name="T29" fmla="*/ 25 h 136"/>
                <a:gd name="T30" fmla="*/ 37 w 180"/>
                <a:gd name="T31" fmla="*/ 20 h 136"/>
                <a:gd name="T32" fmla="*/ 41 w 180"/>
                <a:gd name="T33" fmla="*/ 8 h 136"/>
                <a:gd name="T34" fmla="*/ 45 w 180"/>
                <a:gd name="T35" fmla="*/ 8 h 136"/>
                <a:gd name="T36" fmla="*/ 52 w 180"/>
                <a:gd name="T37" fmla="*/ 0 h 136"/>
                <a:gd name="T38" fmla="*/ 57 w 180"/>
                <a:gd name="T39" fmla="*/ 4 h 136"/>
                <a:gd name="T40" fmla="*/ 64 w 180"/>
                <a:gd name="T41" fmla="*/ 1 h 136"/>
                <a:gd name="T42" fmla="*/ 69 w 180"/>
                <a:gd name="T43" fmla="*/ 1 h 136"/>
                <a:gd name="T44" fmla="*/ 75 w 180"/>
                <a:gd name="T45" fmla="*/ 4 h 136"/>
                <a:gd name="T46" fmla="*/ 82 w 180"/>
                <a:gd name="T47" fmla="*/ 7 h 136"/>
                <a:gd name="T48" fmla="*/ 90 w 180"/>
                <a:gd name="T49" fmla="*/ 12 h 136"/>
                <a:gd name="T50" fmla="*/ 93 w 180"/>
                <a:gd name="T51" fmla="*/ 15 h 136"/>
                <a:gd name="T52" fmla="*/ 101 w 180"/>
                <a:gd name="T53" fmla="*/ 20 h 136"/>
                <a:gd name="T54" fmla="*/ 105 w 180"/>
                <a:gd name="T55" fmla="*/ 27 h 136"/>
                <a:gd name="T56" fmla="*/ 108 w 180"/>
                <a:gd name="T57" fmla="*/ 33 h 136"/>
                <a:gd name="T58" fmla="*/ 106 w 180"/>
                <a:gd name="T59" fmla="*/ 39 h 136"/>
                <a:gd name="T60" fmla="*/ 102 w 180"/>
                <a:gd name="T61" fmla="*/ 48 h 136"/>
                <a:gd name="T62" fmla="*/ 112 w 180"/>
                <a:gd name="T63" fmla="*/ 46 h 136"/>
                <a:gd name="T64" fmla="*/ 116 w 180"/>
                <a:gd name="T65" fmla="*/ 49 h 136"/>
                <a:gd name="T66" fmla="*/ 121 w 180"/>
                <a:gd name="T67" fmla="*/ 61 h 136"/>
                <a:gd name="T68" fmla="*/ 127 w 180"/>
                <a:gd name="T69" fmla="*/ 68 h 136"/>
                <a:gd name="T70" fmla="*/ 180 w 180"/>
                <a:gd name="T71" fmla="*/ 82 h 136"/>
                <a:gd name="T72" fmla="*/ 128 w 180"/>
                <a:gd name="T73" fmla="*/ 118 h 136"/>
                <a:gd name="T74" fmla="*/ 121 w 180"/>
                <a:gd name="T75" fmla="*/ 121 h 136"/>
                <a:gd name="T76" fmla="*/ 114 w 180"/>
                <a:gd name="T77" fmla="*/ 126 h 136"/>
                <a:gd name="T78" fmla="*/ 106 w 180"/>
                <a:gd name="T79" fmla="*/ 131 h 136"/>
                <a:gd name="T80" fmla="*/ 99 w 180"/>
                <a:gd name="T81" fmla="*/ 131 h 136"/>
                <a:gd name="T82" fmla="*/ 94 w 180"/>
                <a:gd name="T83" fmla="*/ 126 h 136"/>
                <a:gd name="T84" fmla="*/ 86 w 180"/>
                <a:gd name="T85" fmla="*/ 128 h 136"/>
                <a:gd name="T86" fmla="*/ 79 w 180"/>
                <a:gd name="T87" fmla="*/ 135 h 136"/>
                <a:gd name="T88" fmla="*/ 72 w 180"/>
                <a:gd name="T89" fmla="*/ 135 h 136"/>
                <a:gd name="T90" fmla="*/ 63 w 180"/>
                <a:gd name="T91" fmla="*/ 135 h 136"/>
                <a:gd name="T92" fmla="*/ 56 w 180"/>
                <a:gd name="T93" fmla="*/ 129 h 136"/>
                <a:gd name="T94" fmla="*/ 44 w 180"/>
                <a:gd name="T95" fmla="*/ 124 h 136"/>
                <a:gd name="T96" fmla="*/ 35 w 180"/>
                <a:gd name="T97" fmla="*/ 124 h 136"/>
                <a:gd name="T98" fmla="*/ 31 w 180"/>
                <a:gd name="T99" fmla="*/ 114 h 136"/>
                <a:gd name="T100" fmla="*/ 27 w 180"/>
                <a:gd name="T101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0" h="136">
                  <a:moveTo>
                    <a:pt x="27" y="113"/>
                  </a:moveTo>
                  <a:lnTo>
                    <a:pt x="26" y="109"/>
                  </a:lnTo>
                  <a:lnTo>
                    <a:pt x="25" y="107"/>
                  </a:lnTo>
                  <a:lnTo>
                    <a:pt x="25" y="103"/>
                  </a:lnTo>
                  <a:lnTo>
                    <a:pt x="23" y="101"/>
                  </a:lnTo>
                  <a:lnTo>
                    <a:pt x="22" y="99"/>
                  </a:lnTo>
                  <a:lnTo>
                    <a:pt x="21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8" y="95"/>
                  </a:lnTo>
                  <a:lnTo>
                    <a:pt x="15" y="95"/>
                  </a:lnTo>
                  <a:lnTo>
                    <a:pt x="12" y="91"/>
                  </a:lnTo>
                  <a:lnTo>
                    <a:pt x="12" y="90"/>
                  </a:lnTo>
                  <a:lnTo>
                    <a:pt x="11" y="88"/>
                  </a:lnTo>
                  <a:lnTo>
                    <a:pt x="10" y="86"/>
                  </a:lnTo>
                  <a:lnTo>
                    <a:pt x="8" y="84"/>
                  </a:lnTo>
                  <a:lnTo>
                    <a:pt x="3" y="84"/>
                  </a:lnTo>
                  <a:lnTo>
                    <a:pt x="1" y="84"/>
                  </a:lnTo>
                  <a:lnTo>
                    <a:pt x="0" y="83"/>
                  </a:lnTo>
                  <a:lnTo>
                    <a:pt x="3" y="80"/>
                  </a:lnTo>
                  <a:lnTo>
                    <a:pt x="3" y="79"/>
                  </a:lnTo>
                  <a:lnTo>
                    <a:pt x="4" y="76"/>
                  </a:lnTo>
                  <a:lnTo>
                    <a:pt x="6" y="78"/>
                  </a:lnTo>
                  <a:lnTo>
                    <a:pt x="8" y="76"/>
                  </a:lnTo>
                  <a:lnTo>
                    <a:pt x="10" y="78"/>
                  </a:lnTo>
                  <a:lnTo>
                    <a:pt x="11" y="78"/>
                  </a:lnTo>
                  <a:lnTo>
                    <a:pt x="12" y="76"/>
                  </a:lnTo>
                  <a:lnTo>
                    <a:pt x="14" y="75"/>
                  </a:lnTo>
                  <a:lnTo>
                    <a:pt x="14" y="69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5" y="56"/>
                  </a:lnTo>
                  <a:lnTo>
                    <a:pt x="16" y="53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2" y="49"/>
                  </a:lnTo>
                  <a:lnTo>
                    <a:pt x="23" y="39"/>
                  </a:lnTo>
                  <a:lnTo>
                    <a:pt x="25" y="35"/>
                  </a:lnTo>
                  <a:lnTo>
                    <a:pt x="29" y="34"/>
                  </a:lnTo>
                  <a:lnTo>
                    <a:pt x="29" y="31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7" y="20"/>
                  </a:lnTo>
                  <a:lnTo>
                    <a:pt x="40" y="15"/>
                  </a:lnTo>
                  <a:lnTo>
                    <a:pt x="40" y="12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2" y="8"/>
                  </a:lnTo>
                  <a:lnTo>
                    <a:pt x="45" y="8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7" y="4"/>
                  </a:lnTo>
                  <a:lnTo>
                    <a:pt x="60" y="4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7" y="3"/>
                  </a:lnTo>
                  <a:lnTo>
                    <a:pt x="67" y="1"/>
                  </a:lnTo>
                  <a:lnTo>
                    <a:pt x="69" y="1"/>
                  </a:lnTo>
                  <a:lnTo>
                    <a:pt x="72" y="5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8" y="4"/>
                  </a:lnTo>
                  <a:lnTo>
                    <a:pt x="79" y="7"/>
                  </a:lnTo>
                  <a:lnTo>
                    <a:pt x="82" y="7"/>
                  </a:lnTo>
                  <a:lnTo>
                    <a:pt x="86" y="11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0" y="14"/>
                  </a:lnTo>
                  <a:lnTo>
                    <a:pt x="93" y="14"/>
                  </a:lnTo>
                  <a:lnTo>
                    <a:pt x="93" y="15"/>
                  </a:lnTo>
                  <a:lnTo>
                    <a:pt x="95" y="16"/>
                  </a:lnTo>
                  <a:lnTo>
                    <a:pt x="99" y="20"/>
                  </a:lnTo>
                  <a:lnTo>
                    <a:pt x="101" y="20"/>
                  </a:lnTo>
                  <a:lnTo>
                    <a:pt x="103" y="23"/>
                  </a:lnTo>
                  <a:lnTo>
                    <a:pt x="103" y="26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9" y="31"/>
                  </a:lnTo>
                  <a:lnTo>
                    <a:pt x="108" y="33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106" y="39"/>
                  </a:lnTo>
                  <a:lnTo>
                    <a:pt x="105" y="42"/>
                  </a:lnTo>
                  <a:lnTo>
                    <a:pt x="105" y="45"/>
                  </a:lnTo>
                  <a:lnTo>
                    <a:pt x="102" y="48"/>
                  </a:lnTo>
                  <a:lnTo>
                    <a:pt x="103" y="49"/>
                  </a:lnTo>
                  <a:lnTo>
                    <a:pt x="109" y="48"/>
                  </a:lnTo>
                  <a:lnTo>
                    <a:pt x="112" y="46"/>
                  </a:lnTo>
                  <a:lnTo>
                    <a:pt x="114" y="46"/>
                  </a:lnTo>
                  <a:lnTo>
                    <a:pt x="116" y="48"/>
                  </a:lnTo>
                  <a:lnTo>
                    <a:pt x="116" y="49"/>
                  </a:lnTo>
                  <a:lnTo>
                    <a:pt x="116" y="53"/>
                  </a:lnTo>
                  <a:lnTo>
                    <a:pt x="118" y="58"/>
                  </a:lnTo>
                  <a:lnTo>
                    <a:pt x="121" y="61"/>
                  </a:lnTo>
                  <a:lnTo>
                    <a:pt x="121" y="64"/>
                  </a:lnTo>
                  <a:lnTo>
                    <a:pt x="122" y="68"/>
                  </a:lnTo>
                  <a:lnTo>
                    <a:pt x="127" y="68"/>
                  </a:lnTo>
                  <a:lnTo>
                    <a:pt x="129" y="71"/>
                  </a:lnTo>
                  <a:lnTo>
                    <a:pt x="165" y="82"/>
                  </a:lnTo>
                  <a:lnTo>
                    <a:pt x="180" y="82"/>
                  </a:lnTo>
                  <a:lnTo>
                    <a:pt x="143" y="118"/>
                  </a:lnTo>
                  <a:lnTo>
                    <a:pt x="136" y="117"/>
                  </a:lnTo>
                  <a:lnTo>
                    <a:pt x="128" y="118"/>
                  </a:lnTo>
                  <a:lnTo>
                    <a:pt x="127" y="120"/>
                  </a:lnTo>
                  <a:lnTo>
                    <a:pt x="124" y="120"/>
                  </a:lnTo>
                  <a:lnTo>
                    <a:pt x="121" y="121"/>
                  </a:lnTo>
                  <a:lnTo>
                    <a:pt x="120" y="124"/>
                  </a:lnTo>
                  <a:lnTo>
                    <a:pt x="118" y="125"/>
                  </a:lnTo>
                  <a:lnTo>
                    <a:pt x="114" y="126"/>
                  </a:lnTo>
                  <a:lnTo>
                    <a:pt x="112" y="126"/>
                  </a:lnTo>
                  <a:lnTo>
                    <a:pt x="108" y="129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7" y="131"/>
                  </a:lnTo>
                  <a:lnTo>
                    <a:pt x="95" y="128"/>
                  </a:lnTo>
                  <a:lnTo>
                    <a:pt x="94" y="126"/>
                  </a:lnTo>
                  <a:lnTo>
                    <a:pt x="89" y="128"/>
                  </a:lnTo>
                  <a:lnTo>
                    <a:pt x="87" y="128"/>
                  </a:lnTo>
                  <a:lnTo>
                    <a:pt x="86" y="128"/>
                  </a:lnTo>
                  <a:lnTo>
                    <a:pt x="83" y="129"/>
                  </a:lnTo>
                  <a:lnTo>
                    <a:pt x="82" y="131"/>
                  </a:lnTo>
                  <a:lnTo>
                    <a:pt x="79" y="135"/>
                  </a:lnTo>
                  <a:lnTo>
                    <a:pt x="76" y="136"/>
                  </a:lnTo>
                  <a:lnTo>
                    <a:pt x="75" y="136"/>
                  </a:lnTo>
                  <a:lnTo>
                    <a:pt x="72" y="135"/>
                  </a:lnTo>
                  <a:lnTo>
                    <a:pt x="69" y="135"/>
                  </a:lnTo>
                  <a:lnTo>
                    <a:pt x="67" y="135"/>
                  </a:lnTo>
                  <a:lnTo>
                    <a:pt x="63" y="135"/>
                  </a:lnTo>
                  <a:lnTo>
                    <a:pt x="61" y="133"/>
                  </a:lnTo>
                  <a:lnTo>
                    <a:pt x="59" y="131"/>
                  </a:lnTo>
                  <a:lnTo>
                    <a:pt x="56" y="129"/>
                  </a:lnTo>
                  <a:lnTo>
                    <a:pt x="50" y="125"/>
                  </a:lnTo>
                  <a:lnTo>
                    <a:pt x="49" y="124"/>
                  </a:lnTo>
                  <a:lnTo>
                    <a:pt x="44" y="124"/>
                  </a:lnTo>
                  <a:lnTo>
                    <a:pt x="40" y="122"/>
                  </a:lnTo>
                  <a:lnTo>
                    <a:pt x="37" y="124"/>
                  </a:lnTo>
                  <a:lnTo>
                    <a:pt x="35" y="124"/>
                  </a:lnTo>
                  <a:lnTo>
                    <a:pt x="33" y="121"/>
                  </a:lnTo>
                  <a:lnTo>
                    <a:pt x="33" y="114"/>
                  </a:lnTo>
                  <a:lnTo>
                    <a:pt x="31" y="114"/>
                  </a:lnTo>
                  <a:lnTo>
                    <a:pt x="29" y="114"/>
                  </a:lnTo>
                  <a:lnTo>
                    <a:pt x="27" y="112"/>
                  </a:lnTo>
                  <a:lnTo>
                    <a:pt x="27" y="1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89" name="Freeform 89"/>
            <p:cNvSpPr>
              <a:spLocks/>
            </p:cNvSpPr>
            <p:nvPr/>
          </p:nvSpPr>
          <p:spPr bwMode="auto">
            <a:xfrm>
              <a:off x="2396" y="1786"/>
              <a:ext cx="77" cy="69"/>
            </a:xfrm>
            <a:custGeom>
              <a:avLst/>
              <a:gdLst>
                <a:gd name="T0" fmla="*/ 66 w 77"/>
                <a:gd name="T1" fmla="*/ 65 h 69"/>
                <a:gd name="T2" fmla="*/ 63 w 77"/>
                <a:gd name="T3" fmla="*/ 64 h 69"/>
                <a:gd name="T4" fmla="*/ 61 w 77"/>
                <a:gd name="T5" fmla="*/ 58 h 69"/>
                <a:gd name="T6" fmla="*/ 55 w 77"/>
                <a:gd name="T7" fmla="*/ 54 h 69"/>
                <a:gd name="T8" fmla="*/ 53 w 77"/>
                <a:gd name="T9" fmla="*/ 52 h 69"/>
                <a:gd name="T10" fmla="*/ 50 w 77"/>
                <a:gd name="T11" fmla="*/ 50 h 69"/>
                <a:gd name="T12" fmla="*/ 46 w 77"/>
                <a:gd name="T13" fmla="*/ 49 h 69"/>
                <a:gd name="T14" fmla="*/ 39 w 77"/>
                <a:gd name="T15" fmla="*/ 45 h 69"/>
                <a:gd name="T16" fmla="*/ 35 w 77"/>
                <a:gd name="T17" fmla="*/ 42 h 69"/>
                <a:gd name="T18" fmla="*/ 32 w 77"/>
                <a:gd name="T19" fmla="*/ 43 h 69"/>
                <a:gd name="T20" fmla="*/ 27 w 77"/>
                <a:gd name="T21" fmla="*/ 39 h 69"/>
                <a:gd name="T22" fmla="*/ 24 w 77"/>
                <a:gd name="T23" fmla="*/ 39 h 69"/>
                <a:gd name="T24" fmla="*/ 20 w 77"/>
                <a:gd name="T25" fmla="*/ 42 h 69"/>
                <a:gd name="T26" fmla="*/ 13 w 77"/>
                <a:gd name="T27" fmla="*/ 39 h 69"/>
                <a:gd name="T28" fmla="*/ 12 w 77"/>
                <a:gd name="T29" fmla="*/ 38 h 69"/>
                <a:gd name="T30" fmla="*/ 6 w 77"/>
                <a:gd name="T31" fmla="*/ 45 h 69"/>
                <a:gd name="T32" fmla="*/ 2 w 77"/>
                <a:gd name="T33" fmla="*/ 46 h 69"/>
                <a:gd name="T34" fmla="*/ 1 w 77"/>
                <a:gd name="T35" fmla="*/ 42 h 69"/>
                <a:gd name="T36" fmla="*/ 0 w 77"/>
                <a:gd name="T37" fmla="*/ 35 h 69"/>
                <a:gd name="T38" fmla="*/ 1 w 77"/>
                <a:gd name="T39" fmla="*/ 31 h 69"/>
                <a:gd name="T40" fmla="*/ 4 w 77"/>
                <a:gd name="T41" fmla="*/ 23 h 69"/>
                <a:gd name="T42" fmla="*/ 5 w 77"/>
                <a:gd name="T43" fmla="*/ 18 h 69"/>
                <a:gd name="T44" fmla="*/ 4 w 77"/>
                <a:gd name="T45" fmla="*/ 16 h 69"/>
                <a:gd name="T46" fmla="*/ 5 w 77"/>
                <a:gd name="T47" fmla="*/ 11 h 69"/>
                <a:gd name="T48" fmla="*/ 9 w 77"/>
                <a:gd name="T49" fmla="*/ 11 h 69"/>
                <a:gd name="T50" fmla="*/ 9 w 77"/>
                <a:gd name="T51" fmla="*/ 8 h 69"/>
                <a:gd name="T52" fmla="*/ 12 w 77"/>
                <a:gd name="T53" fmla="*/ 7 h 69"/>
                <a:gd name="T54" fmla="*/ 16 w 77"/>
                <a:gd name="T55" fmla="*/ 5 h 69"/>
                <a:gd name="T56" fmla="*/ 19 w 77"/>
                <a:gd name="T57" fmla="*/ 3 h 69"/>
                <a:gd name="T58" fmla="*/ 21 w 77"/>
                <a:gd name="T59" fmla="*/ 0 h 69"/>
                <a:gd name="T60" fmla="*/ 25 w 77"/>
                <a:gd name="T61" fmla="*/ 3 h 69"/>
                <a:gd name="T62" fmla="*/ 31 w 77"/>
                <a:gd name="T63" fmla="*/ 24 h 69"/>
                <a:gd name="T64" fmla="*/ 32 w 77"/>
                <a:gd name="T65" fmla="*/ 27 h 69"/>
                <a:gd name="T66" fmla="*/ 35 w 77"/>
                <a:gd name="T67" fmla="*/ 29 h 69"/>
                <a:gd name="T68" fmla="*/ 36 w 77"/>
                <a:gd name="T69" fmla="*/ 35 h 69"/>
                <a:gd name="T70" fmla="*/ 38 w 77"/>
                <a:gd name="T71" fmla="*/ 33 h 69"/>
                <a:gd name="T72" fmla="*/ 38 w 77"/>
                <a:gd name="T73" fmla="*/ 30 h 69"/>
                <a:gd name="T74" fmla="*/ 40 w 77"/>
                <a:gd name="T75" fmla="*/ 33 h 69"/>
                <a:gd name="T76" fmla="*/ 42 w 77"/>
                <a:gd name="T77" fmla="*/ 37 h 69"/>
                <a:gd name="T78" fmla="*/ 44 w 77"/>
                <a:gd name="T79" fmla="*/ 37 h 69"/>
                <a:gd name="T80" fmla="*/ 47 w 77"/>
                <a:gd name="T81" fmla="*/ 38 h 69"/>
                <a:gd name="T82" fmla="*/ 50 w 77"/>
                <a:gd name="T83" fmla="*/ 39 h 69"/>
                <a:gd name="T84" fmla="*/ 55 w 77"/>
                <a:gd name="T85" fmla="*/ 42 h 69"/>
                <a:gd name="T86" fmla="*/ 59 w 77"/>
                <a:gd name="T87" fmla="*/ 48 h 69"/>
                <a:gd name="T88" fmla="*/ 63 w 77"/>
                <a:gd name="T89" fmla="*/ 52 h 69"/>
                <a:gd name="T90" fmla="*/ 66 w 77"/>
                <a:gd name="T91" fmla="*/ 53 h 69"/>
                <a:gd name="T92" fmla="*/ 68 w 77"/>
                <a:gd name="T93" fmla="*/ 53 h 69"/>
                <a:gd name="T94" fmla="*/ 70 w 77"/>
                <a:gd name="T95" fmla="*/ 58 h 69"/>
                <a:gd name="T96" fmla="*/ 72 w 77"/>
                <a:gd name="T97" fmla="*/ 61 h 69"/>
                <a:gd name="T98" fmla="*/ 74 w 77"/>
                <a:gd name="T99" fmla="*/ 64 h 69"/>
                <a:gd name="T100" fmla="*/ 76 w 77"/>
                <a:gd name="T101" fmla="*/ 64 h 69"/>
                <a:gd name="T102" fmla="*/ 77 w 77"/>
                <a:gd name="T103" fmla="*/ 65 h 69"/>
                <a:gd name="T104" fmla="*/ 73 w 77"/>
                <a:gd name="T105" fmla="*/ 68 h 69"/>
                <a:gd name="T106" fmla="*/ 69 w 77"/>
                <a:gd name="T10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7" h="69">
                  <a:moveTo>
                    <a:pt x="69" y="69"/>
                  </a:moveTo>
                  <a:lnTo>
                    <a:pt x="66" y="65"/>
                  </a:lnTo>
                  <a:lnTo>
                    <a:pt x="65" y="65"/>
                  </a:lnTo>
                  <a:lnTo>
                    <a:pt x="63" y="64"/>
                  </a:lnTo>
                  <a:lnTo>
                    <a:pt x="63" y="61"/>
                  </a:lnTo>
                  <a:lnTo>
                    <a:pt x="61" y="58"/>
                  </a:lnTo>
                  <a:lnTo>
                    <a:pt x="59" y="58"/>
                  </a:lnTo>
                  <a:lnTo>
                    <a:pt x="55" y="54"/>
                  </a:lnTo>
                  <a:lnTo>
                    <a:pt x="53" y="53"/>
                  </a:lnTo>
                  <a:lnTo>
                    <a:pt x="53" y="52"/>
                  </a:lnTo>
                  <a:lnTo>
                    <a:pt x="50" y="52"/>
                  </a:lnTo>
                  <a:lnTo>
                    <a:pt x="50" y="50"/>
                  </a:lnTo>
                  <a:lnTo>
                    <a:pt x="46" y="50"/>
                  </a:lnTo>
                  <a:lnTo>
                    <a:pt x="46" y="49"/>
                  </a:lnTo>
                  <a:lnTo>
                    <a:pt x="42" y="45"/>
                  </a:lnTo>
                  <a:lnTo>
                    <a:pt x="39" y="45"/>
                  </a:lnTo>
                  <a:lnTo>
                    <a:pt x="38" y="42"/>
                  </a:lnTo>
                  <a:lnTo>
                    <a:pt x="35" y="42"/>
                  </a:lnTo>
                  <a:lnTo>
                    <a:pt x="34" y="42"/>
                  </a:lnTo>
                  <a:lnTo>
                    <a:pt x="32" y="43"/>
                  </a:lnTo>
                  <a:lnTo>
                    <a:pt x="29" y="39"/>
                  </a:lnTo>
                  <a:lnTo>
                    <a:pt x="27" y="39"/>
                  </a:lnTo>
                  <a:lnTo>
                    <a:pt x="27" y="41"/>
                  </a:lnTo>
                  <a:lnTo>
                    <a:pt x="24" y="39"/>
                  </a:lnTo>
                  <a:lnTo>
                    <a:pt x="23" y="39"/>
                  </a:lnTo>
                  <a:lnTo>
                    <a:pt x="20" y="42"/>
                  </a:lnTo>
                  <a:lnTo>
                    <a:pt x="17" y="42"/>
                  </a:lnTo>
                  <a:lnTo>
                    <a:pt x="13" y="39"/>
                  </a:lnTo>
                  <a:lnTo>
                    <a:pt x="13" y="38"/>
                  </a:lnTo>
                  <a:lnTo>
                    <a:pt x="12" y="38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5" y="46"/>
                  </a:lnTo>
                  <a:lnTo>
                    <a:pt x="2" y="46"/>
                  </a:lnTo>
                  <a:lnTo>
                    <a:pt x="1" y="45"/>
                  </a:lnTo>
                  <a:lnTo>
                    <a:pt x="1" y="42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1" y="34"/>
                  </a:lnTo>
                  <a:lnTo>
                    <a:pt x="1" y="31"/>
                  </a:lnTo>
                  <a:lnTo>
                    <a:pt x="2" y="29"/>
                  </a:lnTo>
                  <a:lnTo>
                    <a:pt x="4" y="23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4" y="16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8"/>
                  </a:lnTo>
                  <a:lnTo>
                    <a:pt x="9" y="7"/>
                  </a:lnTo>
                  <a:lnTo>
                    <a:pt x="12" y="7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5" y="3"/>
                  </a:lnTo>
                  <a:lnTo>
                    <a:pt x="29" y="16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7"/>
                  </a:lnTo>
                  <a:lnTo>
                    <a:pt x="32" y="29"/>
                  </a:lnTo>
                  <a:lnTo>
                    <a:pt x="35" y="29"/>
                  </a:lnTo>
                  <a:lnTo>
                    <a:pt x="35" y="31"/>
                  </a:lnTo>
                  <a:lnTo>
                    <a:pt x="36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0"/>
                  </a:lnTo>
                  <a:lnTo>
                    <a:pt x="39" y="30"/>
                  </a:lnTo>
                  <a:lnTo>
                    <a:pt x="40" y="33"/>
                  </a:lnTo>
                  <a:lnTo>
                    <a:pt x="40" y="34"/>
                  </a:lnTo>
                  <a:lnTo>
                    <a:pt x="42" y="37"/>
                  </a:lnTo>
                  <a:lnTo>
                    <a:pt x="43" y="38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47" y="38"/>
                  </a:lnTo>
                  <a:lnTo>
                    <a:pt x="49" y="37"/>
                  </a:lnTo>
                  <a:lnTo>
                    <a:pt x="50" y="39"/>
                  </a:lnTo>
                  <a:lnTo>
                    <a:pt x="51" y="41"/>
                  </a:lnTo>
                  <a:lnTo>
                    <a:pt x="55" y="42"/>
                  </a:lnTo>
                  <a:lnTo>
                    <a:pt x="55" y="42"/>
                  </a:lnTo>
                  <a:lnTo>
                    <a:pt x="59" y="48"/>
                  </a:lnTo>
                  <a:lnTo>
                    <a:pt x="61" y="50"/>
                  </a:lnTo>
                  <a:lnTo>
                    <a:pt x="63" y="52"/>
                  </a:lnTo>
                  <a:lnTo>
                    <a:pt x="65" y="53"/>
                  </a:lnTo>
                  <a:lnTo>
                    <a:pt x="66" y="53"/>
                  </a:lnTo>
                  <a:lnTo>
                    <a:pt x="66" y="53"/>
                  </a:lnTo>
                  <a:lnTo>
                    <a:pt x="68" y="53"/>
                  </a:lnTo>
                  <a:lnTo>
                    <a:pt x="69" y="58"/>
                  </a:lnTo>
                  <a:lnTo>
                    <a:pt x="70" y="58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3" y="64"/>
                  </a:lnTo>
                  <a:lnTo>
                    <a:pt x="74" y="64"/>
                  </a:lnTo>
                  <a:lnTo>
                    <a:pt x="76" y="65"/>
                  </a:lnTo>
                  <a:lnTo>
                    <a:pt x="76" y="64"/>
                  </a:lnTo>
                  <a:lnTo>
                    <a:pt x="77" y="64"/>
                  </a:lnTo>
                  <a:lnTo>
                    <a:pt x="77" y="65"/>
                  </a:lnTo>
                  <a:lnTo>
                    <a:pt x="76" y="67"/>
                  </a:lnTo>
                  <a:lnTo>
                    <a:pt x="73" y="68"/>
                  </a:lnTo>
                  <a:lnTo>
                    <a:pt x="72" y="69"/>
                  </a:lnTo>
                  <a:lnTo>
                    <a:pt x="69" y="6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0" name="Freeform 90"/>
            <p:cNvSpPr>
              <a:spLocks/>
            </p:cNvSpPr>
            <p:nvPr/>
          </p:nvSpPr>
          <p:spPr bwMode="auto">
            <a:xfrm>
              <a:off x="2458" y="1851"/>
              <a:ext cx="19" cy="22"/>
            </a:xfrm>
            <a:custGeom>
              <a:avLst/>
              <a:gdLst>
                <a:gd name="T0" fmla="*/ 14 w 19"/>
                <a:gd name="T1" fmla="*/ 21 h 22"/>
                <a:gd name="T2" fmla="*/ 12 w 19"/>
                <a:gd name="T3" fmla="*/ 19 h 22"/>
                <a:gd name="T4" fmla="*/ 10 w 19"/>
                <a:gd name="T5" fmla="*/ 19 h 22"/>
                <a:gd name="T6" fmla="*/ 7 w 19"/>
                <a:gd name="T7" fmla="*/ 21 h 22"/>
                <a:gd name="T8" fmla="*/ 1 w 19"/>
                <a:gd name="T9" fmla="*/ 22 h 22"/>
                <a:gd name="T10" fmla="*/ 0 w 19"/>
                <a:gd name="T11" fmla="*/ 21 h 22"/>
                <a:gd name="T12" fmla="*/ 3 w 19"/>
                <a:gd name="T13" fmla="*/ 18 h 22"/>
                <a:gd name="T14" fmla="*/ 3 w 19"/>
                <a:gd name="T15" fmla="*/ 15 h 22"/>
                <a:gd name="T16" fmla="*/ 4 w 19"/>
                <a:gd name="T17" fmla="*/ 12 h 22"/>
                <a:gd name="T18" fmla="*/ 4 w 19"/>
                <a:gd name="T19" fmla="*/ 10 h 22"/>
                <a:gd name="T20" fmla="*/ 4 w 19"/>
                <a:gd name="T21" fmla="*/ 8 h 22"/>
                <a:gd name="T22" fmla="*/ 6 w 19"/>
                <a:gd name="T23" fmla="*/ 6 h 22"/>
                <a:gd name="T24" fmla="*/ 10 w 19"/>
                <a:gd name="T25" fmla="*/ 4 h 22"/>
                <a:gd name="T26" fmla="*/ 11 w 19"/>
                <a:gd name="T27" fmla="*/ 3 h 22"/>
                <a:gd name="T28" fmla="*/ 14 w 19"/>
                <a:gd name="T29" fmla="*/ 2 h 22"/>
                <a:gd name="T30" fmla="*/ 15 w 19"/>
                <a:gd name="T31" fmla="*/ 0 h 22"/>
                <a:gd name="T32" fmla="*/ 15 w 19"/>
                <a:gd name="T33" fmla="*/ 0 h 22"/>
                <a:gd name="T34" fmla="*/ 15 w 19"/>
                <a:gd name="T35" fmla="*/ 0 h 22"/>
                <a:gd name="T36" fmla="*/ 18 w 19"/>
                <a:gd name="T37" fmla="*/ 3 h 22"/>
                <a:gd name="T38" fmla="*/ 19 w 19"/>
                <a:gd name="T39" fmla="*/ 3 h 22"/>
                <a:gd name="T40" fmla="*/ 18 w 19"/>
                <a:gd name="T41" fmla="*/ 4 h 22"/>
                <a:gd name="T42" fmla="*/ 19 w 19"/>
                <a:gd name="T43" fmla="*/ 8 h 22"/>
                <a:gd name="T44" fmla="*/ 18 w 19"/>
                <a:gd name="T45" fmla="*/ 8 h 22"/>
                <a:gd name="T46" fmla="*/ 15 w 19"/>
                <a:gd name="T47" fmla="*/ 11 h 22"/>
                <a:gd name="T48" fmla="*/ 14 w 19"/>
                <a:gd name="T49" fmla="*/ 11 h 22"/>
                <a:gd name="T50" fmla="*/ 12 w 19"/>
                <a:gd name="T51" fmla="*/ 12 h 22"/>
                <a:gd name="T52" fmla="*/ 10 w 19"/>
                <a:gd name="T53" fmla="*/ 12 h 22"/>
                <a:gd name="T54" fmla="*/ 11 w 19"/>
                <a:gd name="T55" fmla="*/ 14 h 22"/>
                <a:gd name="T56" fmla="*/ 12 w 19"/>
                <a:gd name="T57" fmla="*/ 14 h 22"/>
                <a:gd name="T58" fmla="*/ 14 w 19"/>
                <a:gd name="T59" fmla="*/ 14 h 22"/>
                <a:gd name="T60" fmla="*/ 16 w 19"/>
                <a:gd name="T61" fmla="*/ 14 h 22"/>
                <a:gd name="T62" fmla="*/ 18 w 19"/>
                <a:gd name="T63" fmla="*/ 15 h 22"/>
                <a:gd name="T64" fmla="*/ 15 w 19"/>
                <a:gd name="T65" fmla="*/ 19 h 22"/>
                <a:gd name="T66" fmla="*/ 14 w 19"/>
                <a:gd name="T67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" h="22">
                  <a:moveTo>
                    <a:pt x="14" y="21"/>
                  </a:moveTo>
                  <a:lnTo>
                    <a:pt x="12" y="19"/>
                  </a:lnTo>
                  <a:lnTo>
                    <a:pt x="10" y="19"/>
                  </a:lnTo>
                  <a:lnTo>
                    <a:pt x="7" y="21"/>
                  </a:lnTo>
                  <a:lnTo>
                    <a:pt x="1" y="22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4" y="8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4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8" y="4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5" y="11"/>
                  </a:lnTo>
                  <a:lnTo>
                    <a:pt x="14" y="11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4"/>
                  </a:lnTo>
                  <a:lnTo>
                    <a:pt x="18" y="15"/>
                  </a:lnTo>
                  <a:lnTo>
                    <a:pt x="15" y="19"/>
                  </a:lnTo>
                  <a:lnTo>
                    <a:pt x="14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1" name="Freeform 91"/>
            <p:cNvSpPr>
              <a:spLocks/>
            </p:cNvSpPr>
            <p:nvPr/>
          </p:nvSpPr>
          <p:spPr bwMode="auto">
            <a:xfrm>
              <a:off x="2451" y="1859"/>
              <a:ext cx="120" cy="159"/>
            </a:xfrm>
            <a:custGeom>
              <a:avLst/>
              <a:gdLst>
                <a:gd name="T0" fmla="*/ 13 w 120"/>
                <a:gd name="T1" fmla="*/ 94 h 159"/>
                <a:gd name="T2" fmla="*/ 23 w 120"/>
                <a:gd name="T3" fmla="*/ 90 h 159"/>
                <a:gd name="T4" fmla="*/ 29 w 120"/>
                <a:gd name="T5" fmla="*/ 85 h 159"/>
                <a:gd name="T6" fmla="*/ 41 w 120"/>
                <a:gd name="T7" fmla="*/ 82 h 159"/>
                <a:gd name="T8" fmla="*/ 70 w 120"/>
                <a:gd name="T9" fmla="*/ 47 h 159"/>
                <a:gd name="T10" fmla="*/ 27 w 120"/>
                <a:gd name="T11" fmla="*/ 33 h 159"/>
                <a:gd name="T12" fmla="*/ 23 w 120"/>
                <a:gd name="T13" fmla="*/ 23 h 159"/>
                <a:gd name="T14" fmla="*/ 22 w 120"/>
                <a:gd name="T15" fmla="*/ 11 h 159"/>
                <a:gd name="T16" fmla="*/ 26 w 120"/>
                <a:gd name="T17" fmla="*/ 9 h 159"/>
                <a:gd name="T18" fmla="*/ 34 w 120"/>
                <a:gd name="T19" fmla="*/ 18 h 159"/>
                <a:gd name="T20" fmla="*/ 44 w 120"/>
                <a:gd name="T21" fmla="*/ 21 h 159"/>
                <a:gd name="T22" fmla="*/ 51 w 120"/>
                <a:gd name="T23" fmla="*/ 18 h 159"/>
                <a:gd name="T24" fmla="*/ 56 w 120"/>
                <a:gd name="T25" fmla="*/ 15 h 159"/>
                <a:gd name="T26" fmla="*/ 63 w 120"/>
                <a:gd name="T27" fmla="*/ 15 h 159"/>
                <a:gd name="T28" fmla="*/ 75 w 120"/>
                <a:gd name="T29" fmla="*/ 10 h 159"/>
                <a:gd name="T30" fmla="*/ 82 w 120"/>
                <a:gd name="T31" fmla="*/ 11 h 159"/>
                <a:gd name="T32" fmla="*/ 90 w 120"/>
                <a:gd name="T33" fmla="*/ 10 h 159"/>
                <a:gd name="T34" fmla="*/ 100 w 120"/>
                <a:gd name="T35" fmla="*/ 7 h 159"/>
                <a:gd name="T36" fmla="*/ 105 w 120"/>
                <a:gd name="T37" fmla="*/ 7 h 159"/>
                <a:gd name="T38" fmla="*/ 110 w 120"/>
                <a:gd name="T39" fmla="*/ 4 h 159"/>
                <a:gd name="T40" fmla="*/ 113 w 120"/>
                <a:gd name="T41" fmla="*/ 0 h 159"/>
                <a:gd name="T42" fmla="*/ 115 w 120"/>
                <a:gd name="T43" fmla="*/ 2 h 159"/>
                <a:gd name="T44" fmla="*/ 120 w 120"/>
                <a:gd name="T45" fmla="*/ 3 h 159"/>
                <a:gd name="T46" fmla="*/ 117 w 120"/>
                <a:gd name="T47" fmla="*/ 9 h 159"/>
                <a:gd name="T48" fmla="*/ 119 w 120"/>
                <a:gd name="T49" fmla="*/ 11 h 159"/>
                <a:gd name="T50" fmla="*/ 117 w 120"/>
                <a:gd name="T51" fmla="*/ 15 h 159"/>
                <a:gd name="T52" fmla="*/ 117 w 120"/>
                <a:gd name="T53" fmla="*/ 19 h 159"/>
                <a:gd name="T54" fmla="*/ 120 w 120"/>
                <a:gd name="T55" fmla="*/ 19 h 159"/>
                <a:gd name="T56" fmla="*/ 119 w 120"/>
                <a:gd name="T57" fmla="*/ 21 h 159"/>
                <a:gd name="T58" fmla="*/ 115 w 120"/>
                <a:gd name="T59" fmla="*/ 23 h 159"/>
                <a:gd name="T60" fmla="*/ 115 w 120"/>
                <a:gd name="T61" fmla="*/ 29 h 159"/>
                <a:gd name="T62" fmla="*/ 108 w 120"/>
                <a:gd name="T63" fmla="*/ 44 h 159"/>
                <a:gd name="T64" fmla="*/ 102 w 120"/>
                <a:gd name="T65" fmla="*/ 49 h 159"/>
                <a:gd name="T66" fmla="*/ 102 w 120"/>
                <a:gd name="T67" fmla="*/ 53 h 159"/>
                <a:gd name="T68" fmla="*/ 91 w 120"/>
                <a:gd name="T69" fmla="*/ 75 h 159"/>
                <a:gd name="T70" fmla="*/ 82 w 120"/>
                <a:gd name="T71" fmla="*/ 90 h 159"/>
                <a:gd name="T72" fmla="*/ 59 w 120"/>
                <a:gd name="T73" fmla="*/ 113 h 159"/>
                <a:gd name="T74" fmla="*/ 47 w 120"/>
                <a:gd name="T75" fmla="*/ 121 h 159"/>
                <a:gd name="T76" fmla="*/ 33 w 120"/>
                <a:gd name="T77" fmla="*/ 134 h 159"/>
                <a:gd name="T78" fmla="*/ 25 w 120"/>
                <a:gd name="T79" fmla="*/ 143 h 159"/>
                <a:gd name="T80" fmla="*/ 18 w 120"/>
                <a:gd name="T81" fmla="*/ 149 h 159"/>
                <a:gd name="T82" fmla="*/ 0 w 120"/>
                <a:gd name="T83" fmla="*/ 153 h 159"/>
                <a:gd name="T84" fmla="*/ 11 w 120"/>
                <a:gd name="T85" fmla="*/ 9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59">
                  <a:moveTo>
                    <a:pt x="11" y="96"/>
                  </a:moveTo>
                  <a:lnTo>
                    <a:pt x="11" y="96"/>
                  </a:lnTo>
                  <a:lnTo>
                    <a:pt x="13" y="94"/>
                  </a:lnTo>
                  <a:lnTo>
                    <a:pt x="17" y="91"/>
                  </a:lnTo>
                  <a:lnTo>
                    <a:pt x="19" y="91"/>
                  </a:lnTo>
                  <a:lnTo>
                    <a:pt x="23" y="90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9" y="85"/>
                  </a:lnTo>
                  <a:lnTo>
                    <a:pt x="32" y="85"/>
                  </a:lnTo>
                  <a:lnTo>
                    <a:pt x="33" y="83"/>
                  </a:lnTo>
                  <a:lnTo>
                    <a:pt x="41" y="82"/>
                  </a:lnTo>
                  <a:lnTo>
                    <a:pt x="48" y="83"/>
                  </a:lnTo>
                  <a:lnTo>
                    <a:pt x="85" y="47"/>
                  </a:lnTo>
                  <a:lnTo>
                    <a:pt x="70" y="47"/>
                  </a:lnTo>
                  <a:lnTo>
                    <a:pt x="34" y="36"/>
                  </a:lnTo>
                  <a:lnTo>
                    <a:pt x="32" y="33"/>
                  </a:lnTo>
                  <a:lnTo>
                    <a:pt x="27" y="33"/>
                  </a:lnTo>
                  <a:lnTo>
                    <a:pt x="26" y="29"/>
                  </a:lnTo>
                  <a:lnTo>
                    <a:pt x="26" y="26"/>
                  </a:lnTo>
                  <a:lnTo>
                    <a:pt x="23" y="23"/>
                  </a:lnTo>
                  <a:lnTo>
                    <a:pt x="21" y="18"/>
                  </a:lnTo>
                  <a:lnTo>
                    <a:pt x="21" y="14"/>
                  </a:lnTo>
                  <a:lnTo>
                    <a:pt x="22" y="11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33" y="15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8" y="21"/>
                  </a:lnTo>
                  <a:lnTo>
                    <a:pt x="41" y="21"/>
                  </a:lnTo>
                  <a:lnTo>
                    <a:pt x="44" y="21"/>
                  </a:lnTo>
                  <a:lnTo>
                    <a:pt x="45" y="19"/>
                  </a:lnTo>
                  <a:lnTo>
                    <a:pt x="48" y="18"/>
                  </a:lnTo>
                  <a:lnTo>
                    <a:pt x="51" y="18"/>
                  </a:lnTo>
                  <a:lnTo>
                    <a:pt x="53" y="14"/>
                  </a:lnTo>
                  <a:lnTo>
                    <a:pt x="55" y="14"/>
                  </a:lnTo>
                  <a:lnTo>
                    <a:pt x="56" y="15"/>
                  </a:lnTo>
                  <a:lnTo>
                    <a:pt x="59" y="15"/>
                  </a:lnTo>
                  <a:lnTo>
                    <a:pt x="60" y="15"/>
                  </a:lnTo>
                  <a:lnTo>
                    <a:pt x="63" y="15"/>
                  </a:lnTo>
                  <a:lnTo>
                    <a:pt x="66" y="15"/>
                  </a:lnTo>
                  <a:lnTo>
                    <a:pt x="72" y="11"/>
                  </a:lnTo>
                  <a:lnTo>
                    <a:pt x="75" y="10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82" y="11"/>
                  </a:lnTo>
                  <a:lnTo>
                    <a:pt x="86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7" y="9"/>
                  </a:lnTo>
                  <a:lnTo>
                    <a:pt x="100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8" y="6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2" y="3"/>
                  </a:lnTo>
                  <a:lnTo>
                    <a:pt x="110" y="2"/>
                  </a:lnTo>
                  <a:lnTo>
                    <a:pt x="113" y="0"/>
                  </a:lnTo>
                  <a:lnTo>
                    <a:pt x="113" y="2"/>
                  </a:lnTo>
                  <a:lnTo>
                    <a:pt x="113" y="0"/>
                  </a:lnTo>
                  <a:lnTo>
                    <a:pt x="115" y="2"/>
                  </a:lnTo>
                  <a:lnTo>
                    <a:pt x="117" y="3"/>
                  </a:lnTo>
                  <a:lnTo>
                    <a:pt x="119" y="3"/>
                  </a:lnTo>
                  <a:lnTo>
                    <a:pt x="120" y="3"/>
                  </a:lnTo>
                  <a:lnTo>
                    <a:pt x="119" y="4"/>
                  </a:lnTo>
                  <a:lnTo>
                    <a:pt x="117" y="6"/>
                  </a:lnTo>
                  <a:lnTo>
                    <a:pt x="117" y="9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7" y="13"/>
                  </a:lnTo>
                  <a:lnTo>
                    <a:pt x="117" y="15"/>
                  </a:lnTo>
                  <a:lnTo>
                    <a:pt x="117" y="17"/>
                  </a:lnTo>
                  <a:lnTo>
                    <a:pt x="119" y="18"/>
                  </a:lnTo>
                  <a:lnTo>
                    <a:pt x="117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20" y="19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9" y="21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5" y="23"/>
                  </a:lnTo>
                  <a:lnTo>
                    <a:pt x="116" y="25"/>
                  </a:lnTo>
                  <a:lnTo>
                    <a:pt x="116" y="29"/>
                  </a:lnTo>
                  <a:lnTo>
                    <a:pt x="115" y="29"/>
                  </a:lnTo>
                  <a:lnTo>
                    <a:pt x="115" y="33"/>
                  </a:lnTo>
                  <a:lnTo>
                    <a:pt x="110" y="38"/>
                  </a:lnTo>
                  <a:lnTo>
                    <a:pt x="108" y="44"/>
                  </a:lnTo>
                  <a:lnTo>
                    <a:pt x="106" y="47"/>
                  </a:lnTo>
                  <a:lnTo>
                    <a:pt x="105" y="47"/>
                  </a:lnTo>
                  <a:lnTo>
                    <a:pt x="102" y="49"/>
                  </a:lnTo>
                  <a:lnTo>
                    <a:pt x="102" y="51"/>
                  </a:lnTo>
                  <a:lnTo>
                    <a:pt x="104" y="52"/>
                  </a:lnTo>
                  <a:lnTo>
                    <a:pt x="102" y="53"/>
                  </a:lnTo>
                  <a:lnTo>
                    <a:pt x="95" y="66"/>
                  </a:lnTo>
                  <a:lnTo>
                    <a:pt x="95" y="70"/>
                  </a:lnTo>
                  <a:lnTo>
                    <a:pt x="91" y="75"/>
                  </a:lnTo>
                  <a:lnTo>
                    <a:pt x="91" y="78"/>
                  </a:lnTo>
                  <a:lnTo>
                    <a:pt x="83" y="89"/>
                  </a:lnTo>
                  <a:lnTo>
                    <a:pt x="82" y="90"/>
                  </a:lnTo>
                  <a:lnTo>
                    <a:pt x="79" y="94"/>
                  </a:lnTo>
                  <a:lnTo>
                    <a:pt x="72" y="102"/>
                  </a:lnTo>
                  <a:lnTo>
                    <a:pt x="59" y="113"/>
                  </a:lnTo>
                  <a:lnTo>
                    <a:pt x="53" y="119"/>
                  </a:lnTo>
                  <a:lnTo>
                    <a:pt x="51" y="119"/>
                  </a:lnTo>
                  <a:lnTo>
                    <a:pt x="47" y="121"/>
                  </a:lnTo>
                  <a:lnTo>
                    <a:pt x="42" y="124"/>
                  </a:lnTo>
                  <a:lnTo>
                    <a:pt x="34" y="132"/>
                  </a:lnTo>
                  <a:lnTo>
                    <a:pt x="33" y="134"/>
                  </a:lnTo>
                  <a:lnTo>
                    <a:pt x="26" y="140"/>
                  </a:lnTo>
                  <a:lnTo>
                    <a:pt x="25" y="140"/>
                  </a:lnTo>
                  <a:lnTo>
                    <a:pt x="25" y="143"/>
                  </a:lnTo>
                  <a:lnTo>
                    <a:pt x="22" y="143"/>
                  </a:lnTo>
                  <a:lnTo>
                    <a:pt x="19" y="146"/>
                  </a:lnTo>
                  <a:lnTo>
                    <a:pt x="18" y="14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0" y="153"/>
                  </a:lnTo>
                  <a:lnTo>
                    <a:pt x="0" y="105"/>
                  </a:lnTo>
                  <a:lnTo>
                    <a:pt x="11" y="96"/>
                  </a:lnTo>
                  <a:lnTo>
                    <a:pt x="11" y="9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2" name="Freeform 92"/>
            <p:cNvSpPr>
              <a:spLocks noEditPoints="1"/>
            </p:cNvSpPr>
            <p:nvPr/>
          </p:nvSpPr>
          <p:spPr bwMode="auto">
            <a:xfrm>
              <a:off x="2338" y="1936"/>
              <a:ext cx="124" cy="119"/>
            </a:xfrm>
            <a:custGeom>
              <a:avLst/>
              <a:gdLst>
                <a:gd name="T0" fmla="*/ 33 w 124"/>
                <a:gd name="T1" fmla="*/ 13 h 119"/>
                <a:gd name="T2" fmla="*/ 34 w 124"/>
                <a:gd name="T3" fmla="*/ 12 h 119"/>
                <a:gd name="T4" fmla="*/ 39 w 124"/>
                <a:gd name="T5" fmla="*/ 9 h 119"/>
                <a:gd name="T6" fmla="*/ 45 w 124"/>
                <a:gd name="T7" fmla="*/ 0 h 119"/>
                <a:gd name="T8" fmla="*/ 49 w 124"/>
                <a:gd name="T9" fmla="*/ 2 h 119"/>
                <a:gd name="T10" fmla="*/ 51 w 124"/>
                <a:gd name="T11" fmla="*/ 9 h 119"/>
                <a:gd name="T12" fmla="*/ 55 w 124"/>
                <a:gd name="T13" fmla="*/ 12 h 119"/>
                <a:gd name="T14" fmla="*/ 62 w 124"/>
                <a:gd name="T15" fmla="*/ 12 h 119"/>
                <a:gd name="T16" fmla="*/ 68 w 124"/>
                <a:gd name="T17" fmla="*/ 13 h 119"/>
                <a:gd name="T18" fmla="*/ 77 w 124"/>
                <a:gd name="T19" fmla="*/ 19 h 119"/>
                <a:gd name="T20" fmla="*/ 81 w 124"/>
                <a:gd name="T21" fmla="*/ 23 h 119"/>
                <a:gd name="T22" fmla="*/ 87 w 124"/>
                <a:gd name="T23" fmla="*/ 23 h 119"/>
                <a:gd name="T24" fmla="*/ 93 w 124"/>
                <a:gd name="T25" fmla="*/ 24 h 119"/>
                <a:gd name="T26" fmla="*/ 97 w 124"/>
                <a:gd name="T27" fmla="*/ 23 h 119"/>
                <a:gd name="T28" fmla="*/ 101 w 124"/>
                <a:gd name="T29" fmla="*/ 17 h 119"/>
                <a:gd name="T30" fmla="*/ 105 w 124"/>
                <a:gd name="T31" fmla="*/ 16 h 119"/>
                <a:gd name="T32" fmla="*/ 112 w 124"/>
                <a:gd name="T33" fmla="*/ 14 h 119"/>
                <a:gd name="T34" fmla="*/ 115 w 124"/>
                <a:gd name="T35" fmla="*/ 19 h 119"/>
                <a:gd name="T36" fmla="*/ 121 w 124"/>
                <a:gd name="T37" fmla="*/ 19 h 119"/>
                <a:gd name="T38" fmla="*/ 113 w 124"/>
                <a:gd name="T39" fmla="*/ 28 h 119"/>
                <a:gd name="T40" fmla="*/ 121 w 124"/>
                <a:gd name="T41" fmla="*/ 82 h 119"/>
                <a:gd name="T42" fmla="*/ 117 w 124"/>
                <a:gd name="T43" fmla="*/ 88 h 119"/>
                <a:gd name="T44" fmla="*/ 115 w 124"/>
                <a:gd name="T45" fmla="*/ 89 h 119"/>
                <a:gd name="T46" fmla="*/ 112 w 124"/>
                <a:gd name="T47" fmla="*/ 92 h 119"/>
                <a:gd name="T48" fmla="*/ 107 w 124"/>
                <a:gd name="T49" fmla="*/ 95 h 119"/>
                <a:gd name="T50" fmla="*/ 105 w 124"/>
                <a:gd name="T51" fmla="*/ 96 h 119"/>
                <a:gd name="T52" fmla="*/ 102 w 124"/>
                <a:gd name="T53" fmla="*/ 100 h 119"/>
                <a:gd name="T54" fmla="*/ 101 w 124"/>
                <a:gd name="T55" fmla="*/ 104 h 119"/>
                <a:gd name="T56" fmla="*/ 100 w 124"/>
                <a:gd name="T57" fmla="*/ 108 h 119"/>
                <a:gd name="T58" fmla="*/ 94 w 124"/>
                <a:gd name="T59" fmla="*/ 118 h 119"/>
                <a:gd name="T60" fmla="*/ 90 w 124"/>
                <a:gd name="T61" fmla="*/ 119 h 119"/>
                <a:gd name="T62" fmla="*/ 75 w 124"/>
                <a:gd name="T63" fmla="*/ 108 h 119"/>
                <a:gd name="T64" fmla="*/ 75 w 124"/>
                <a:gd name="T65" fmla="*/ 106 h 119"/>
                <a:gd name="T66" fmla="*/ 29 w 124"/>
                <a:gd name="T67" fmla="*/ 76 h 119"/>
                <a:gd name="T68" fmla="*/ 29 w 124"/>
                <a:gd name="T69" fmla="*/ 65 h 119"/>
                <a:gd name="T70" fmla="*/ 32 w 124"/>
                <a:gd name="T71" fmla="*/ 59 h 119"/>
                <a:gd name="T72" fmla="*/ 36 w 124"/>
                <a:gd name="T73" fmla="*/ 55 h 119"/>
                <a:gd name="T74" fmla="*/ 37 w 124"/>
                <a:gd name="T75" fmla="*/ 51 h 119"/>
                <a:gd name="T76" fmla="*/ 41 w 124"/>
                <a:gd name="T77" fmla="*/ 51 h 119"/>
                <a:gd name="T78" fmla="*/ 43 w 124"/>
                <a:gd name="T79" fmla="*/ 46 h 119"/>
                <a:gd name="T80" fmla="*/ 45 w 124"/>
                <a:gd name="T81" fmla="*/ 40 h 119"/>
                <a:gd name="T82" fmla="*/ 43 w 124"/>
                <a:gd name="T83" fmla="*/ 36 h 119"/>
                <a:gd name="T84" fmla="*/ 43 w 124"/>
                <a:gd name="T85" fmla="*/ 35 h 119"/>
                <a:gd name="T86" fmla="*/ 40 w 124"/>
                <a:gd name="T87" fmla="*/ 29 h 119"/>
                <a:gd name="T88" fmla="*/ 37 w 124"/>
                <a:gd name="T89" fmla="*/ 25 h 119"/>
                <a:gd name="T90" fmla="*/ 34 w 124"/>
                <a:gd name="T91" fmla="*/ 23 h 119"/>
                <a:gd name="T92" fmla="*/ 33 w 124"/>
                <a:gd name="T93" fmla="*/ 20 h 119"/>
                <a:gd name="T94" fmla="*/ 32 w 124"/>
                <a:gd name="T95" fmla="*/ 14 h 119"/>
                <a:gd name="T96" fmla="*/ 32 w 124"/>
                <a:gd name="T97" fmla="*/ 14 h 119"/>
                <a:gd name="T98" fmla="*/ 0 w 124"/>
                <a:gd name="T99" fmla="*/ 77 h 119"/>
                <a:gd name="T100" fmla="*/ 10 w 124"/>
                <a:gd name="T101" fmla="*/ 77 h 119"/>
                <a:gd name="T102" fmla="*/ 0 w 124"/>
                <a:gd name="T103" fmla="*/ 7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4" h="119">
                  <a:moveTo>
                    <a:pt x="32" y="14"/>
                  </a:moveTo>
                  <a:lnTo>
                    <a:pt x="33" y="13"/>
                  </a:lnTo>
                  <a:lnTo>
                    <a:pt x="33" y="13"/>
                  </a:lnTo>
                  <a:lnTo>
                    <a:pt x="34" y="12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41" y="5"/>
                  </a:lnTo>
                  <a:lnTo>
                    <a:pt x="45" y="0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51" y="2"/>
                  </a:lnTo>
                  <a:lnTo>
                    <a:pt x="51" y="9"/>
                  </a:lnTo>
                  <a:lnTo>
                    <a:pt x="53" y="12"/>
                  </a:lnTo>
                  <a:lnTo>
                    <a:pt x="55" y="12"/>
                  </a:lnTo>
                  <a:lnTo>
                    <a:pt x="58" y="10"/>
                  </a:lnTo>
                  <a:lnTo>
                    <a:pt x="62" y="12"/>
                  </a:lnTo>
                  <a:lnTo>
                    <a:pt x="67" y="12"/>
                  </a:lnTo>
                  <a:lnTo>
                    <a:pt x="68" y="13"/>
                  </a:lnTo>
                  <a:lnTo>
                    <a:pt x="74" y="17"/>
                  </a:lnTo>
                  <a:lnTo>
                    <a:pt x="77" y="19"/>
                  </a:lnTo>
                  <a:lnTo>
                    <a:pt x="79" y="21"/>
                  </a:lnTo>
                  <a:lnTo>
                    <a:pt x="81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90" y="23"/>
                  </a:lnTo>
                  <a:lnTo>
                    <a:pt x="93" y="24"/>
                  </a:lnTo>
                  <a:lnTo>
                    <a:pt x="94" y="24"/>
                  </a:lnTo>
                  <a:lnTo>
                    <a:pt x="97" y="23"/>
                  </a:lnTo>
                  <a:lnTo>
                    <a:pt x="100" y="19"/>
                  </a:lnTo>
                  <a:lnTo>
                    <a:pt x="101" y="17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7" y="16"/>
                  </a:lnTo>
                  <a:lnTo>
                    <a:pt x="112" y="14"/>
                  </a:lnTo>
                  <a:lnTo>
                    <a:pt x="113" y="16"/>
                  </a:lnTo>
                  <a:lnTo>
                    <a:pt x="115" y="19"/>
                  </a:lnTo>
                  <a:lnTo>
                    <a:pt x="117" y="19"/>
                  </a:lnTo>
                  <a:lnTo>
                    <a:pt x="121" y="19"/>
                  </a:lnTo>
                  <a:lnTo>
                    <a:pt x="124" y="19"/>
                  </a:lnTo>
                  <a:lnTo>
                    <a:pt x="113" y="28"/>
                  </a:lnTo>
                  <a:lnTo>
                    <a:pt x="113" y="76"/>
                  </a:lnTo>
                  <a:lnTo>
                    <a:pt x="121" y="82"/>
                  </a:lnTo>
                  <a:lnTo>
                    <a:pt x="121" y="84"/>
                  </a:lnTo>
                  <a:lnTo>
                    <a:pt x="117" y="88"/>
                  </a:lnTo>
                  <a:lnTo>
                    <a:pt x="116" y="88"/>
                  </a:lnTo>
                  <a:lnTo>
                    <a:pt x="115" y="89"/>
                  </a:lnTo>
                  <a:lnTo>
                    <a:pt x="116" y="91"/>
                  </a:lnTo>
                  <a:lnTo>
                    <a:pt x="112" y="92"/>
                  </a:lnTo>
                  <a:lnTo>
                    <a:pt x="109" y="95"/>
                  </a:lnTo>
                  <a:lnTo>
                    <a:pt x="107" y="95"/>
                  </a:lnTo>
                  <a:lnTo>
                    <a:pt x="105" y="96"/>
                  </a:lnTo>
                  <a:lnTo>
                    <a:pt x="105" y="96"/>
                  </a:lnTo>
                  <a:lnTo>
                    <a:pt x="102" y="99"/>
                  </a:lnTo>
                  <a:lnTo>
                    <a:pt x="102" y="100"/>
                  </a:lnTo>
                  <a:lnTo>
                    <a:pt x="104" y="100"/>
                  </a:lnTo>
                  <a:lnTo>
                    <a:pt x="101" y="104"/>
                  </a:lnTo>
                  <a:lnTo>
                    <a:pt x="100" y="106"/>
                  </a:lnTo>
                  <a:lnTo>
                    <a:pt x="100" y="108"/>
                  </a:lnTo>
                  <a:lnTo>
                    <a:pt x="98" y="112"/>
                  </a:lnTo>
                  <a:lnTo>
                    <a:pt x="94" y="118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75" y="110"/>
                  </a:lnTo>
                  <a:lnTo>
                    <a:pt x="75" y="108"/>
                  </a:lnTo>
                  <a:lnTo>
                    <a:pt x="74" y="107"/>
                  </a:lnTo>
                  <a:lnTo>
                    <a:pt x="75" y="106"/>
                  </a:lnTo>
                  <a:lnTo>
                    <a:pt x="73" y="101"/>
                  </a:lnTo>
                  <a:lnTo>
                    <a:pt x="29" y="76"/>
                  </a:lnTo>
                  <a:lnTo>
                    <a:pt x="26" y="77"/>
                  </a:lnTo>
                  <a:lnTo>
                    <a:pt x="29" y="65"/>
                  </a:lnTo>
                  <a:lnTo>
                    <a:pt x="29" y="62"/>
                  </a:lnTo>
                  <a:lnTo>
                    <a:pt x="32" y="59"/>
                  </a:lnTo>
                  <a:lnTo>
                    <a:pt x="33" y="57"/>
                  </a:lnTo>
                  <a:lnTo>
                    <a:pt x="36" y="55"/>
                  </a:lnTo>
                  <a:lnTo>
                    <a:pt x="36" y="53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41" y="51"/>
                  </a:lnTo>
                  <a:lnTo>
                    <a:pt x="43" y="48"/>
                  </a:lnTo>
                  <a:lnTo>
                    <a:pt x="43" y="46"/>
                  </a:lnTo>
                  <a:lnTo>
                    <a:pt x="45" y="43"/>
                  </a:lnTo>
                  <a:lnTo>
                    <a:pt x="45" y="40"/>
                  </a:lnTo>
                  <a:lnTo>
                    <a:pt x="44" y="38"/>
                  </a:lnTo>
                  <a:lnTo>
                    <a:pt x="43" y="36"/>
                  </a:lnTo>
                  <a:lnTo>
                    <a:pt x="44" y="35"/>
                  </a:lnTo>
                  <a:lnTo>
                    <a:pt x="43" y="35"/>
                  </a:lnTo>
                  <a:lnTo>
                    <a:pt x="41" y="33"/>
                  </a:lnTo>
                  <a:lnTo>
                    <a:pt x="40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6" y="23"/>
                  </a:lnTo>
                  <a:lnTo>
                    <a:pt x="34" y="23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16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close/>
                  <a:moveTo>
                    <a:pt x="0" y="77"/>
                  </a:moveTo>
                  <a:lnTo>
                    <a:pt x="6" y="77"/>
                  </a:lnTo>
                  <a:lnTo>
                    <a:pt x="10" y="77"/>
                  </a:lnTo>
                  <a:lnTo>
                    <a:pt x="2" y="77"/>
                  </a:lnTo>
                  <a:lnTo>
                    <a:pt x="0" y="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3" name="Freeform 93"/>
            <p:cNvSpPr>
              <a:spLocks/>
            </p:cNvSpPr>
            <p:nvPr/>
          </p:nvSpPr>
          <p:spPr bwMode="auto">
            <a:xfrm>
              <a:off x="2315" y="1950"/>
              <a:ext cx="68" cy="68"/>
            </a:xfrm>
            <a:custGeom>
              <a:avLst/>
              <a:gdLst>
                <a:gd name="T0" fmla="*/ 52 w 68"/>
                <a:gd name="T1" fmla="*/ 48 h 68"/>
                <a:gd name="T2" fmla="*/ 56 w 68"/>
                <a:gd name="T3" fmla="*/ 43 h 68"/>
                <a:gd name="T4" fmla="*/ 59 w 68"/>
                <a:gd name="T5" fmla="*/ 39 h 68"/>
                <a:gd name="T6" fmla="*/ 60 w 68"/>
                <a:gd name="T7" fmla="*/ 37 h 68"/>
                <a:gd name="T8" fmla="*/ 66 w 68"/>
                <a:gd name="T9" fmla="*/ 34 h 68"/>
                <a:gd name="T10" fmla="*/ 68 w 68"/>
                <a:gd name="T11" fmla="*/ 29 h 68"/>
                <a:gd name="T12" fmla="*/ 67 w 68"/>
                <a:gd name="T13" fmla="*/ 24 h 68"/>
                <a:gd name="T14" fmla="*/ 67 w 68"/>
                <a:gd name="T15" fmla="*/ 21 h 68"/>
                <a:gd name="T16" fmla="*/ 64 w 68"/>
                <a:gd name="T17" fmla="*/ 19 h 68"/>
                <a:gd name="T18" fmla="*/ 60 w 68"/>
                <a:gd name="T19" fmla="*/ 13 h 68"/>
                <a:gd name="T20" fmla="*/ 59 w 68"/>
                <a:gd name="T21" fmla="*/ 9 h 68"/>
                <a:gd name="T22" fmla="*/ 57 w 68"/>
                <a:gd name="T23" fmla="*/ 6 h 68"/>
                <a:gd name="T24" fmla="*/ 56 w 68"/>
                <a:gd name="T25" fmla="*/ 2 h 68"/>
                <a:gd name="T26" fmla="*/ 52 w 68"/>
                <a:gd name="T27" fmla="*/ 3 h 68"/>
                <a:gd name="T28" fmla="*/ 48 w 68"/>
                <a:gd name="T29" fmla="*/ 6 h 68"/>
                <a:gd name="T30" fmla="*/ 41 w 68"/>
                <a:gd name="T31" fmla="*/ 6 h 68"/>
                <a:gd name="T32" fmla="*/ 36 w 68"/>
                <a:gd name="T33" fmla="*/ 7 h 68"/>
                <a:gd name="T34" fmla="*/ 34 w 68"/>
                <a:gd name="T35" fmla="*/ 7 h 68"/>
                <a:gd name="T36" fmla="*/ 33 w 68"/>
                <a:gd name="T37" fmla="*/ 10 h 68"/>
                <a:gd name="T38" fmla="*/ 29 w 68"/>
                <a:gd name="T39" fmla="*/ 9 h 68"/>
                <a:gd name="T40" fmla="*/ 26 w 68"/>
                <a:gd name="T41" fmla="*/ 7 h 68"/>
                <a:gd name="T42" fmla="*/ 21 w 68"/>
                <a:gd name="T43" fmla="*/ 6 h 68"/>
                <a:gd name="T44" fmla="*/ 18 w 68"/>
                <a:gd name="T45" fmla="*/ 7 h 68"/>
                <a:gd name="T46" fmla="*/ 18 w 68"/>
                <a:gd name="T47" fmla="*/ 9 h 68"/>
                <a:gd name="T48" fmla="*/ 18 w 68"/>
                <a:gd name="T49" fmla="*/ 10 h 68"/>
                <a:gd name="T50" fmla="*/ 17 w 68"/>
                <a:gd name="T51" fmla="*/ 14 h 68"/>
                <a:gd name="T52" fmla="*/ 15 w 68"/>
                <a:gd name="T53" fmla="*/ 21 h 68"/>
                <a:gd name="T54" fmla="*/ 17 w 68"/>
                <a:gd name="T55" fmla="*/ 25 h 68"/>
                <a:gd name="T56" fmla="*/ 18 w 68"/>
                <a:gd name="T57" fmla="*/ 28 h 68"/>
                <a:gd name="T58" fmla="*/ 13 w 68"/>
                <a:gd name="T59" fmla="*/ 37 h 68"/>
                <a:gd name="T60" fmla="*/ 7 w 68"/>
                <a:gd name="T61" fmla="*/ 44 h 68"/>
                <a:gd name="T62" fmla="*/ 2 w 68"/>
                <a:gd name="T63" fmla="*/ 53 h 68"/>
                <a:gd name="T64" fmla="*/ 2 w 68"/>
                <a:gd name="T65" fmla="*/ 60 h 68"/>
                <a:gd name="T66" fmla="*/ 0 w 68"/>
                <a:gd name="T67" fmla="*/ 67 h 68"/>
                <a:gd name="T68" fmla="*/ 0 w 68"/>
                <a:gd name="T69" fmla="*/ 68 h 68"/>
                <a:gd name="T70" fmla="*/ 4 w 68"/>
                <a:gd name="T71" fmla="*/ 66 h 68"/>
                <a:gd name="T72" fmla="*/ 7 w 68"/>
                <a:gd name="T73" fmla="*/ 67 h 68"/>
                <a:gd name="T74" fmla="*/ 8 w 68"/>
                <a:gd name="T75" fmla="*/ 67 h 68"/>
                <a:gd name="T76" fmla="*/ 11 w 68"/>
                <a:gd name="T77" fmla="*/ 64 h 68"/>
                <a:gd name="T78" fmla="*/ 13 w 68"/>
                <a:gd name="T79" fmla="*/ 64 h 68"/>
                <a:gd name="T80" fmla="*/ 14 w 68"/>
                <a:gd name="T81" fmla="*/ 63 h 68"/>
                <a:gd name="T82" fmla="*/ 25 w 68"/>
                <a:gd name="T83" fmla="*/ 63 h 68"/>
                <a:gd name="T84" fmla="*/ 49 w 68"/>
                <a:gd name="T85" fmla="*/ 6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8" h="68">
                  <a:moveTo>
                    <a:pt x="52" y="51"/>
                  </a:moveTo>
                  <a:lnTo>
                    <a:pt x="52" y="48"/>
                  </a:lnTo>
                  <a:lnTo>
                    <a:pt x="55" y="45"/>
                  </a:lnTo>
                  <a:lnTo>
                    <a:pt x="56" y="43"/>
                  </a:lnTo>
                  <a:lnTo>
                    <a:pt x="59" y="41"/>
                  </a:lnTo>
                  <a:lnTo>
                    <a:pt x="59" y="39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64" y="37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9"/>
                  </a:lnTo>
                  <a:lnTo>
                    <a:pt x="68" y="26"/>
                  </a:lnTo>
                  <a:lnTo>
                    <a:pt x="67" y="24"/>
                  </a:lnTo>
                  <a:lnTo>
                    <a:pt x="66" y="22"/>
                  </a:lnTo>
                  <a:lnTo>
                    <a:pt x="67" y="21"/>
                  </a:lnTo>
                  <a:lnTo>
                    <a:pt x="66" y="21"/>
                  </a:lnTo>
                  <a:lnTo>
                    <a:pt x="64" y="19"/>
                  </a:lnTo>
                  <a:lnTo>
                    <a:pt x="63" y="15"/>
                  </a:lnTo>
                  <a:lnTo>
                    <a:pt x="60" y="13"/>
                  </a:lnTo>
                  <a:lnTo>
                    <a:pt x="60" y="11"/>
                  </a:lnTo>
                  <a:lnTo>
                    <a:pt x="59" y="9"/>
                  </a:lnTo>
                  <a:lnTo>
                    <a:pt x="57" y="9"/>
                  </a:lnTo>
                  <a:lnTo>
                    <a:pt x="57" y="6"/>
                  </a:lnTo>
                  <a:lnTo>
                    <a:pt x="56" y="6"/>
                  </a:lnTo>
                  <a:lnTo>
                    <a:pt x="56" y="2"/>
                  </a:lnTo>
                  <a:lnTo>
                    <a:pt x="55" y="0"/>
                  </a:lnTo>
                  <a:lnTo>
                    <a:pt x="52" y="3"/>
                  </a:lnTo>
                  <a:lnTo>
                    <a:pt x="51" y="5"/>
                  </a:lnTo>
                  <a:lnTo>
                    <a:pt x="48" y="6"/>
                  </a:lnTo>
                  <a:lnTo>
                    <a:pt x="45" y="6"/>
                  </a:lnTo>
                  <a:lnTo>
                    <a:pt x="41" y="6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1" y="6"/>
                  </a:lnTo>
                  <a:lnTo>
                    <a:pt x="19" y="6"/>
                  </a:lnTo>
                  <a:lnTo>
                    <a:pt x="18" y="7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4"/>
                  </a:lnTo>
                  <a:lnTo>
                    <a:pt x="17" y="25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3" y="37"/>
                  </a:lnTo>
                  <a:lnTo>
                    <a:pt x="8" y="41"/>
                  </a:lnTo>
                  <a:lnTo>
                    <a:pt x="7" y="44"/>
                  </a:lnTo>
                  <a:lnTo>
                    <a:pt x="3" y="52"/>
                  </a:lnTo>
                  <a:lnTo>
                    <a:pt x="2" y="53"/>
                  </a:lnTo>
                  <a:lnTo>
                    <a:pt x="2" y="56"/>
                  </a:lnTo>
                  <a:lnTo>
                    <a:pt x="2" y="60"/>
                  </a:lnTo>
                  <a:lnTo>
                    <a:pt x="0" y="64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8"/>
                  </a:lnTo>
                  <a:lnTo>
                    <a:pt x="3" y="67"/>
                  </a:lnTo>
                  <a:lnTo>
                    <a:pt x="4" y="66"/>
                  </a:lnTo>
                  <a:lnTo>
                    <a:pt x="6" y="67"/>
                  </a:lnTo>
                  <a:lnTo>
                    <a:pt x="7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6"/>
                  </a:lnTo>
                  <a:lnTo>
                    <a:pt x="11" y="64"/>
                  </a:lnTo>
                  <a:lnTo>
                    <a:pt x="11" y="66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4" y="63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33" y="63"/>
                  </a:lnTo>
                  <a:lnTo>
                    <a:pt x="49" y="63"/>
                  </a:lnTo>
                  <a:lnTo>
                    <a:pt x="52" y="5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4" name="Freeform 94"/>
            <p:cNvSpPr>
              <a:spLocks/>
            </p:cNvSpPr>
            <p:nvPr/>
          </p:nvSpPr>
          <p:spPr bwMode="auto">
            <a:xfrm>
              <a:off x="2139" y="1869"/>
              <a:ext cx="152" cy="103"/>
            </a:xfrm>
            <a:custGeom>
              <a:avLst/>
              <a:gdLst>
                <a:gd name="T0" fmla="*/ 96 w 152"/>
                <a:gd name="T1" fmla="*/ 4 h 103"/>
                <a:gd name="T2" fmla="*/ 104 w 152"/>
                <a:gd name="T3" fmla="*/ 16 h 103"/>
                <a:gd name="T4" fmla="*/ 103 w 152"/>
                <a:gd name="T5" fmla="*/ 24 h 103"/>
                <a:gd name="T6" fmla="*/ 108 w 152"/>
                <a:gd name="T7" fmla="*/ 28 h 103"/>
                <a:gd name="T8" fmla="*/ 114 w 152"/>
                <a:gd name="T9" fmla="*/ 33 h 103"/>
                <a:gd name="T10" fmla="*/ 122 w 152"/>
                <a:gd name="T11" fmla="*/ 37 h 103"/>
                <a:gd name="T12" fmla="*/ 127 w 152"/>
                <a:gd name="T13" fmla="*/ 41 h 103"/>
                <a:gd name="T14" fmla="*/ 125 w 152"/>
                <a:gd name="T15" fmla="*/ 46 h 103"/>
                <a:gd name="T16" fmla="*/ 131 w 152"/>
                <a:gd name="T17" fmla="*/ 49 h 103"/>
                <a:gd name="T18" fmla="*/ 137 w 152"/>
                <a:gd name="T19" fmla="*/ 56 h 103"/>
                <a:gd name="T20" fmla="*/ 141 w 152"/>
                <a:gd name="T21" fmla="*/ 61 h 103"/>
                <a:gd name="T22" fmla="*/ 148 w 152"/>
                <a:gd name="T23" fmla="*/ 65 h 103"/>
                <a:gd name="T24" fmla="*/ 152 w 152"/>
                <a:gd name="T25" fmla="*/ 73 h 103"/>
                <a:gd name="T26" fmla="*/ 148 w 152"/>
                <a:gd name="T27" fmla="*/ 72 h 103"/>
                <a:gd name="T28" fmla="*/ 137 w 152"/>
                <a:gd name="T29" fmla="*/ 72 h 103"/>
                <a:gd name="T30" fmla="*/ 130 w 152"/>
                <a:gd name="T31" fmla="*/ 71 h 103"/>
                <a:gd name="T32" fmla="*/ 127 w 152"/>
                <a:gd name="T33" fmla="*/ 71 h 103"/>
                <a:gd name="T34" fmla="*/ 121 w 152"/>
                <a:gd name="T35" fmla="*/ 73 h 103"/>
                <a:gd name="T36" fmla="*/ 116 w 152"/>
                <a:gd name="T37" fmla="*/ 73 h 103"/>
                <a:gd name="T38" fmla="*/ 108 w 152"/>
                <a:gd name="T39" fmla="*/ 75 h 103"/>
                <a:gd name="T40" fmla="*/ 99 w 152"/>
                <a:gd name="T41" fmla="*/ 76 h 103"/>
                <a:gd name="T42" fmla="*/ 91 w 152"/>
                <a:gd name="T43" fmla="*/ 80 h 103"/>
                <a:gd name="T44" fmla="*/ 89 w 152"/>
                <a:gd name="T45" fmla="*/ 83 h 103"/>
                <a:gd name="T46" fmla="*/ 83 w 152"/>
                <a:gd name="T47" fmla="*/ 81 h 103"/>
                <a:gd name="T48" fmla="*/ 73 w 152"/>
                <a:gd name="T49" fmla="*/ 80 h 103"/>
                <a:gd name="T50" fmla="*/ 65 w 152"/>
                <a:gd name="T51" fmla="*/ 76 h 103"/>
                <a:gd name="T52" fmla="*/ 58 w 152"/>
                <a:gd name="T53" fmla="*/ 72 h 103"/>
                <a:gd name="T54" fmla="*/ 53 w 152"/>
                <a:gd name="T55" fmla="*/ 75 h 103"/>
                <a:gd name="T56" fmla="*/ 50 w 152"/>
                <a:gd name="T57" fmla="*/ 80 h 103"/>
                <a:gd name="T58" fmla="*/ 50 w 152"/>
                <a:gd name="T59" fmla="*/ 84 h 103"/>
                <a:gd name="T60" fmla="*/ 47 w 152"/>
                <a:gd name="T61" fmla="*/ 90 h 103"/>
                <a:gd name="T62" fmla="*/ 40 w 152"/>
                <a:gd name="T63" fmla="*/ 87 h 103"/>
                <a:gd name="T64" fmla="*/ 31 w 152"/>
                <a:gd name="T65" fmla="*/ 90 h 103"/>
                <a:gd name="T66" fmla="*/ 20 w 152"/>
                <a:gd name="T67" fmla="*/ 103 h 103"/>
                <a:gd name="T68" fmla="*/ 19 w 152"/>
                <a:gd name="T69" fmla="*/ 98 h 103"/>
                <a:gd name="T70" fmla="*/ 9 w 152"/>
                <a:gd name="T71" fmla="*/ 87 h 103"/>
                <a:gd name="T72" fmla="*/ 2 w 152"/>
                <a:gd name="T73" fmla="*/ 79 h 103"/>
                <a:gd name="T74" fmla="*/ 1 w 152"/>
                <a:gd name="T75" fmla="*/ 65 h 103"/>
                <a:gd name="T76" fmla="*/ 2 w 152"/>
                <a:gd name="T77" fmla="*/ 58 h 103"/>
                <a:gd name="T78" fmla="*/ 9 w 152"/>
                <a:gd name="T79" fmla="*/ 46 h 103"/>
                <a:gd name="T80" fmla="*/ 15 w 152"/>
                <a:gd name="T81" fmla="*/ 42 h 103"/>
                <a:gd name="T82" fmla="*/ 21 w 152"/>
                <a:gd name="T83" fmla="*/ 45 h 103"/>
                <a:gd name="T84" fmla="*/ 25 w 152"/>
                <a:gd name="T85" fmla="*/ 39 h 103"/>
                <a:gd name="T86" fmla="*/ 32 w 152"/>
                <a:gd name="T87" fmla="*/ 41 h 103"/>
                <a:gd name="T88" fmla="*/ 49 w 152"/>
                <a:gd name="T89" fmla="*/ 35 h 103"/>
                <a:gd name="T90" fmla="*/ 53 w 152"/>
                <a:gd name="T91" fmla="*/ 30 h 103"/>
                <a:gd name="T92" fmla="*/ 54 w 152"/>
                <a:gd name="T93" fmla="*/ 24 h 103"/>
                <a:gd name="T94" fmla="*/ 65 w 152"/>
                <a:gd name="T95" fmla="*/ 26 h 103"/>
                <a:gd name="T96" fmla="*/ 74 w 152"/>
                <a:gd name="T97" fmla="*/ 20 h 103"/>
                <a:gd name="T98" fmla="*/ 76 w 152"/>
                <a:gd name="T99" fmla="*/ 13 h 103"/>
                <a:gd name="T100" fmla="*/ 81 w 152"/>
                <a:gd name="T101" fmla="*/ 9 h 103"/>
                <a:gd name="T102" fmla="*/ 87 w 152"/>
                <a:gd name="T103" fmla="*/ 4 h 103"/>
                <a:gd name="T104" fmla="*/ 96 w 152"/>
                <a:gd name="T105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2" h="103">
                  <a:moveTo>
                    <a:pt x="96" y="0"/>
                  </a:moveTo>
                  <a:lnTo>
                    <a:pt x="97" y="3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9" y="7"/>
                  </a:lnTo>
                  <a:lnTo>
                    <a:pt x="100" y="8"/>
                  </a:lnTo>
                  <a:lnTo>
                    <a:pt x="103" y="12"/>
                  </a:lnTo>
                  <a:lnTo>
                    <a:pt x="104" y="16"/>
                  </a:lnTo>
                  <a:lnTo>
                    <a:pt x="106" y="18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3" y="24"/>
                  </a:lnTo>
                  <a:lnTo>
                    <a:pt x="103" y="27"/>
                  </a:lnTo>
                  <a:lnTo>
                    <a:pt x="106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4" y="28"/>
                  </a:lnTo>
                  <a:lnTo>
                    <a:pt x="112" y="30"/>
                  </a:lnTo>
                  <a:lnTo>
                    <a:pt x="114" y="33"/>
                  </a:lnTo>
                  <a:lnTo>
                    <a:pt x="115" y="34"/>
                  </a:lnTo>
                  <a:lnTo>
                    <a:pt x="118" y="35"/>
                  </a:lnTo>
                  <a:lnTo>
                    <a:pt x="119" y="35"/>
                  </a:lnTo>
                  <a:lnTo>
                    <a:pt x="122" y="37"/>
                  </a:lnTo>
                  <a:lnTo>
                    <a:pt x="122" y="38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7" y="41"/>
                  </a:lnTo>
                  <a:lnTo>
                    <a:pt x="127" y="42"/>
                  </a:lnTo>
                  <a:lnTo>
                    <a:pt x="126" y="43"/>
                  </a:lnTo>
                  <a:lnTo>
                    <a:pt x="125" y="45"/>
                  </a:lnTo>
                  <a:lnTo>
                    <a:pt x="125" y="46"/>
                  </a:lnTo>
                  <a:lnTo>
                    <a:pt x="126" y="47"/>
                  </a:lnTo>
                  <a:lnTo>
                    <a:pt x="129" y="47"/>
                  </a:lnTo>
                  <a:lnTo>
                    <a:pt x="130" y="47"/>
                  </a:lnTo>
                  <a:lnTo>
                    <a:pt x="131" y="49"/>
                  </a:lnTo>
                  <a:lnTo>
                    <a:pt x="133" y="49"/>
                  </a:lnTo>
                  <a:lnTo>
                    <a:pt x="136" y="50"/>
                  </a:lnTo>
                  <a:lnTo>
                    <a:pt x="137" y="52"/>
                  </a:lnTo>
                  <a:lnTo>
                    <a:pt x="137" y="56"/>
                  </a:lnTo>
                  <a:lnTo>
                    <a:pt x="138" y="57"/>
                  </a:lnTo>
                  <a:lnTo>
                    <a:pt x="141" y="57"/>
                  </a:lnTo>
                  <a:lnTo>
                    <a:pt x="141" y="58"/>
                  </a:lnTo>
                  <a:lnTo>
                    <a:pt x="141" y="61"/>
                  </a:lnTo>
                  <a:lnTo>
                    <a:pt x="142" y="62"/>
                  </a:lnTo>
                  <a:lnTo>
                    <a:pt x="146" y="62"/>
                  </a:lnTo>
                  <a:lnTo>
                    <a:pt x="148" y="64"/>
                  </a:lnTo>
                  <a:lnTo>
                    <a:pt x="148" y="65"/>
                  </a:lnTo>
                  <a:lnTo>
                    <a:pt x="148" y="69"/>
                  </a:lnTo>
                  <a:lnTo>
                    <a:pt x="149" y="71"/>
                  </a:lnTo>
                  <a:lnTo>
                    <a:pt x="152" y="72"/>
                  </a:lnTo>
                  <a:lnTo>
                    <a:pt x="152" y="73"/>
                  </a:lnTo>
                  <a:lnTo>
                    <a:pt x="152" y="73"/>
                  </a:lnTo>
                  <a:lnTo>
                    <a:pt x="152" y="73"/>
                  </a:lnTo>
                  <a:lnTo>
                    <a:pt x="150" y="72"/>
                  </a:lnTo>
                  <a:lnTo>
                    <a:pt x="148" y="72"/>
                  </a:lnTo>
                  <a:lnTo>
                    <a:pt x="144" y="73"/>
                  </a:lnTo>
                  <a:lnTo>
                    <a:pt x="142" y="73"/>
                  </a:lnTo>
                  <a:lnTo>
                    <a:pt x="138" y="73"/>
                  </a:lnTo>
                  <a:lnTo>
                    <a:pt x="137" y="72"/>
                  </a:lnTo>
                  <a:lnTo>
                    <a:pt x="136" y="71"/>
                  </a:lnTo>
                  <a:lnTo>
                    <a:pt x="134" y="71"/>
                  </a:lnTo>
                  <a:lnTo>
                    <a:pt x="133" y="71"/>
                  </a:lnTo>
                  <a:lnTo>
                    <a:pt x="130" y="71"/>
                  </a:lnTo>
                  <a:lnTo>
                    <a:pt x="129" y="69"/>
                  </a:lnTo>
                  <a:lnTo>
                    <a:pt x="127" y="69"/>
                  </a:lnTo>
                  <a:lnTo>
                    <a:pt x="127" y="71"/>
                  </a:lnTo>
                  <a:lnTo>
                    <a:pt x="127" y="71"/>
                  </a:lnTo>
                  <a:lnTo>
                    <a:pt x="126" y="73"/>
                  </a:lnTo>
                  <a:lnTo>
                    <a:pt x="125" y="73"/>
                  </a:lnTo>
                  <a:lnTo>
                    <a:pt x="123" y="73"/>
                  </a:lnTo>
                  <a:lnTo>
                    <a:pt x="121" y="73"/>
                  </a:lnTo>
                  <a:lnTo>
                    <a:pt x="119" y="75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6" y="73"/>
                  </a:lnTo>
                  <a:lnTo>
                    <a:pt x="116" y="72"/>
                  </a:lnTo>
                  <a:lnTo>
                    <a:pt x="115" y="72"/>
                  </a:lnTo>
                  <a:lnTo>
                    <a:pt x="110" y="75"/>
                  </a:lnTo>
                  <a:lnTo>
                    <a:pt x="108" y="75"/>
                  </a:lnTo>
                  <a:lnTo>
                    <a:pt x="107" y="76"/>
                  </a:lnTo>
                  <a:lnTo>
                    <a:pt x="102" y="77"/>
                  </a:lnTo>
                  <a:lnTo>
                    <a:pt x="100" y="77"/>
                  </a:lnTo>
                  <a:lnTo>
                    <a:pt x="99" y="76"/>
                  </a:lnTo>
                  <a:lnTo>
                    <a:pt x="97" y="76"/>
                  </a:lnTo>
                  <a:lnTo>
                    <a:pt x="95" y="76"/>
                  </a:lnTo>
                  <a:lnTo>
                    <a:pt x="93" y="77"/>
                  </a:lnTo>
                  <a:lnTo>
                    <a:pt x="91" y="80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3"/>
                  </a:lnTo>
                  <a:lnTo>
                    <a:pt x="89" y="83"/>
                  </a:lnTo>
                  <a:lnTo>
                    <a:pt x="88" y="83"/>
                  </a:lnTo>
                  <a:lnTo>
                    <a:pt x="85" y="83"/>
                  </a:lnTo>
                  <a:lnTo>
                    <a:pt x="84" y="81"/>
                  </a:lnTo>
                  <a:lnTo>
                    <a:pt x="83" y="81"/>
                  </a:lnTo>
                  <a:lnTo>
                    <a:pt x="80" y="81"/>
                  </a:lnTo>
                  <a:lnTo>
                    <a:pt x="78" y="81"/>
                  </a:lnTo>
                  <a:lnTo>
                    <a:pt x="76" y="81"/>
                  </a:lnTo>
                  <a:lnTo>
                    <a:pt x="73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68" y="77"/>
                  </a:lnTo>
                  <a:lnTo>
                    <a:pt x="65" y="76"/>
                  </a:lnTo>
                  <a:lnTo>
                    <a:pt x="62" y="73"/>
                  </a:lnTo>
                  <a:lnTo>
                    <a:pt x="61" y="73"/>
                  </a:lnTo>
                  <a:lnTo>
                    <a:pt x="59" y="72"/>
                  </a:lnTo>
                  <a:lnTo>
                    <a:pt x="58" y="72"/>
                  </a:lnTo>
                  <a:lnTo>
                    <a:pt x="58" y="73"/>
                  </a:lnTo>
                  <a:lnTo>
                    <a:pt x="55" y="73"/>
                  </a:lnTo>
                  <a:lnTo>
                    <a:pt x="54" y="75"/>
                  </a:lnTo>
                  <a:lnTo>
                    <a:pt x="53" y="75"/>
                  </a:lnTo>
                  <a:lnTo>
                    <a:pt x="51" y="76"/>
                  </a:lnTo>
                  <a:lnTo>
                    <a:pt x="51" y="77"/>
                  </a:lnTo>
                  <a:lnTo>
                    <a:pt x="50" y="79"/>
                  </a:lnTo>
                  <a:lnTo>
                    <a:pt x="50" y="80"/>
                  </a:lnTo>
                  <a:lnTo>
                    <a:pt x="49" y="80"/>
                  </a:lnTo>
                  <a:lnTo>
                    <a:pt x="47" y="80"/>
                  </a:lnTo>
                  <a:lnTo>
                    <a:pt x="47" y="81"/>
                  </a:lnTo>
                  <a:lnTo>
                    <a:pt x="50" y="84"/>
                  </a:lnTo>
                  <a:lnTo>
                    <a:pt x="49" y="86"/>
                  </a:lnTo>
                  <a:lnTo>
                    <a:pt x="49" y="87"/>
                  </a:lnTo>
                  <a:lnTo>
                    <a:pt x="49" y="88"/>
                  </a:lnTo>
                  <a:lnTo>
                    <a:pt x="47" y="90"/>
                  </a:lnTo>
                  <a:lnTo>
                    <a:pt x="46" y="90"/>
                  </a:lnTo>
                  <a:lnTo>
                    <a:pt x="43" y="88"/>
                  </a:lnTo>
                  <a:lnTo>
                    <a:pt x="43" y="87"/>
                  </a:lnTo>
                  <a:lnTo>
                    <a:pt x="40" y="87"/>
                  </a:lnTo>
                  <a:lnTo>
                    <a:pt x="39" y="87"/>
                  </a:lnTo>
                  <a:lnTo>
                    <a:pt x="38" y="88"/>
                  </a:lnTo>
                  <a:lnTo>
                    <a:pt x="36" y="88"/>
                  </a:lnTo>
                  <a:lnTo>
                    <a:pt x="31" y="90"/>
                  </a:lnTo>
                  <a:lnTo>
                    <a:pt x="29" y="91"/>
                  </a:lnTo>
                  <a:lnTo>
                    <a:pt x="28" y="92"/>
                  </a:lnTo>
                  <a:lnTo>
                    <a:pt x="25" y="95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9" y="98"/>
                  </a:lnTo>
                  <a:lnTo>
                    <a:pt x="15" y="95"/>
                  </a:lnTo>
                  <a:lnTo>
                    <a:pt x="13" y="94"/>
                  </a:lnTo>
                  <a:lnTo>
                    <a:pt x="12" y="91"/>
                  </a:lnTo>
                  <a:lnTo>
                    <a:pt x="9" y="87"/>
                  </a:lnTo>
                  <a:lnTo>
                    <a:pt x="8" y="84"/>
                  </a:lnTo>
                  <a:lnTo>
                    <a:pt x="6" y="81"/>
                  </a:lnTo>
                  <a:lnTo>
                    <a:pt x="2" y="80"/>
                  </a:lnTo>
                  <a:lnTo>
                    <a:pt x="2" y="79"/>
                  </a:lnTo>
                  <a:lnTo>
                    <a:pt x="2" y="75"/>
                  </a:lnTo>
                  <a:lnTo>
                    <a:pt x="1" y="72"/>
                  </a:lnTo>
                  <a:lnTo>
                    <a:pt x="1" y="69"/>
                  </a:lnTo>
                  <a:lnTo>
                    <a:pt x="1" y="65"/>
                  </a:lnTo>
                  <a:lnTo>
                    <a:pt x="0" y="62"/>
                  </a:lnTo>
                  <a:lnTo>
                    <a:pt x="0" y="60"/>
                  </a:lnTo>
                  <a:lnTo>
                    <a:pt x="1" y="58"/>
                  </a:lnTo>
                  <a:lnTo>
                    <a:pt x="2" y="58"/>
                  </a:lnTo>
                  <a:lnTo>
                    <a:pt x="5" y="54"/>
                  </a:lnTo>
                  <a:lnTo>
                    <a:pt x="5" y="52"/>
                  </a:lnTo>
                  <a:lnTo>
                    <a:pt x="8" y="47"/>
                  </a:lnTo>
                  <a:lnTo>
                    <a:pt x="9" y="46"/>
                  </a:lnTo>
                  <a:lnTo>
                    <a:pt x="10" y="45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5" y="42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9" y="45"/>
                  </a:lnTo>
                  <a:lnTo>
                    <a:pt x="21" y="45"/>
                  </a:lnTo>
                  <a:lnTo>
                    <a:pt x="23" y="42"/>
                  </a:lnTo>
                  <a:lnTo>
                    <a:pt x="23" y="39"/>
                  </a:lnTo>
                  <a:lnTo>
                    <a:pt x="24" y="38"/>
                  </a:lnTo>
                  <a:lnTo>
                    <a:pt x="25" y="39"/>
                  </a:lnTo>
                  <a:lnTo>
                    <a:pt x="27" y="42"/>
                  </a:lnTo>
                  <a:lnTo>
                    <a:pt x="28" y="43"/>
                  </a:lnTo>
                  <a:lnTo>
                    <a:pt x="29" y="42"/>
                  </a:lnTo>
                  <a:lnTo>
                    <a:pt x="32" y="41"/>
                  </a:lnTo>
                  <a:lnTo>
                    <a:pt x="36" y="39"/>
                  </a:lnTo>
                  <a:lnTo>
                    <a:pt x="39" y="37"/>
                  </a:lnTo>
                  <a:lnTo>
                    <a:pt x="46" y="35"/>
                  </a:lnTo>
                  <a:lnTo>
                    <a:pt x="49" y="35"/>
                  </a:lnTo>
                  <a:lnTo>
                    <a:pt x="50" y="34"/>
                  </a:lnTo>
                  <a:lnTo>
                    <a:pt x="54" y="31"/>
                  </a:lnTo>
                  <a:lnTo>
                    <a:pt x="54" y="30"/>
                  </a:lnTo>
                  <a:lnTo>
                    <a:pt x="53" y="30"/>
                  </a:lnTo>
                  <a:lnTo>
                    <a:pt x="50" y="27"/>
                  </a:lnTo>
                  <a:lnTo>
                    <a:pt x="50" y="26"/>
                  </a:lnTo>
                  <a:lnTo>
                    <a:pt x="53" y="24"/>
                  </a:lnTo>
                  <a:lnTo>
                    <a:pt x="54" y="24"/>
                  </a:lnTo>
                  <a:lnTo>
                    <a:pt x="57" y="24"/>
                  </a:lnTo>
                  <a:lnTo>
                    <a:pt x="58" y="26"/>
                  </a:lnTo>
                  <a:lnTo>
                    <a:pt x="62" y="26"/>
                  </a:lnTo>
                  <a:lnTo>
                    <a:pt x="65" y="26"/>
                  </a:lnTo>
                  <a:lnTo>
                    <a:pt x="69" y="24"/>
                  </a:lnTo>
                  <a:lnTo>
                    <a:pt x="72" y="23"/>
                  </a:lnTo>
                  <a:lnTo>
                    <a:pt x="73" y="22"/>
                  </a:lnTo>
                  <a:lnTo>
                    <a:pt x="74" y="20"/>
                  </a:lnTo>
                  <a:lnTo>
                    <a:pt x="73" y="19"/>
                  </a:lnTo>
                  <a:lnTo>
                    <a:pt x="74" y="16"/>
                  </a:lnTo>
                  <a:lnTo>
                    <a:pt x="76" y="15"/>
                  </a:lnTo>
                  <a:lnTo>
                    <a:pt x="76" y="13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80" y="12"/>
                  </a:lnTo>
                  <a:lnTo>
                    <a:pt x="81" y="9"/>
                  </a:lnTo>
                  <a:lnTo>
                    <a:pt x="83" y="8"/>
                  </a:lnTo>
                  <a:lnTo>
                    <a:pt x="83" y="7"/>
                  </a:lnTo>
                  <a:lnTo>
                    <a:pt x="83" y="5"/>
                  </a:lnTo>
                  <a:lnTo>
                    <a:pt x="87" y="4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6" y="1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5" name="Freeform 95"/>
            <p:cNvSpPr>
              <a:spLocks/>
            </p:cNvSpPr>
            <p:nvPr/>
          </p:nvSpPr>
          <p:spPr bwMode="auto">
            <a:xfrm>
              <a:off x="2076" y="1598"/>
              <a:ext cx="182" cy="169"/>
            </a:xfrm>
            <a:custGeom>
              <a:avLst/>
              <a:gdLst>
                <a:gd name="T0" fmla="*/ 170 w 182"/>
                <a:gd name="T1" fmla="*/ 165 h 169"/>
                <a:gd name="T2" fmla="*/ 177 w 182"/>
                <a:gd name="T3" fmla="*/ 48 h 169"/>
                <a:gd name="T4" fmla="*/ 174 w 182"/>
                <a:gd name="T5" fmla="*/ 38 h 169"/>
                <a:gd name="T6" fmla="*/ 177 w 182"/>
                <a:gd name="T7" fmla="*/ 30 h 169"/>
                <a:gd name="T8" fmla="*/ 175 w 182"/>
                <a:gd name="T9" fmla="*/ 25 h 169"/>
                <a:gd name="T10" fmla="*/ 178 w 182"/>
                <a:gd name="T11" fmla="*/ 18 h 169"/>
                <a:gd name="T12" fmla="*/ 175 w 182"/>
                <a:gd name="T13" fmla="*/ 13 h 169"/>
                <a:gd name="T14" fmla="*/ 170 w 182"/>
                <a:gd name="T15" fmla="*/ 13 h 169"/>
                <a:gd name="T16" fmla="*/ 160 w 182"/>
                <a:gd name="T17" fmla="*/ 11 h 169"/>
                <a:gd name="T18" fmla="*/ 154 w 182"/>
                <a:gd name="T19" fmla="*/ 10 h 169"/>
                <a:gd name="T20" fmla="*/ 154 w 182"/>
                <a:gd name="T21" fmla="*/ 7 h 169"/>
                <a:gd name="T22" fmla="*/ 148 w 182"/>
                <a:gd name="T23" fmla="*/ 3 h 169"/>
                <a:gd name="T24" fmla="*/ 141 w 182"/>
                <a:gd name="T25" fmla="*/ 2 h 169"/>
                <a:gd name="T26" fmla="*/ 140 w 182"/>
                <a:gd name="T27" fmla="*/ 3 h 169"/>
                <a:gd name="T28" fmla="*/ 136 w 182"/>
                <a:gd name="T29" fmla="*/ 2 h 169"/>
                <a:gd name="T30" fmla="*/ 126 w 182"/>
                <a:gd name="T31" fmla="*/ 4 h 169"/>
                <a:gd name="T32" fmla="*/ 120 w 182"/>
                <a:gd name="T33" fmla="*/ 9 h 169"/>
                <a:gd name="T34" fmla="*/ 117 w 182"/>
                <a:gd name="T35" fmla="*/ 14 h 169"/>
                <a:gd name="T36" fmla="*/ 118 w 182"/>
                <a:gd name="T37" fmla="*/ 24 h 169"/>
                <a:gd name="T38" fmla="*/ 120 w 182"/>
                <a:gd name="T39" fmla="*/ 30 h 169"/>
                <a:gd name="T40" fmla="*/ 116 w 182"/>
                <a:gd name="T41" fmla="*/ 34 h 169"/>
                <a:gd name="T42" fmla="*/ 109 w 182"/>
                <a:gd name="T43" fmla="*/ 38 h 169"/>
                <a:gd name="T44" fmla="*/ 99 w 182"/>
                <a:gd name="T45" fmla="*/ 33 h 169"/>
                <a:gd name="T46" fmla="*/ 91 w 182"/>
                <a:gd name="T47" fmla="*/ 28 h 169"/>
                <a:gd name="T48" fmla="*/ 79 w 182"/>
                <a:gd name="T49" fmla="*/ 24 h 169"/>
                <a:gd name="T50" fmla="*/ 72 w 182"/>
                <a:gd name="T51" fmla="*/ 24 h 169"/>
                <a:gd name="T52" fmla="*/ 65 w 182"/>
                <a:gd name="T53" fmla="*/ 15 h 169"/>
                <a:gd name="T54" fmla="*/ 63 w 182"/>
                <a:gd name="T55" fmla="*/ 7 h 169"/>
                <a:gd name="T56" fmla="*/ 50 w 182"/>
                <a:gd name="T57" fmla="*/ 4 h 169"/>
                <a:gd name="T58" fmla="*/ 41 w 182"/>
                <a:gd name="T59" fmla="*/ 2 h 169"/>
                <a:gd name="T60" fmla="*/ 27 w 182"/>
                <a:gd name="T61" fmla="*/ 3 h 169"/>
                <a:gd name="T62" fmla="*/ 22 w 182"/>
                <a:gd name="T63" fmla="*/ 0 h 169"/>
                <a:gd name="T64" fmla="*/ 22 w 182"/>
                <a:gd name="T65" fmla="*/ 6 h 169"/>
                <a:gd name="T66" fmla="*/ 20 w 182"/>
                <a:gd name="T67" fmla="*/ 10 h 169"/>
                <a:gd name="T68" fmla="*/ 14 w 182"/>
                <a:gd name="T69" fmla="*/ 15 h 169"/>
                <a:gd name="T70" fmla="*/ 10 w 182"/>
                <a:gd name="T71" fmla="*/ 18 h 169"/>
                <a:gd name="T72" fmla="*/ 7 w 182"/>
                <a:gd name="T73" fmla="*/ 21 h 169"/>
                <a:gd name="T74" fmla="*/ 8 w 182"/>
                <a:gd name="T75" fmla="*/ 26 h 169"/>
                <a:gd name="T76" fmla="*/ 7 w 182"/>
                <a:gd name="T77" fmla="*/ 30 h 169"/>
                <a:gd name="T78" fmla="*/ 7 w 182"/>
                <a:gd name="T79" fmla="*/ 32 h 169"/>
                <a:gd name="T80" fmla="*/ 4 w 182"/>
                <a:gd name="T81" fmla="*/ 36 h 169"/>
                <a:gd name="T82" fmla="*/ 1 w 182"/>
                <a:gd name="T83" fmla="*/ 36 h 169"/>
                <a:gd name="T84" fmla="*/ 0 w 182"/>
                <a:gd name="T85" fmla="*/ 37 h 169"/>
                <a:gd name="T86" fmla="*/ 1 w 182"/>
                <a:gd name="T87" fmla="*/ 41 h 169"/>
                <a:gd name="T88" fmla="*/ 3 w 182"/>
                <a:gd name="T89" fmla="*/ 52 h 169"/>
                <a:gd name="T90" fmla="*/ 3 w 182"/>
                <a:gd name="T91" fmla="*/ 57 h 169"/>
                <a:gd name="T92" fmla="*/ 5 w 182"/>
                <a:gd name="T93" fmla="*/ 67 h 169"/>
                <a:gd name="T94" fmla="*/ 4 w 182"/>
                <a:gd name="T95" fmla="*/ 74 h 169"/>
                <a:gd name="T96" fmla="*/ 5 w 182"/>
                <a:gd name="T97" fmla="*/ 82 h 169"/>
                <a:gd name="T98" fmla="*/ 1 w 182"/>
                <a:gd name="T99" fmla="*/ 85 h 169"/>
                <a:gd name="T100" fmla="*/ 0 w 182"/>
                <a:gd name="T101" fmla="*/ 87 h 169"/>
                <a:gd name="T102" fmla="*/ 4 w 182"/>
                <a:gd name="T103" fmla="*/ 93 h 169"/>
                <a:gd name="T104" fmla="*/ 7 w 182"/>
                <a:gd name="T105" fmla="*/ 98 h 169"/>
                <a:gd name="T106" fmla="*/ 7 w 182"/>
                <a:gd name="T107" fmla="*/ 102 h 169"/>
                <a:gd name="T108" fmla="*/ 10 w 182"/>
                <a:gd name="T109" fmla="*/ 106 h 169"/>
                <a:gd name="T110" fmla="*/ 11 w 182"/>
                <a:gd name="T111" fmla="*/ 111 h 169"/>
                <a:gd name="T112" fmla="*/ 20 w 182"/>
                <a:gd name="T113" fmla="*/ 111 h 169"/>
                <a:gd name="T114" fmla="*/ 23 w 182"/>
                <a:gd name="T115" fmla="*/ 115 h 169"/>
                <a:gd name="T116" fmla="*/ 27 w 182"/>
                <a:gd name="T117" fmla="*/ 120 h 169"/>
                <a:gd name="T118" fmla="*/ 30 w 182"/>
                <a:gd name="T119" fmla="*/ 124 h 169"/>
                <a:gd name="T120" fmla="*/ 53 w 182"/>
                <a:gd name="T121" fmla="*/ 131 h 169"/>
                <a:gd name="T122" fmla="*/ 170 w 182"/>
                <a:gd name="T123" fmla="*/ 169 h 169"/>
                <a:gd name="T124" fmla="*/ 170 w 182"/>
                <a:gd name="T12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169">
                  <a:moveTo>
                    <a:pt x="170" y="169"/>
                  </a:moveTo>
                  <a:lnTo>
                    <a:pt x="170" y="165"/>
                  </a:lnTo>
                  <a:lnTo>
                    <a:pt x="182" y="164"/>
                  </a:lnTo>
                  <a:lnTo>
                    <a:pt x="177" y="48"/>
                  </a:lnTo>
                  <a:lnTo>
                    <a:pt x="175" y="41"/>
                  </a:lnTo>
                  <a:lnTo>
                    <a:pt x="174" y="38"/>
                  </a:lnTo>
                  <a:lnTo>
                    <a:pt x="175" y="34"/>
                  </a:lnTo>
                  <a:lnTo>
                    <a:pt x="177" y="30"/>
                  </a:lnTo>
                  <a:lnTo>
                    <a:pt x="177" y="29"/>
                  </a:lnTo>
                  <a:lnTo>
                    <a:pt x="175" y="25"/>
                  </a:lnTo>
                  <a:lnTo>
                    <a:pt x="177" y="21"/>
                  </a:lnTo>
                  <a:lnTo>
                    <a:pt x="178" y="18"/>
                  </a:lnTo>
                  <a:lnTo>
                    <a:pt x="177" y="15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0" y="13"/>
                  </a:lnTo>
                  <a:lnTo>
                    <a:pt x="163" y="13"/>
                  </a:lnTo>
                  <a:lnTo>
                    <a:pt x="160" y="11"/>
                  </a:lnTo>
                  <a:lnTo>
                    <a:pt x="158" y="10"/>
                  </a:lnTo>
                  <a:lnTo>
                    <a:pt x="154" y="10"/>
                  </a:lnTo>
                  <a:lnTo>
                    <a:pt x="152" y="9"/>
                  </a:lnTo>
                  <a:lnTo>
                    <a:pt x="154" y="7"/>
                  </a:lnTo>
                  <a:lnTo>
                    <a:pt x="154" y="6"/>
                  </a:lnTo>
                  <a:lnTo>
                    <a:pt x="148" y="3"/>
                  </a:lnTo>
                  <a:lnTo>
                    <a:pt x="146" y="3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0" y="3"/>
                  </a:lnTo>
                  <a:lnTo>
                    <a:pt x="137" y="2"/>
                  </a:lnTo>
                  <a:lnTo>
                    <a:pt x="136" y="2"/>
                  </a:lnTo>
                  <a:lnTo>
                    <a:pt x="133" y="3"/>
                  </a:lnTo>
                  <a:lnTo>
                    <a:pt x="126" y="4"/>
                  </a:lnTo>
                  <a:lnTo>
                    <a:pt x="122" y="6"/>
                  </a:lnTo>
                  <a:lnTo>
                    <a:pt x="120" y="9"/>
                  </a:lnTo>
                  <a:lnTo>
                    <a:pt x="118" y="13"/>
                  </a:lnTo>
                  <a:lnTo>
                    <a:pt x="117" y="14"/>
                  </a:lnTo>
                  <a:lnTo>
                    <a:pt x="117" y="19"/>
                  </a:lnTo>
                  <a:lnTo>
                    <a:pt x="118" y="24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17" y="33"/>
                  </a:lnTo>
                  <a:lnTo>
                    <a:pt x="116" y="34"/>
                  </a:lnTo>
                  <a:lnTo>
                    <a:pt x="112" y="37"/>
                  </a:lnTo>
                  <a:lnTo>
                    <a:pt x="109" y="38"/>
                  </a:lnTo>
                  <a:lnTo>
                    <a:pt x="105" y="37"/>
                  </a:lnTo>
                  <a:lnTo>
                    <a:pt x="99" y="33"/>
                  </a:lnTo>
                  <a:lnTo>
                    <a:pt x="97" y="30"/>
                  </a:lnTo>
                  <a:lnTo>
                    <a:pt x="91" y="28"/>
                  </a:lnTo>
                  <a:lnTo>
                    <a:pt x="82" y="24"/>
                  </a:lnTo>
                  <a:lnTo>
                    <a:pt x="79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69" y="22"/>
                  </a:lnTo>
                  <a:lnTo>
                    <a:pt x="65" y="15"/>
                  </a:lnTo>
                  <a:lnTo>
                    <a:pt x="65" y="11"/>
                  </a:lnTo>
                  <a:lnTo>
                    <a:pt x="63" y="7"/>
                  </a:lnTo>
                  <a:lnTo>
                    <a:pt x="54" y="6"/>
                  </a:lnTo>
                  <a:lnTo>
                    <a:pt x="50" y="4"/>
                  </a:lnTo>
                  <a:lnTo>
                    <a:pt x="45" y="3"/>
                  </a:lnTo>
                  <a:lnTo>
                    <a:pt x="41" y="2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0" y="10"/>
                  </a:lnTo>
                  <a:lnTo>
                    <a:pt x="14" y="14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7" y="22"/>
                  </a:lnTo>
                  <a:lnTo>
                    <a:pt x="8" y="26"/>
                  </a:lnTo>
                  <a:lnTo>
                    <a:pt x="8" y="29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2"/>
                  </a:lnTo>
                  <a:lnTo>
                    <a:pt x="5" y="34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7"/>
                  </a:lnTo>
                  <a:lnTo>
                    <a:pt x="0" y="41"/>
                  </a:lnTo>
                  <a:lnTo>
                    <a:pt x="1" y="41"/>
                  </a:lnTo>
                  <a:lnTo>
                    <a:pt x="3" y="44"/>
                  </a:lnTo>
                  <a:lnTo>
                    <a:pt x="3" y="52"/>
                  </a:lnTo>
                  <a:lnTo>
                    <a:pt x="4" y="56"/>
                  </a:lnTo>
                  <a:lnTo>
                    <a:pt x="3" y="57"/>
                  </a:lnTo>
                  <a:lnTo>
                    <a:pt x="4" y="63"/>
                  </a:lnTo>
                  <a:lnTo>
                    <a:pt x="5" y="67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5" y="78"/>
                  </a:lnTo>
                  <a:lnTo>
                    <a:pt x="5" y="82"/>
                  </a:lnTo>
                  <a:lnTo>
                    <a:pt x="4" y="83"/>
                  </a:lnTo>
                  <a:lnTo>
                    <a:pt x="1" y="85"/>
                  </a:lnTo>
                  <a:lnTo>
                    <a:pt x="1" y="86"/>
                  </a:lnTo>
                  <a:lnTo>
                    <a:pt x="0" y="87"/>
                  </a:lnTo>
                  <a:lnTo>
                    <a:pt x="1" y="89"/>
                  </a:lnTo>
                  <a:lnTo>
                    <a:pt x="4" y="93"/>
                  </a:lnTo>
                  <a:lnTo>
                    <a:pt x="7" y="97"/>
                  </a:lnTo>
                  <a:lnTo>
                    <a:pt x="7" y="98"/>
                  </a:lnTo>
                  <a:lnTo>
                    <a:pt x="8" y="101"/>
                  </a:lnTo>
                  <a:lnTo>
                    <a:pt x="7" y="102"/>
                  </a:lnTo>
                  <a:lnTo>
                    <a:pt x="8" y="105"/>
                  </a:lnTo>
                  <a:lnTo>
                    <a:pt x="10" y="106"/>
                  </a:lnTo>
                  <a:lnTo>
                    <a:pt x="10" y="109"/>
                  </a:lnTo>
                  <a:lnTo>
                    <a:pt x="11" y="111"/>
                  </a:lnTo>
                  <a:lnTo>
                    <a:pt x="15" y="111"/>
                  </a:lnTo>
                  <a:lnTo>
                    <a:pt x="20" y="111"/>
                  </a:lnTo>
                  <a:lnTo>
                    <a:pt x="22" y="112"/>
                  </a:lnTo>
                  <a:lnTo>
                    <a:pt x="23" y="115"/>
                  </a:lnTo>
                  <a:lnTo>
                    <a:pt x="26" y="120"/>
                  </a:lnTo>
                  <a:lnTo>
                    <a:pt x="27" y="120"/>
                  </a:lnTo>
                  <a:lnTo>
                    <a:pt x="29" y="123"/>
                  </a:lnTo>
                  <a:lnTo>
                    <a:pt x="30" y="124"/>
                  </a:lnTo>
                  <a:lnTo>
                    <a:pt x="50" y="128"/>
                  </a:lnTo>
                  <a:lnTo>
                    <a:pt x="53" y="131"/>
                  </a:lnTo>
                  <a:lnTo>
                    <a:pt x="76" y="121"/>
                  </a:lnTo>
                  <a:lnTo>
                    <a:pt x="170" y="169"/>
                  </a:lnTo>
                  <a:lnTo>
                    <a:pt x="170" y="169"/>
                  </a:lnTo>
                  <a:lnTo>
                    <a:pt x="170" y="16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6" name="Freeform 96"/>
            <p:cNvSpPr>
              <a:spLocks/>
            </p:cNvSpPr>
            <p:nvPr/>
          </p:nvSpPr>
          <p:spPr bwMode="auto">
            <a:xfrm>
              <a:off x="2053" y="1543"/>
              <a:ext cx="46" cy="91"/>
            </a:xfrm>
            <a:custGeom>
              <a:avLst/>
              <a:gdLst>
                <a:gd name="T0" fmla="*/ 26 w 46"/>
                <a:gd name="T1" fmla="*/ 91 h 91"/>
                <a:gd name="T2" fmla="*/ 28 w 46"/>
                <a:gd name="T3" fmla="*/ 89 h 91"/>
                <a:gd name="T4" fmla="*/ 30 w 46"/>
                <a:gd name="T5" fmla="*/ 85 h 91"/>
                <a:gd name="T6" fmla="*/ 31 w 46"/>
                <a:gd name="T7" fmla="*/ 84 h 91"/>
                <a:gd name="T8" fmla="*/ 30 w 46"/>
                <a:gd name="T9" fmla="*/ 77 h 91"/>
                <a:gd name="T10" fmla="*/ 30 w 46"/>
                <a:gd name="T11" fmla="*/ 74 h 91"/>
                <a:gd name="T12" fmla="*/ 35 w 46"/>
                <a:gd name="T13" fmla="*/ 73 h 91"/>
                <a:gd name="T14" fmla="*/ 37 w 46"/>
                <a:gd name="T15" fmla="*/ 69 h 91"/>
                <a:gd name="T16" fmla="*/ 46 w 46"/>
                <a:gd name="T17" fmla="*/ 61 h 91"/>
                <a:gd name="T18" fmla="*/ 45 w 46"/>
                <a:gd name="T19" fmla="*/ 55 h 91"/>
                <a:gd name="T20" fmla="*/ 43 w 46"/>
                <a:gd name="T21" fmla="*/ 54 h 91"/>
                <a:gd name="T22" fmla="*/ 39 w 46"/>
                <a:gd name="T23" fmla="*/ 51 h 91"/>
                <a:gd name="T24" fmla="*/ 38 w 46"/>
                <a:gd name="T25" fmla="*/ 49 h 91"/>
                <a:gd name="T26" fmla="*/ 37 w 46"/>
                <a:gd name="T27" fmla="*/ 50 h 91"/>
                <a:gd name="T28" fmla="*/ 35 w 46"/>
                <a:gd name="T29" fmla="*/ 50 h 91"/>
                <a:gd name="T30" fmla="*/ 33 w 46"/>
                <a:gd name="T31" fmla="*/ 49 h 91"/>
                <a:gd name="T32" fmla="*/ 27 w 46"/>
                <a:gd name="T33" fmla="*/ 43 h 91"/>
                <a:gd name="T34" fmla="*/ 34 w 46"/>
                <a:gd name="T35" fmla="*/ 35 h 91"/>
                <a:gd name="T36" fmla="*/ 38 w 46"/>
                <a:gd name="T37" fmla="*/ 31 h 91"/>
                <a:gd name="T38" fmla="*/ 38 w 46"/>
                <a:gd name="T39" fmla="*/ 28 h 91"/>
                <a:gd name="T40" fmla="*/ 37 w 46"/>
                <a:gd name="T41" fmla="*/ 25 h 91"/>
                <a:gd name="T42" fmla="*/ 34 w 46"/>
                <a:gd name="T43" fmla="*/ 20 h 91"/>
                <a:gd name="T44" fmla="*/ 31 w 46"/>
                <a:gd name="T45" fmla="*/ 13 h 91"/>
                <a:gd name="T46" fmla="*/ 34 w 46"/>
                <a:gd name="T47" fmla="*/ 9 h 91"/>
                <a:gd name="T48" fmla="*/ 37 w 46"/>
                <a:gd name="T49" fmla="*/ 4 h 91"/>
                <a:gd name="T50" fmla="*/ 31 w 46"/>
                <a:gd name="T51" fmla="*/ 6 h 91"/>
                <a:gd name="T52" fmla="*/ 28 w 46"/>
                <a:gd name="T53" fmla="*/ 8 h 91"/>
                <a:gd name="T54" fmla="*/ 26 w 46"/>
                <a:gd name="T55" fmla="*/ 4 h 91"/>
                <a:gd name="T56" fmla="*/ 24 w 46"/>
                <a:gd name="T57" fmla="*/ 0 h 91"/>
                <a:gd name="T58" fmla="*/ 22 w 46"/>
                <a:gd name="T59" fmla="*/ 2 h 91"/>
                <a:gd name="T60" fmla="*/ 18 w 46"/>
                <a:gd name="T61" fmla="*/ 1 h 91"/>
                <a:gd name="T62" fmla="*/ 11 w 46"/>
                <a:gd name="T63" fmla="*/ 5 h 91"/>
                <a:gd name="T64" fmla="*/ 11 w 46"/>
                <a:gd name="T65" fmla="*/ 8 h 91"/>
                <a:gd name="T66" fmla="*/ 11 w 46"/>
                <a:gd name="T67" fmla="*/ 12 h 91"/>
                <a:gd name="T68" fmla="*/ 8 w 46"/>
                <a:gd name="T69" fmla="*/ 21 h 91"/>
                <a:gd name="T70" fmla="*/ 11 w 46"/>
                <a:gd name="T71" fmla="*/ 25 h 91"/>
                <a:gd name="T72" fmla="*/ 9 w 46"/>
                <a:gd name="T73" fmla="*/ 28 h 91"/>
                <a:gd name="T74" fmla="*/ 11 w 46"/>
                <a:gd name="T75" fmla="*/ 31 h 91"/>
                <a:gd name="T76" fmla="*/ 8 w 46"/>
                <a:gd name="T77" fmla="*/ 36 h 91"/>
                <a:gd name="T78" fmla="*/ 5 w 46"/>
                <a:gd name="T79" fmla="*/ 39 h 91"/>
                <a:gd name="T80" fmla="*/ 1 w 46"/>
                <a:gd name="T81" fmla="*/ 43 h 91"/>
                <a:gd name="T82" fmla="*/ 1 w 46"/>
                <a:gd name="T83" fmla="*/ 49 h 91"/>
                <a:gd name="T84" fmla="*/ 1 w 46"/>
                <a:gd name="T85" fmla="*/ 53 h 91"/>
                <a:gd name="T86" fmla="*/ 4 w 46"/>
                <a:gd name="T87" fmla="*/ 55 h 91"/>
                <a:gd name="T88" fmla="*/ 8 w 46"/>
                <a:gd name="T89" fmla="*/ 61 h 91"/>
                <a:gd name="T90" fmla="*/ 12 w 46"/>
                <a:gd name="T91" fmla="*/ 64 h 91"/>
                <a:gd name="T92" fmla="*/ 18 w 46"/>
                <a:gd name="T93" fmla="*/ 68 h 91"/>
                <a:gd name="T94" fmla="*/ 24 w 46"/>
                <a:gd name="T9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6" h="91">
                  <a:moveTo>
                    <a:pt x="24" y="91"/>
                  </a:moveTo>
                  <a:lnTo>
                    <a:pt x="26" y="91"/>
                  </a:lnTo>
                  <a:lnTo>
                    <a:pt x="27" y="91"/>
                  </a:lnTo>
                  <a:lnTo>
                    <a:pt x="28" y="89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4"/>
                  </a:lnTo>
                  <a:lnTo>
                    <a:pt x="31" y="81"/>
                  </a:lnTo>
                  <a:lnTo>
                    <a:pt x="30" y="77"/>
                  </a:lnTo>
                  <a:lnTo>
                    <a:pt x="30" y="76"/>
                  </a:lnTo>
                  <a:lnTo>
                    <a:pt x="30" y="74"/>
                  </a:lnTo>
                  <a:lnTo>
                    <a:pt x="33" y="73"/>
                  </a:lnTo>
                  <a:lnTo>
                    <a:pt x="35" y="73"/>
                  </a:lnTo>
                  <a:lnTo>
                    <a:pt x="37" y="70"/>
                  </a:lnTo>
                  <a:lnTo>
                    <a:pt x="37" y="69"/>
                  </a:lnTo>
                  <a:lnTo>
                    <a:pt x="43" y="65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3" y="54"/>
                  </a:lnTo>
                  <a:lnTo>
                    <a:pt x="39" y="53"/>
                  </a:lnTo>
                  <a:lnTo>
                    <a:pt x="39" y="51"/>
                  </a:lnTo>
                  <a:lnTo>
                    <a:pt x="39" y="50"/>
                  </a:lnTo>
                  <a:lnTo>
                    <a:pt x="38" y="49"/>
                  </a:lnTo>
                  <a:lnTo>
                    <a:pt x="37" y="49"/>
                  </a:lnTo>
                  <a:lnTo>
                    <a:pt x="37" y="50"/>
                  </a:lnTo>
                  <a:lnTo>
                    <a:pt x="37" y="51"/>
                  </a:lnTo>
                  <a:lnTo>
                    <a:pt x="35" y="50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28" y="46"/>
                  </a:lnTo>
                  <a:lnTo>
                    <a:pt x="27" y="43"/>
                  </a:lnTo>
                  <a:lnTo>
                    <a:pt x="28" y="39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38" y="31"/>
                  </a:lnTo>
                  <a:lnTo>
                    <a:pt x="37" y="30"/>
                  </a:lnTo>
                  <a:lnTo>
                    <a:pt x="38" y="28"/>
                  </a:lnTo>
                  <a:lnTo>
                    <a:pt x="38" y="27"/>
                  </a:lnTo>
                  <a:lnTo>
                    <a:pt x="37" y="25"/>
                  </a:lnTo>
                  <a:lnTo>
                    <a:pt x="37" y="21"/>
                  </a:lnTo>
                  <a:lnTo>
                    <a:pt x="34" y="20"/>
                  </a:lnTo>
                  <a:lnTo>
                    <a:pt x="31" y="17"/>
                  </a:lnTo>
                  <a:lnTo>
                    <a:pt x="31" y="13"/>
                  </a:lnTo>
                  <a:lnTo>
                    <a:pt x="34" y="12"/>
                  </a:lnTo>
                  <a:lnTo>
                    <a:pt x="34" y="9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5" y="2"/>
                  </a:lnTo>
                  <a:lnTo>
                    <a:pt x="31" y="6"/>
                  </a:lnTo>
                  <a:lnTo>
                    <a:pt x="30" y="8"/>
                  </a:lnTo>
                  <a:lnTo>
                    <a:pt x="28" y="8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1"/>
                  </a:lnTo>
                  <a:lnTo>
                    <a:pt x="24" y="0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12"/>
                  </a:lnTo>
                  <a:lnTo>
                    <a:pt x="11" y="16"/>
                  </a:lnTo>
                  <a:lnTo>
                    <a:pt x="8" y="21"/>
                  </a:lnTo>
                  <a:lnTo>
                    <a:pt x="9" y="24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9" y="28"/>
                  </a:lnTo>
                  <a:lnTo>
                    <a:pt x="8" y="30"/>
                  </a:lnTo>
                  <a:lnTo>
                    <a:pt x="11" y="31"/>
                  </a:lnTo>
                  <a:lnTo>
                    <a:pt x="9" y="32"/>
                  </a:lnTo>
                  <a:lnTo>
                    <a:pt x="8" y="36"/>
                  </a:lnTo>
                  <a:lnTo>
                    <a:pt x="7" y="38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1" y="43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1" y="53"/>
                  </a:lnTo>
                  <a:lnTo>
                    <a:pt x="3" y="55"/>
                  </a:lnTo>
                  <a:lnTo>
                    <a:pt x="4" y="55"/>
                  </a:lnTo>
                  <a:lnTo>
                    <a:pt x="8" y="58"/>
                  </a:lnTo>
                  <a:lnTo>
                    <a:pt x="8" y="61"/>
                  </a:lnTo>
                  <a:lnTo>
                    <a:pt x="11" y="62"/>
                  </a:lnTo>
                  <a:lnTo>
                    <a:pt x="12" y="64"/>
                  </a:lnTo>
                  <a:lnTo>
                    <a:pt x="15" y="64"/>
                  </a:lnTo>
                  <a:lnTo>
                    <a:pt x="18" y="68"/>
                  </a:lnTo>
                  <a:lnTo>
                    <a:pt x="24" y="91"/>
                  </a:lnTo>
                  <a:lnTo>
                    <a:pt x="24" y="9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7" name="Freeform 97"/>
            <p:cNvSpPr>
              <a:spLocks/>
            </p:cNvSpPr>
            <p:nvPr/>
          </p:nvSpPr>
          <p:spPr bwMode="auto">
            <a:xfrm>
              <a:off x="1871" y="1545"/>
              <a:ext cx="235" cy="229"/>
            </a:xfrm>
            <a:custGeom>
              <a:avLst/>
              <a:gdLst>
                <a:gd name="T0" fmla="*/ 232 w 235"/>
                <a:gd name="T1" fmla="*/ 173 h 229"/>
                <a:gd name="T2" fmla="*/ 227 w 235"/>
                <a:gd name="T3" fmla="*/ 165 h 229"/>
                <a:gd name="T4" fmla="*/ 216 w 235"/>
                <a:gd name="T5" fmla="*/ 164 h 229"/>
                <a:gd name="T6" fmla="*/ 213 w 235"/>
                <a:gd name="T7" fmla="*/ 158 h 229"/>
                <a:gd name="T8" fmla="*/ 212 w 235"/>
                <a:gd name="T9" fmla="*/ 151 h 229"/>
                <a:gd name="T10" fmla="*/ 206 w 235"/>
                <a:gd name="T11" fmla="*/ 142 h 229"/>
                <a:gd name="T12" fmla="*/ 206 w 235"/>
                <a:gd name="T13" fmla="*/ 138 h 229"/>
                <a:gd name="T14" fmla="*/ 210 w 235"/>
                <a:gd name="T15" fmla="*/ 131 h 229"/>
                <a:gd name="T16" fmla="*/ 210 w 235"/>
                <a:gd name="T17" fmla="*/ 120 h 229"/>
                <a:gd name="T18" fmla="*/ 209 w 235"/>
                <a:gd name="T19" fmla="*/ 109 h 229"/>
                <a:gd name="T20" fmla="*/ 206 w 235"/>
                <a:gd name="T21" fmla="*/ 94 h 229"/>
                <a:gd name="T22" fmla="*/ 206 w 235"/>
                <a:gd name="T23" fmla="*/ 89 h 229"/>
                <a:gd name="T24" fmla="*/ 194 w 235"/>
                <a:gd name="T25" fmla="*/ 62 h 229"/>
                <a:gd name="T26" fmla="*/ 190 w 235"/>
                <a:gd name="T27" fmla="*/ 56 h 229"/>
                <a:gd name="T28" fmla="*/ 183 w 235"/>
                <a:gd name="T29" fmla="*/ 51 h 229"/>
                <a:gd name="T30" fmla="*/ 182 w 235"/>
                <a:gd name="T31" fmla="*/ 47 h 229"/>
                <a:gd name="T32" fmla="*/ 187 w 235"/>
                <a:gd name="T33" fmla="*/ 37 h 229"/>
                <a:gd name="T34" fmla="*/ 191 w 235"/>
                <a:gd name="T35" fmla="*/ 30 h 229"/>
                <a:gd name="T36" fmla="*/ 191 w 235"/>
                <a:gd name="T37" fmla="*/ 26 h 229"/>
                <a:gd name="T38" fmla="*/ 191 w 235"/>
                <a:gd name="T39" fmla="*/ 22 h 229"/>
                <a:gd name="T40" fmla="*/ 193 w 235"/>
                <a:gd name="T41" fmla="*/ 10 h 229"/>
                <a:gd name="T42" fmla="*/ 193 w 235"/>
                <a:gd name="T43" fmla="*/ 3 h 229"/>
                <a:gd name="T44" fmla="*/ 187 w 235"/>
                <a:gd name="T45" fmla="*/ 3 h 229"/>
                <a:gd name="T46" fmla="*/ 176 w 235"/>
                <a:gd name="T47" fmla="*/ 2 h 229"/>
                <a:gd name="T48" fmla="*/ 170 w 235"/>
                <a:gd name="T49" fmla="*/ 4 h 229"/>
                <a:gd name="T50" fmla="*/ 166 w 235"/>
                <a:gd name="T51" fmla="*/ 2 h 229"/>
                <a:gd name="T52" fmla="*/ 161 w 235"/>
                <a:gd name="T53" fmla="*/ 6 h 229"/>
                <a:gd name="T54" fmla="*/ 156 w 235"/>
                <a:gd name="T55" fmla="*/ 7 h 229"/>
                <a:gd name="T56" fmla="*/ 149 w 235"/>
                <a:gd name="T57" fmla="*/ 4 h 229"/>
                <a:gd name="T58" fmla="*/ 141 w 235"/>
                <a:gd name="T59" fmla="*/ 3 h 229"/>
                <a:gd name="T60" fmla="*/ 137 w 235"/>
                <a:gd name="T61" fmla="*/ 3 h 229"/>
                <a:gd name="T62" fmla="*/ 132 w 235"/>
                <a:gd name="T63" fmla="*/ 4 h 229"/>
                <a:gd name="T64" fmla="*/ 123 w 235"/>
                <a:gd name="T65" fmla="*/ 6 h 229"/>
                <a:gd name="T66" fmla="*/ 114 w 235"/>
                <a:gd name="T67" fmla="*/ 7 h 229"/>
                <a:gd name="T68" fmla="*/ 103 w 235"/>
                <a:gd name="T69" fmla="*/ 13 h 229"/>
                <a:gd name="T70" fmla="*/ 99 w 235"/>
                <a:gd name="T71" fmla="*/ 18 h 229"/>
                <a:gd name="T72" fmla="*/ 95 w 235"/>
                <a:gd name="T73" fmla="*/ 17 h 229"/>
                <a:gd name="T74" fmla="*/ 89 w 235"/>
                <a:gd name="T75" fmla="*/ 19 h 229"/>
                <a:gd name="T76" fmla="*/ 85 w 235"/>
                <a:gd name="T77" fmla="*/ 23 h 229"/>
                <a:gd name="T78" fmla="*/ 76 w 235"/>
                <a:gd name="T79" fmla="*/ 26 h 229"/>
                <a:gd name="T80" fmla="*/ 79 w 235"/>
                <a:gd name="T81" fmla="*/ 30 h 229"/>
                <a:gd name="T82" fmla="*/ 80 w 235"/>
                <a:gd name="T83" fmla="*/ 37 h 229"/>
                <a:gd name="T84" fmla="*/ 81 w 235"/>
                <a:gd name="T85" fmla="*/ 53 h 229"/>
                <a:gd name="T86" fmla="*/ 85 w 235"/>
                <a:gd name="T87" fmla="*/ 59 h 229"/>
                <a:gd name="T88" fmla="*/ 89 w 235"/>
                <a:gd name="T89" fmla="*/ 62 h 229"/>
                <a:gd name="T90" fmla="*/ 87 w 235"/>
                <a:gd name="T91" fmla="*/ 67 h 229"/>
                <a:gd name="T92" fmla="*/ 66 w 235"/>
                <a:gd name="T93" fmla="*/ 72 h 229"/>
                <a:gd name="T94" fmla="*/ 64 w 235"/>
                <a:gd name="T95" fmla="*/ 81 h 229"/>
                <a:gd name="T96" fmla="*/ 42 w 235"/>
                <a:gd name="T97" fmla="*/ 96 h 229"/>
                <a:gd name="T98" fmla="*/ 23 w 235"/>
                <a:gd name="T99" fmla="*/ 102 h 229"/>
                <a:gd name="T100" fmla="*/ 12 w 235"/>
                <a:gd name="T101" fmla="*/ 105 h 229"/>
                <a:gd name="T102" fmla="*/ 0 w 235"/>
                <a:gd name="T103" fmla="*/ 113 h 229"/>
                <a:gd name="T104" fmla="*/ 0 w 235"/>
                <a:gd name="T105" fmla="*/ 127 h 229"/>
                <a:gd name="T106" fmla="*/ 42 w 235"/>
                <a:gd name="T107" fmla="*/ 155 h 229"/>
                <a:gd name="T108" fmla="*/ 121 w 235"/>
                <a:gd name="T109" fmla="*/ 212 h 229"/>
                <a:gd name="T110" fmla="*/ 130 w 235"/>
                <a:gd name="T111" fmla="*/ 215 h 229"/>
                <a:gd name="T112" fmla="*/ 138 w 235"/>
                <a:gd name="T113" fmla="*/ 221 h 229"/>
                <a:gd name="T114" fmla="*/ 137 w 235"/>
                <a:gd name="T115" fmla="*/ 227 h 229"/>
                <a:gd name="T116" fmla="*/ 149 w 235"/>
                <a:gd name="T117" fmla="*/ 226 h 229"/>
                <a:gd name="T118" fmla="*/ 168 w 235"/>
                <a:gd name="T119" fmla="*/ 222 h 229"/>
                <a:gd name="T120" fmla="*/ 235 w 235"/>
                <a:gd name="T121" fmla="*/ 17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5" h="229">
                  <a:moveTo>
                    <a:pt x="235" y="177"/>
                  </a:moveTo>
                  <a:lnTo>
                    <a:pt x="234" y="176"/>
                  </a:lnTo>
                  <a:lnTo>
                    <a:pt x="232" y="173"/>
                  </a:lnTo>
                  <a:lnTo>
                    <a:pt x="231" y="173"/>
                  </a:lnTo>
                  <a:lnTo>
                    <a:pt x="228" y="168"/>
                  </a:lnTo>
                  <a:lnTo>
                    <a:pt x="227" y="165"/>
                  </a:lnTo>
                  <a:lnTo>
                    <a:pt x="225" y="164"/>
                  </a:lnTo>
                  <a:lnTo>
                    <a:pt x="220" y="164"/>
                  </a:lnTo>
                  <a:lnTo>
                    <a:pt x="216" y="164"/>
                  </a:lnTo>
                  <a:lnTo>
                    <a:pt x="215" y="162"/>
                  </a:lnTo>
                  <a:lnTo>
                    <a:pt x="215" y="159"/>
                  </a:lnTo>
                  <a:lnTo>
                    <a:pt x="213" y="158"/>
                  </a:lnTo>
                  <a:lnTo>
                    <a:pt x="212" y="155"/>
                  </a:lnTo>
                  <a:lnTo>
                    <a:pt x="213" y="154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09" y="146"/>
                  </a:lnTo>
                  <a:lnTo>
                    <a:pt x="206" y="142"/>
                  </a:lnTo>
                  <a:lnTo>
                    <a:pt x="205" y="140"/>
                  </a:lnTo>
                  <a:lnTo>
                    <a:pt x="206" y="139"/>
                  </a:lnTo>
                  <a:lnTo>
                    <a:pt x="206" y="138"/>
                  </a:lnTo>
                  <a:lnTo>
                    <a:pt x="209" y="136"/>
                  </a:lnTo>
                  <a:lnTo>
                    <a:pt x="210" y="135"/>
                  </a:lnTo>
                  <a:lnTo>
                    <a:pt x="210" y="131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0" y="120"/>
                  </a:lnTo>
                  <a:lnTo>
                    <a:pt x="209" y="116"/>
                  </a:lnTo>
                  <a:lnTo>
                    <a:pt x="208" y="110"/>
                  </a:lnTo>
                  <a:lnTo>
                    <a:pt x="209" y="109"/>
                  </a:lnTo>
                  <a:lnTo>
                    <a:pt x="208" y="105"/>
                  </a:lnTo>
                  <a:lnTo>
                    <a:pt x="208" y="97"/>
                  </a:lnTo>
                  <a:lnTo>
                    <a:pt x="206" y="94"/>
                  </a:lnTo>
                  <a:lnTo>
                    <a:pt x="205" y="94"/>
                  </a:lnTo>
                  <a:lnTo>
                    <a:pt x="205" y="90"/>
                  </a:lnTo>
                  <a:lnTo>
                    <a:pt x="206" y="89"/>
                  </a:lnTo>
                  <a:lnTo>
                    <a:pt x="200" y="66"/>
                  </a:lnTo>
                  <a:lnTo>
                    <a:pt x="197" y="62"/>
                  </a:lnTo>
                  <a:lnTo>
                    <a:pt x="194" y="62"/>
                  </a:lnTo>
                  <a:lnTo>
                    <a:pt x="193" y="60"/>
                  </a:lnTo>
                  <a:lnTo>
                    <a:pt x="190" y="59"/>
                  </a:lnTo>
                  <a:lnTo>
                    <a:pt x="190" y="56"/>
                  </a:lnTo>
                  <a:lnTo>
                    <a:pt x="186" y="53"/>
                  </a:lnTo>
                  <a:lnTo>
                    <a:pt x="185" y="53"/>
                  </a:lnTo>
                  <a:lnTo>
                    <a:pt x="183" y="51"/>
                  </a:lnTo>
                  <a:lnTo>
                    <a:pt x="185" y="49"/>
                  </a:lnTo>
                  <a:lnTo>
                    <a:pt x="183" y="47"/>
                  </a:lnTo>
                  <a:lnTo>
                    <a:pt x="182" y="47"/>
                  </a:lnTo>
                  <a:lnTo>
                    <a:pt x="183" y="41"/>
                  </a:lnTo>
                  <a:lnTo>
                    <a:pt x="186" y="37"/>
                  </a:lnTo>
                  <a:lnTo>
                    <a:pt x="187" y="37"/>
                  </a:lnTo>
                  <a:lnTo>
                    <a:pt x="189" y="36"/>
                  </a:lnTo>
                  <a:lnTo>
                    <a:pt x="190" y="34"/>
                  </a:lnTo>
                  <a:lnTo>
                    <a:pt x="191" y="30"/>
                  </a:lnTo>
                  <a:lnTo>
                    <a:pt x="193" y="29"/>
                  </a:lnTo>
                  <a:lnTo>
                    <a:pt x="190" y="28"/>
                  </a:lnTo>
                  <a:lnTo>
                    <a:pt x="191" y="26"/>
                  </a:lnTo>
                  <a:lnTo>
                    <a:pt x="193" y="25"/>
                  </a:lnTo>
                  <a:lnTo>
                    <a:pt x="193" y="23"/>
                  </a:lnTo>
                  <a:lnTo>
                    <a:pt x="191" y="22"/>
                  </a:lnTo>
                  <a:lnTo>
                    <a:pt x="190" y="19"/>
                  </a:lnTo>
                  <a:lnTo>
                    <a:pt x="193" y="14"/>
                  </a:lnTo>
                  <a:lnTo>
                    <a:pt x="193" y="10"/>
                  </a:lnTo>
                  <a:lnTo>
                    <a:pt x="193" y="7"/>
                  </a:lnTo>
                  <a:lnTo>
                    <a:pt x="193" y="6"/>
                  </a:lnTo>
                  <a:lnTo>
                    <a:pt x="193" y="3"/>
                  </a:lnTo>
                  <a:lnTo>
                    <a:pt x="191" y="3"/>
                  </a:lnTo>
                  <a:lnTo>
                    <a:pt x="189" y="3"/>
                  </a:lnTo>
                  <a:lnTo>
                    <a:pt x="187" y="3"/>
                  </a:lnTo>
                  <a:lnTo>
                    <a:pt x="182" y="4"/>
                  </a:lnTo>
                  <a:lnTo>
                    <a:pt x="179" y="2"/>
                  </a:lnTo>
                  <a:lnTo>
                    <a:pt x="176" y="2"/>
                  </a:lnTo>
                  <a:lnTo>
                    <a:pt x="176" y="3"/>
                  </a:lnTo>
                  <a:lnTo>
                    <a:pt x="174" y="4"/>
                  </a:lnTo>
                  <a:lnTo>
                    <a:pt x="170" y="4"/>
                  </a:lnTo>
                  <a:lnTo>
                    <a:pt x="170" y="2"/>
                  </a:lnTo>
                  <a:lnTo>
                    <a:pt x="168" y="0"/>
                  </a:lnTo>
                  <a:lnTo>
                    <a:pt x="166" y="2"/>
                  </a:lnTo>
                  <a:lnTo>
                    <a:pt x="166" y="3"/>
                  </a:lnTo>
                  <a:lnTo>
                    <a:pt x="163" y="3"/>
                  </a:lnTo>
                  <a:lnTo>
                    <a:pt x="161" y="6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6" y="7"/>
                  </a:lnTo>
                  <a:lnTo>
                    <a:pt x="153" y="7"/>
                  </a:lnTo>
                  <a:lnTo>
                    <a:pt x="152" y="4"/>
                  </a:lnTo>
                  <a:lnTo>
                    <a:pt x="149" y="4"/>
                  </a:lnTo>
                  <a:lnTo>
                    <a:pt x="147" y="3"/>
                  </a:lnTo>
                  <a:lnTo>
                    <a:pt x="144" y="4"/>
                  </a:lnTo>
                  <a:lnTo>
                    <a:pt x="141" y="3"/>
                  </a:lnTo>
                  <a:lnTo>
                    <a:pt x="141" y="4"/>
                  </a:lnTo>
                  <a:lnTo>
                    <a:pt x="138" y="3"/>
                  </a:lnTo>
                  <a:lnTo>
                    <a:pt x="137" y="3"/>
                  </a:lnTo>
                  <a:lnTo>
                    <a:pt x="136" y="6"/>
                  </a:lnTo>
                  <a:lnTo>
                    <a:pt x="133" y="6"/>
                  </a:lnTo>
                  <a:lnTo>
                    <a:pt x="132" y="4"/>
                  </a:lnTo>
                  <a:lnTo>
                    <a:pt x="127" y="9"/>
                  </a:lnTo>
                  <a:lnTo>
                    <a:pt x="126" y="9"/>
                  </a:lnTo>
                  <a:lnTo>
                    <a:pt x="123" y="6"/>
                  </a:lnTo>
                  <a:lnTo>
                    <a:pt x="121" y="7"/>
                  </a:lnTo>
                  <a:lnTo>
                    <a:pt x="117" y="7"/>
                  </a:lnTo>
                  <a:lnTo>
                    <a:pt x="114" y="7"/>
                  </a:lnTo>
                  <a:lnTo>
                    <a:pt x="108" y="11"/>
                  </a:lnTo>
                  <a:lnTo>
                    <a:pt x="104" y="11"/>
                  </a:lnTo>
                  <a:lnTo>
                    <a:pt x="103" y="13"/>
                  </a:lnTo>
                  <a:lnTo>
                    <a:pt x="100" y="14"/>
                  </a:lnTo>
                  <a:lnTo>
                    <a:pt x="100" y="15"/>
                  </a:lnTo>
                  <a:lnTo>
                    <a:pt x="99" y="18"/>
                  </a:lnTo>
                  <a:lnTo>
                    <a:pt x="98" y="18"/>
                  </a:lnTo>
                  <a:lnTo>
                    <a:pt x="96" y="17"/>
                  </a:lnTo>
                  <a:lnTo>
                    <a:pt x="95" y="17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89" y="19"/>
                  </a:lnTo>
                  <a:lnTo>
                    <a:pt x="87" y="21"/>
                  </a:lnTo>
                  <a:lnTo>
                    <a:pt x="85" y="22"/>
                  </a:lnTo>
                  <a:lnTo>
                    <a:pt x="85" y="23"/>
                  </a:lnTo>
                  <a:lnTo>
                    <a:pt x="83" y="25"/>
                  </a:lnTo>
                  <a:lnTo>
                    <a:pt x="80" y="26"/>
                  </a:lnTo>
                  <a:lnTo>
                    <a:pt x="76" y="26"/>
                  </a:lnTo>
                  <a:lnTo>
                    <a:pt x="77" y="28"/>
                  </a:lnTo>
                  <a:lnTo>
                    <a:pt x="77" y="29"/>
                  </a:lnTo>
                  <a:lnTo>
                    <a:pt x="79" y="30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0" y="37"/>
                  </a:lnTo>
                  <a:lnTo>
                    <a:pt x="80" y="43"/>
                  </a:lnTo>
                  <a:lnTo>
                    <a:pt x="80" y="44"/>
                  </a:lnTo>
                  <a:lnTo>
                    <a:pt x="81" y="53"/>
                  </a:lnTo>
                  <a:lnTo>
                    <a:pt x="83" y="56"/>
                  </a:lnTo>
                  <a:lnTo>
                    <a:pt x="84" y="59"/>
                  </a:lnTo>
                  <a:lnTo>
                    <a:pt x="85" y="59"/>
                  </a:lnTo>
                  <a:lnTo>
                    <a:pt x="87" y="60"/>
                  </a:lnTo>
                  <a:lnTo>
                    <a:pt x="88" y="60"/>
                  </a:lnTo>
                  <a:lnTo>
                    <a:pt x="89" y="62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7" y="67"/>
                  </a:lnTo>
                  <a:lnTo>
                    <a:pt x="73" y="67"/>
                  </a:lnTo>
                  <a:lnTo>
                    <a:pt x="69" y="68"/>
                  </a:lnTo>
                  <a:lnTo>
                    <a:pt x="66" y="72"/>
                  </a:lnTo>
                  <a:lnTo>
                    <a:pt x="65" y="74"/>
                  </a:lnTo>
                  <a:lnTo>
                    <a:pt x="64" y="77"/>
                  </a:lnTo>
                  <a:lnTo>
                    <a:pt x="64" y="81"/>
                  </a:lnTo>
                  <a:lnTo>
                    <a:pt x="62" y="83"/>
                  </a:lnTo>
                  <a:lnTo>
                    <a:pt x="54" y="89"/>
                  </a:lnTo>
                  <a:lnTo>
                    <a:pt x="42" y="96"/>
                  </a:lnTo>
                  <a:lnTo>
                    <a:pt x="32" y="101"/>
                  </a:lnTo>
                  <a:lnTo>
                    <a:pt x="28" y="102"/>
                  </a:lnTo>
                  <a:lnTo>
                    <a:pt x="23" y="102"/>
                  </a:lnTo>
                  <a:lnTo>
                    <a:pt x="21" y="104"/>
                  </a:lnTo>
                  <a:lnTo>
                    <a:pt x="17" y="104"/>
                  </a:lnTo>
                  <a:lnTo>
                    <a:pt x="12" y="105"/>
                  </a:lnTo>
                  <a:lnTo>
                    <a:pt x="8" y="106"/>
                  </a:lnTo>
                  <a:lnTo>
                    <a:pt x="5" y="109"/>
                  </a:lnTo>
                  <a:lnTo>
                    <a:pt x="0" y="113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119" y="206"/>
                  </a:lnTo>
                  <a:lnTo>
                    <a:pt x="121" y="212"/>
                  </a:lnTo>
                  <a:lnTo>
                    <a:pt x="123" y="214"/>
                  </a:lnTo>
                  <a:lnTo>
                    <a:pt x="127" y="214"/>
                  </a:lnTo>
                  <a:lnTo>
                    <a:pt x="130" y="215"/>
                  </a:lnTo>
                  <a:lnTo>
                    <a:pt x="133" y="218"/>
                  </a:lnTo>
                  <a:lnTo>
                    <a:pt x="136" y="218"/>
                  </a:lnTo>
                  <a:lnTo>
                    <a:pt x="138" y="221"/>
                  </a:lnTo>
                  <a:lnTo>
                    <a:pt x="138" y="222"/>
                  </a:lnTo>
                  <a:lnTo>
                    <a:pt x="137" y="226"/>
                  </a:lnTo>
                  <a:lnTo>
                    <a:pt x="137" y="227"/>
                  </a:lnTo>
                  <a:lnTo>
                    <a:pt x="140" y="229"/>
                  </a:lnTo>
                  <a:lnTo>
                    <a:pt x="145" y="227"/>
                  </a:lnTo>
                  <a:lnTo>
                    <a:pt x="149" y="226"/>
                  </a:lnTo>
                  <a:lnTo>
                    <a:pt x="151" y="226"/>
                  </a:lnTo>
                  <a:lnTo>
                    <a:pt x="151" y="226"/>
                  </a:lnTo>
                  <a:lnTo>
                    <a:pt x="168" y="222"/>
                  </a:lnTo>
                  <a:lnTo>
                    <a:pt x="182" y="210"/>
                  </a:lnTo>
                  <a:lnTo>
                    <a:pt x="235" y="177"/>
                  </a:lnTo>
                  <a:lnTo>
                    <a:pt x="235" y="1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8" name="Freeform 98"/>
            <p:cNvSpPr>
              <a:spLocks/>
            </p:cNvSpPr>
            <p:nvPr/>
          </p:nvSpPr>
          <p:spPr bwMode="auto">
            <a:xfrm>
              <a:off x="1824" y="1562"/>
              <a:ext cx="136" cy="107"/>
            </a:xfrm>
            <a:custGeom>
              <a:avLst/>
              <a:gdLst>
                <a:gd name="T0" fmla="*/ 47 w 136"/>
                <a:gd name="T1" fmla="*/ 96 h 107"/>
                <a:gd name="T2" fmla="*/ 55 w 136"/>
                <a:gd name="T3" fmla="*/ 89 h 107"/>
                <a:gd name="T4" fmla="*/ 64 w 136"/>
                <a:gd name="T5" fmla="*/ 87 h 107"/>
                <a:gd name="T6" fmla="*/ 70 w 136"/>
                <a:gd name="T7" fmla="*/ 85 h 107"/>
                <a:gd name="T8" fmla="*/ 79 w 136"/>
                <a:gd name="T9" fmla="*/ 84 h 107"/>
                <a:gd name="T10" fmla="*/ 101 w 136"/>
                <a:gd name="T11" fmla="*/ 72 h 107"/>
                <a:gd name="T12" fmla="*/ 111 w 136"/>
                <a:gd name="T13" fmla="*/ 64 h 107"/>
                <a:gd name="T14" fmla="*/ 112 w 136"/>
                <a:gd name="T15" fmla="*/ 57 h 107"/>
                <a:gd name="T16" fmla="*/ 116 w 136"/>
                <a:gd name="T17" fmla="*/ 51 h 107"/>
                <a:gd name="T18" fmla="*/ 134 w 136"/>
                <a:gd name="T19" fmla="*/ 50 h 107"/>
                <a:gd name="T20" fmla="*/ 135 w 136"/>
                <a:gd name="T21" fmla="*/ 47 h 107"/>
                <a:gd name="T22" fmla="*/ 135 w 136"/>
                <a:gd name="T23" fmla="*/ 43 h 107"/>
                <a:gd name="T24" fmla="*/ 132 w 136"/>
                <a:gd name="T25" fmla="*/ 42 h 107"/>
                <a:gd name="T26" fmla="*/ 130 w 136"/>
                <a:gd name="T27" fmla="*/ 39 h 107"/>
                <a:gd name="T28" fmla="*/ 127 w 136"/>
                <a:gd name="T29" fmla="*/ 27 h 107"/>
                <a:gd name="T30" fmla="*/ 127 w 136"/>
                <a:gd name="T31" fmla="*/ 20 h 107"/>
                <a:gd name="T32" fmla="*/ 127 w 136"/>
                <a:gd name="T33" fmla="*/ 16 h 107"/>
                <a:gd name="T34" fmla="*/ 124 w 136"/>
                <a:gd name="T35" fmla="*/ 12 h 107"/>
                <a:gd name="T36" fmla="*/ 123 w 136"/>
                <a:gd name="T37" fmla="*/ 9 h 107"/>
                <a:gd name="T38" fmla="*/ 115 w 136"/>
                <a:gd name="T39" fmla="*/ 9 h 107"/>
                <a:gd name="T40" fmla="*/ 113 w 136"/>
                <a:gd name="T41" fmla="*/ 5 h 107"/>
                <a:gd name="T42" fmla="*/ 112 w 136"/>
                <a:gd name="T43" fmla="*/ 5 h 107"/>
                <a:gd name="T44" fmla="*/ 107 w 136"/>
                <a:gd name="T45" fmla="*/ 8 h 107"/>
                <a:gd name="T46" fmla="*/ 101 w 136"/>
                <a:gd name="T47" fmla="*/ 6 h 107"/>
                <a:gd name="T48" fmla="*/ 94 w 136"/>
                <a:gd name="T49" fmla="*/ 9 h 107"/>
                <a:gd name="T50" fmla="*/ 89 w 136"/>
                <a:gd name="T51" fmla="*/ 5 h 107"/>
                <a:gd name="T52" fmla="*/ 87 w 136"/>
                <a:gd name="T53" fmla="*/ 2 h 107"/>
                <a:gd name="T54" fmla="*/ 87 w 136"/>
                <a:gd name="T55" fmla="*/ 0 h 107"/>
                <a:gd name="T56" fmla="*/ 85 w 136"/>
                <a:gd name="T57" fmla="*/ 0 h 107"/>
                <a:gd name="T58" fmla="*/ 82 w 136"/>
                <a:gd name="T59" fmla="*/ 1 h 107"/>
                <a:gd name="T60" fmla="*/ 79 w 136"/>
                <a:gd name="T61" fmla="*/ 9 h 107"/>
                <a:gd name="T62" fmla="*/ 75 w 136"/>
                <a:gd name="T63" fmla="*/ 17 h 107"/>
                <a:gd name="T64" fmla="*/ 68 w 136"/>
                <a:gd name="T65" fmla="*/ 26 h 107"/>
                <a:gd name="T66" fmla="*/ 66 w 136"/>
                <a:gd name="T67" fmla="*/ 28 h 107"/>
                <a:gd name="T68" fmla="*/ 58 w 136"/>
                <a:gd name="T69" fmla="*/ 32 h 107"/>
                <a:gd name="T70" fmla="*/ 52 w 136"/>
                <a:gd name="T71" fmla="*/ 35 h 107"/>
                <a:gd name="T72" fmla="*/ 47 w 136"/>
                <a:gd name="T73" fmla="*/ 39 h 107"/>
                <a:gd name="T74" fmla="*/ 44 w 136"/>
                <a:gd name="T75" fmla="*/ 47 h 107"/>
                <a:gd name="T76" fmla="*/ 39 w 136"/>
                <a:gd name="T77" fmla="*/ 54 h 107"/>
                <a:gd name="T78" fmla="*/ 36 w 136"/>
                <a:gd name="T79" fmla="*/ 62 h 107"/>
                <a:gd name="T80" fmla="*/ 36 w 136"/>
                <a:gd name="T81" fmla="*/ 70 h 107"/>
                <a:gd name="T82" fmla="*/ 39 w 136"/>
                <a:gd name="T83" fmla="*/ 73 h 107"/>
                <a:gd name="T84" fmla="*/ 30 w 136"/>
                <a:gd name="T85" fmla="*/ 85 h 107"/>
                <a:gd name="T86" fmla="*/ 26 w 136"/>
                <a:gd name="T87" fmla="*/ 92 h 107"/>
                <a:gd name="T88" fmla="*/ 14 w 136"/>
                <a:gd name="T89" fmla="*/ 100 h 107"/>
                <a:gd name="T90" fmla="*/ 0 w 136"/>
                <a:gd name="T91" fmla="*/ 106 h 107"/>
                <a:gd name="T92" fmla="*/ 47 w 136"/>
                <a:gd name="T9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6" h="107">
                  <a:moveTo>
                    <a:pt x="47" y="107"/>
                  </a:moveTo>
                  <a:lnTo>
                    <a:pt x="47" y="96"/>
                  </a:lnTo>
                  <a:lnTo>
                    <a:pt x="52" y="92"/>
                  </a:lnTo>
                  <a:lnTo>
                    <a:pt x="55" y="89"/>
                  </a:lnTo>
                  <a:lnTo>
                    <a:pt x="59" y="88"/>
                  </a:lnTo>
                  <a:lnTo>
                    <a:pt x="64" y="87"/>
                  </a:lnTo>
                  <a:lnTo>
                    <a:pt x="68" y="87"/>
                  </a:lnTo>
                  <a:lnTo>
                    <a:pt x="70" y="85"/>
                  </a:lnTo>
                  <a:lnTo>
                    <a:pt x="75" y="85"/>
                  </a:lnTo>
                  <a:lnTo>
                    <a:pt x="79" y="84"/>
                  </a:lnTo>
                  <a:lnTo>
                    <a:pt x="89" y="79"/>
                  </a:lnTo>
                  <a:lnTo>
                    <a:pt x="101" y="72"/>
                  </a:lnTo>
                  <a:lnTo>
                    <a:pt x="109" y="66"/>
                  </a:lnTo>
                  <a:lnTo>
                    <a:pt x="111" y="64"/>
                  </a:lnTo>
                  <a:lnTo>
                    <a:pt x="111" y="60"/>
                  </a:lnTo>
                  <a:lnTo>
                    <a:pt x="112" y="57"/>
                  </a:lnTo>
                  <a:lnTo>
                    <a:pt x="113" y="55"/>
                  </a:lnTo>
                  <a:lnTo>
                    <a:pt x="116" y="51"/>
                  </a:lnTo>
                  <a:lnTo>
                    <a:pt x="120" y="50"/>
                  </a:lnTo>
                  <a:lnTo>
                    <a:pt x="134" y="50"/>
                  </a:lnTo>
                  <a:lnTo>
                    <a:pt x="135" y="47"/>
                  </a:lnTo>
                  <a:lnTo>
                    <a:pt x="135" y="47"/>
                  </a:lnTo>
                  <a:lnTo>
                    <a:pt x="136" y="45"/>
                  </a:lnTo>
                  <a:lnTo>
                    <a:pt x="135" y="43"/>
                  </a:lnTo>
                  <a:lnTo>
                    <a:pt x="134" y="43"/>
                  </a:lnTo>
                  <a:lnTo>
                    <a:pt x="132" y="42"/>
                  </a:lnTo>
                  <a:lnTo>
                    <a:pt x="131" y="42"/>
                  </a:lnTo>
                  <a:lnTo>
                    <a:pt x="130" y="39"/>
                  </a:lnTo>
                  <a:lnTo>
                    <a:pt x="128" y="36"/>
                  </a:lnTo>
                  <a:lnTo>
                    <a:pt x="127" y="27"/>
                  </a:lnTo>
                  <a:lnTo>
                    <a:pt x="127" y="26"/>
                  </a:lnTo>
                  <a:lnTo>
                    <a:pt x="127" y="20"/>
                  </a:lnTo>
                  <a:lnTo>
                    <a:pt x="127" y="17"/>
                  </a:lnTo>
                  <a:lnTo>
                    <a:pt x="127" y="16"/>
                  </a:lnTo>
                  <a:lnTo>
                    <a:pt x="126" y="13"/>
                  </a:lnTo>
                  <a:lnTo>
                    <a:pt x="124" y="12"/>
                  </a:lnTo>
                  <a:lnTo>
                    <a:pt x="124" y="11"/>
                  </a:lnTo>
                  <a:lnTo>
                    <a:pt x="123" y="9"/>
                  </a:lnTo>
                  <a:lnTo>
                    <a:pt x="121" y="9"/>
                  </a:lnTo>
                  <a:lnTo>
                    <a:pt x="115" y="9"/>
                  </a:lnTo>
                  <a:lnTo>
                    <a:pt x="113" y="8"/>
                  </a:lnTo>
                  <a:lnTo>
                    <a:pt x="113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1" y="8"/>
                  </a:lnTo>
                  <a:lnTo>
                    <a:pt x="107" y="8"/>
                  </a:lnTo>
                  <a:lnTo>
                    <a:pt x="102" y="8"/>
                  </a:lnTo>
                  <a:lnTo>
                    <a:pt x="101" y="6"/>
                  </a:lnTo>
                  <a:lnTo>
                    <a:pt x="98" y="8"/>
                  </a:lnTo>
                  <a:lnTo>
                    <a:pt x="94" y="9"/>
                  </a:lnTo>
                  <a:lnTo>
                    <a:pt x="92" y="8"/>
                  </a:lnTo>
                  <a:lnTo>
                    <a:pt x="89" y="5"/>
                  </a:lnTo>
                  <a:lnTo>
                    <a:pt x="87" y="4"/>
                  </a:lnTo>
                  <a:lnTo>
                    <a:pt x="87" y="2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6" y="0"/>
                  </a:lnTo>
                  <a:lnTo>
                    <a:pt x="85" y="0"/>
                  </a:lnTo>
                  <a:lnTo>
                    <a:pt x="83" y="1"/>
                  </a:lnTo>
                  <a:lnTo>
                    <a:pt x="82" y="1"/>
                  </a:lnTo>
                  <a:lnTo>
                    <a:pt x="79" y="4"/>
                  </a:lnTo>
                  <a:lnTo>
                    <a:pt x="79" y="9"/>
                  </a:lnTo>
                  <a:lnTo>
                    <a:pt x="77" y="13"/>
                  </a:lnTo>
                  <a:lnTo>
                    <a:pt x="75" y="17"/>
                  </a:lnTo>
                  <a:lnTo>
                    <a:pt x="74" y="20"/>
                  </a:lnTo>
                  <a:lnTo>
                    <a:pt x="68" y="26"/>
                  </a:lnTo>
                  <a:lnTo>
                    <a:pt x="67" y="26"/>
                  </a:lnTo>
                  <a:lnTo>
                    <a:pt x="66" y="28"/>
                  </a:lnTo>
                  <a:lnTo>
                    <a:pt x="60" y="30"/>
                  </a:lnTo>
                  <a:lnTo>
                    <a:pt x="58" y="32"/>
                  </a:lnTo>
                  <a:lnTo>
                    <a:pt x="56" y="32"/>
                  </a:lnTo>
                  <a:lnTo>
                    <a:pt x="52" y="35"/>
                  </a:lnTo>
                  <a:lnTo>
                    <a:pt x="49" y="36"/>
                  </a:lnTo>
                  <a:lnTo>
                    <a:pt x="47" y="39"/>
                  </a:lnTo>
                  <a:lnTo>
                    <a:pt x="41" y="43"/>
                  </a:lnTo>
                  <a:lnTo>
                    <a:pt x="44" y="47"/>
                  </a:lnTo>
                  <a:lnTo>
                    <a:pt x="44" y="50"/>
                  </a:lnTo>
                  <a:lnTo>
                    <a:pt x="39" y="54"/>
                  </a:lnTo>
                  <a:lnTo>
                    <a:pt x="36" y="61"/>
                  </a:lnTo>
                  <a:lnTo>
                    <a:pt x="36" y="62"/>
                  </a:lnTo>
                  <a:lnTo>
                    <a:pt x="37" y="66"/>
                  </a:lnTo>
                  <a:lnTo>
                    <a:pt x="36" y="70"/>
                  </a:lnTo>
                  <a:lnTo>
                    <a:pt x="37" y="72"/>
                  </a:lnTo>
                  <a:lnTo>
                    <a:pt x="39" y="73"/>
                  </a:lnTo>
                  <a:lnTo>
                    <a:pt x="37" y="77"/>
                  </a:lnTo>
                  <a:lnTo>
                    <a:pt x="30" y="85"/>
                  </a:lnTo>
                  <a:lnTo>
                    <a:pt x="29" y="88"/>
                  </a:lnTo>
                  <a:lnTo>
                    <a:pt x="26" y="92"/>
                  </a:lnTo>
                  <a:lnTo>
                    <a:pt x="22" y="92"/>
                  </a:lnTo>
                  <a:lnTo>
                    <a:pt x="14" y="100"/>
                  </a:lnTo>
                  <a:lnTo>
                    <a:pt x="3" y="102"/>
                  </a:lnTo>
                  <a:lnTo>
                    <a:pt x="0" y="106"/>
                  </a:lnTo>
                  <a:lnTo>
                    <a:pt x="47" y="107"/>
                  </a:lnTo>
                  <a:lnTo>
                    <a:pt x="47" y="107"/>
                  </a:lnTo>
                  <a:lnTo>
                    <a:pt x="47" y="10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299" name="Freeform 99"/>
            <p:cNvSpPr>
              <a:spLocks/>
            </p:cNvSpPr>
            <p:nvPr/>
          </p:nvSpPr>
          <p:spPr bwMode="auto">
            <a:xfrm>
              <a:off x="1775" y="1668"/>
              <a:ext cx="96" cy="79"/>
            </a:xfrm>
            <a:custGeom>
              <a:avLst/>
              <a:gdLst>
                <a:gd name="T0" fmla="*/ 96 w 96"/>
                <a:gd name="T1" fmla="*/ 4 h 79"/>
                <a:gd name="T2" fmla="*/ 96 w 96"/>
                <a:gd name="T3" fmla="*/ 1 h 79"/>
                <a:gd name="T4" fmla="*/ 49 w 96"/>
                <a:gd name="T5" fmla="*/ 0 h 79"/>
                <a:gd name="T6" fmla="*/ 44 w 96"/>
                <a:gd name="T7" fmla="*/ 7 h 79"/>
                <a:gd name="T8" fmla="*/ 44 w 96"/>
                <a:gd name="T9" fmla="*/ 11 h 79"/>
                <a:gd name="T10" fmla="*/ 43 w 96"/>
                <a:gd name="T11" fmla="*/ 11 h 79"/>
                <a:gd name="T12" fmla="*/ 34 w 96"/>
                <a:gd name="T13" fmla="*/ 15 h 79"/>
                <a:gd name="T14" fmla="*/ 33 w 96"/>
                <a:gd name="T15" fmla="*/ 17 h 79"/>
                <a:gd name="T16" fmla="*/ 30 w 96"/>
                <a:gd name="T17" fmla="*/ 20 h 79"/>
                <a:gd name="T18" fmla="*/ 30 w 96"/>
                <a:gd name="T19" fmla="*/ 23 h 79"/>
                <a:gd name="T20" fmla="*/ 24 w 96"/>
                <a:gd name="T21" fmla="*/ 32 h 79"/>
                <a:gd name="T22" fmla="*/ 24 w 96"/>
                <a:gd name="T23" fmla="*/ 36 h 79"/>
                <a:gd name="T24" fmla="*/ 18 w 96"/>
                <a:gd name="T25" fmla="*/ 42 h 79"/>
                <a:gd name="T26" fmla="*/ 17 w 96"/>
                <a:gd name="T27" fmla="*/ 42 h 79"/>
                <a:gd name="T28" fmla="*/ 13 w 96"/>
                <a:gd name="T29" fmla="*/ 49 h 79"/>
                <a:gd name="T30" fmla="*/ 14 w 96"/>
                <a:gd name="T31" fmla="*/ 50 h 79"/>
                <a:gd name="T32" fmla="*/ 9 w 96"/>
                <a:gd name="T33" fmla="*/ 57 h 79"/>
                <a:gd name="T34" fmla="*/ 9 w 96"/>
                <a:gd name="T35" fmla="*/ 58 h 79"/>
                <a:gd name="T36" fmla="*/ 10 w 96"/>
                <a:gd name="T37" fmla="*/ 60 h 79"/>
                <a:gd name="T38" fmla="*/ 9 w 96"/>
                <a:gd name="T39" fmla="*/ 60 h 79"/>
                <a:gd name="T40" fmla="*/ 5 w 96"/>
                <a:gd name="T41" fmla="*/ 66 h 79"/>
                <a:gd name="T42" fmla="*/ 3 w 96"/>
                <a:gd name="T43" fmla="*/ 66 h 79"/>
                <a:gd name="T44" fmla="*/ 2 w 96"/>
                <a:gd name="T45" fmla="*/ 69 h 79"/>
                <a:gd name="T46" fmla="*/ 2 w 96"/>
                <a:gd name="T47" fmla="*/ 72 h 79"/>
                <a:gd name="T48" fmla="*/ 0 w 96"/>
                <a:gd name="T49" fmla="*/ 74 h 79"/>
                <a:gd name="T50" fmla="*/ 0 w 96"/>
                <a:gd name="T51" fmla="*/ 79 h 79"/>
                <a:gd name="T52" fmla="*/ 47 w 96"/>
                <a:gd name="T53" fmla="*/ 77 h 79"/>
                <a:gd name="T54" fmla="*/ 47 w 96"/>
                <a:gd name="T55" fmla="*/ 55 h 79"/>
                <a:gd name="T56" fmla="*/ 48 w 96"/>
                <a:gd name="T57" fmla="*/ 53 h 79"/>
                <a:gd name="T58" fmla="*/ 51 w 96"/>
                <a:gd name="T59" fmla="*/ 51 h 79"/>
                <a:gd name="T60" fmla="*/ 54 w 96"/>
                <a:gd name="T61" fmla="*/ 50 h 79"/>
                <a:gd name="T62" fmla="*/ 58 w 96"/>
                <a:gd name="T63" fmla="*/ 50 h 79"/>
                <a:gd name="T64" fmla="*/ 59 w 96"/>
                <a:gd name="T65" fmla="*/ 20 h 79"/>
                <a:gd name="T66" fmla="*/ 96 w 96"/>
                <a:gd name="T67" fmla="*/ 20 h 79"/>
                <a:gd name="T68" fmla="*/ 96 w 96"/>
                <a:gd name="T69" fmla="*/ 4 h 79"/>
                <a:gd name="T70" fmla="*/ 96 w 96"/>
                <a:gd name="T71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79">
                  <a:moveTo>
                    <a:pt x="96" y="4"/>
                  </a:moveTo>
                  <a:lnTo>
                    <a:pt x="96" y="1"/>
                  </a:lnTo>
                  <a:lnTo>
                    <a:pt x="49" y="0"/>
                  </a:lnTo>
                  <a:lnTo>
                    <a:pt x="44" y="7"/>
                  </a:lnTo>
                  <a:lnTo>
                    <a:pt x="44" y="11"/>
                  </a:lnTo>
                  <a:lnTo>
                    <a:pt x="43" y="11"/>
                  </a:lnTo>
                  <a:lnTo>
                    <a:pt x="34" y="15"/>
                  </a:lnTo>
                  <a:lnTo>
                    <a:pt x="33" y="17"/>
                  </a:lnTo>
                  <a:lnTo>
                    <a:pt x="30" y="20"/>
                  </a:lnTo>
                  <a:lnTo>
                    <a:pt x="30" y="23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3" y="49"/>
                  </a:lnTo>
                  <a:lnTo>
                    <a:pt x="14" y="50"/>
                  </a:lnTo>
                  <a:lnTo>
                    <a:pt x="9" y="57"/>
                  </a:lnTo>
                  <a:lnTo>
                    <a:pt x="9" y="58"/>
                  </a:lnTo>
                  <a:lnTo>
                    <a:pt x="10" y="60"/>
                  </a:lnTo>
                  <a:lnTo>
                    <a:pt x="9" y="60"/>
                  </a:lnTo>
                  <a:lnTo>
                    <a:pt x="5" y="66"/>
                  </a:lnTo>
                  <a:lnTo>
                    <a:pt x="3" y="66"/>
                  </a:lnTo>
                  <a:lnTo>
                    <a:pt x="2" y="69"/>
                  </a:lnTo>
                  <a:lnTo>
                    <a:pt x="2" y="72"/>
                  </a:lnTo>
                  <a:lnTo>
                    <a:pt x="0" y="74"/>
                  </a:lnTo>
                  <a:lnTo>
                    <a:pt x="0" y="79"/>
                  </a:lnTo>
                  <a:lnTo>
                    <a:pt x="47" y="77"/>
                  </a:lnTo>
                  <a:lnTo>
                    <a:pt x="47" y="55"/>
                  </a:lnTo>
                  <a:lnTo>
                    <a:pt x="48" y="53"/>
                  </a:lnTo>
                  <a:lnTo>
                    <a:pt x="51" y="51"/>
                  </a:lnTo>
                  <a:lnTo>
                    <a:pt x="54" y="50"/>
                  </a:lnTo>
                  <a:lnTo>
                    <a:pt x="58" y="50"/>
                  </a:lnTo>
                  <a:lnTo>
                    <a:pt x="59" y="20"/>
                  </a:lnTo>
                  <a:lnTo>
                    <a:pt x="96" y="20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0" name="Freeform 100"/>
            <p:cNvSpPr>
              <a:spLocks/>
            </p:cNvSpPr>
            <p:nvPr/>
          </p:nvSpPr>
          <p:spPr bwMode="auto">
            <a:xfrm>
              <a:off x="1774" y="1672"/>
              <a:ext cx="139" cy="152"/>
            </a:xfrm>
            <a:custGeom>
              <a:avLst/>
              <a:gdLst>
                <a:gd name="T0" fmla="*/ 48 w 139"/>
                <a:gd name="T1" fmla="*/ 73 h 152"/>
                <a:gd name="T2" fmla="*/ 49 w 139"/>
                <a:gd name="T3" fmla="*/ 49 h 152"/>
                <a:gd name="T4" fmla="*/ 55 w 139"/>
                <a:gd name="T5" fmla="*/ 46 h 152"/>
                <a:gd name="T6" fmla="*/ 60 w 139"/>
                <a:gd name="T7" fmla="*/ 16 h 152"/>
                <a:gd name="T8" fmla="*/ 97 w 139"/>
                <a:gd name="T9" fmla="*/ 0 h 152"/>
                <a:gd name="T10" fmla="*/ 139 w 139"/>
                <a:gd name="T11" fmla="*/ 28 h 152"/>
                <a:gd name="T12" fmla="*/ 125 w 139"/>
                <a:gd name="T13" fmla="*/ 28 h 152"/>
                <a:gd name="T14" fmla="*/ 137 w 139"/>
                <a:gd name="T15" fmla="*/ 134 h 152"/>
                <a:gd name="T16" fmla="*/ 93 w 139"/>
                <a:gd name="T17" fmla="*/ 145 h 152"/>
                <a:gd name="T18" fmla="*/ 90 w 139"/>
                <a:gd name="T19" fmla="*/ 143 h 152"/>
                <a:gd name="T20" fmla="*/ 86 w 139"/>
                <a:gd name="T21" fmla="*/ 145 h 152"/>
                <a:gd name="T22" fmla="*/ 84 w 139"/>
                <a:gd name="T23" fmla="*/ 140 h 152"/>
                <a:gd name="T24" fmla="*/ 76 w 139"/>
                <a:gd name="T25" fmla="*/ 141 h 152"/>
                <a:gd name="T26" fmla="*/ 72 w 139"/>
                <a:gd name="T27" fmla="*/ 147 h 152"/>
                <a:gd name="T28" fmla="*/ 69 w 139"/>
                <a:gd name="T29" fmla="*/ 140 h 152"/>
                <a:gd name="T30" fmla="*/ 63 w 139"/>
                <a:gd name="T31" fmla="*/ 141 h 152"/>
                <a:gd name="T32" fmla="*/ 63 w 139"/>
                <a:gd name="T33" fmla="*/ 147 h 152"/>
                <a:gd name="T34" fmla="*/ 59 w 139"/>
                <a:gd name="T35" fmla="*/ 151 h 152"/>
                <a:gd name="T36" fmla="*/ 56 w 139"/>
                <a:gd name="T37" fmla="*/ 152 h 152"/>
                <a:gd name="T38" fmla="*/ 52 w 139"/>
                <a:gd name="T39" fmla="*/ 149 h 152"/>
                <a:gd name="T40" fmla="*/ 49 w 139"/>
                <a:gd name="T41" fmla="*/ 145 h 152"/>
                <a:gd name="T42" fmla="*/ 46 w 139"/>
                <a:gd name="T43" fmla="*/ 143 h 152"/>
                <a:gd name="T44" fmla="*/ 44 w 139"/>
                <a:gd name="T45" fmla="*/ 137 h 152"/>
                <a:gd name="T46" fmla="*/ 41 w 139"/>
                <a:gd name="T47" fmla="*/ 137 h 152"/>
                <a:gd name="T48" fmla="*/ 38 w 139"/>
                <a:gd name="T49" fmla="*/ 137 h 152"/>
                <a:gd name="T50" fmla="*/ 37 w 139"/>
                <a:gd name="T51" fmla="*/ 134 h 152"/>
                <a:gd name="T52" fmla="*/ 31 w 139"/>
                <a:gd name="T53" fmla="*/ 132 h 152"/>
                <a:gd name="T54" fmla="*/ 23 w 139"/>
                <a:gd name="T55" fmla="*/ 129 h 152"/>
                <a:gd name="T56" fmla="*/ 11 w 139"/>
                <a:gd name="T57" fmla="*/ 133 h 152"/>
                <a:gd name="T58" fmla="*/ 7 w 139"/>
                <a:gd name="T59" fmla="*/ 134 h 152"/>
                <a:gd name="T60" fmla="*/ 6 w 139"/>
                <a:gd name="T61" fmla="*/ 132 h 152"/>
                <a:gd name="T62" fmla="*/ 10 w 139"/>
                <a:gd name="T63" fmla="*/ 121 h 152"/>
                <a:gd name="T64" fmla="*/ 8 w 139"/>
                <a:gd name="T65" fmla="*/ 100 h 152"/>
                <a:gd name="T66" fmla="*/ 7 w 139"/>
                <a:gd name="T67" fmla="*/ 94 h 152"/>
                <a:gd name="T68" fmla="*/ 10 w 139"/>
                <a:gd name="T69" fmla="*/ 90 h 152"/>
                <a:gd name="T70" fmla="*/ 10 w 139"/>
                <a:gd name="T71" fmla="*/ 85 h 152"/>
                <a:gd name="T72" fmla="*/ 6 w 139"/>
                <a:gd name="T73" fmla="*/ 81 h 152"/>
                <a:gd name="T74" fmla="*/ 3 w 139"/>
                <a:gd name="T75" fmla="*/ 79 h 152"/>
                <a:gd name="T76" fmla="*/ 0 w 139"/>
                <a:gd name="T77" fmla="*/ 77 h 152"/>
                <a:gd name="T78" fmla="*/ 1 w 139"/>
                <a:gd name="T79" fmla="*/ 7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9" h="152">
                  <a:moveTo>
                    <a:pt x="1" y="75"/>
                  </a:moveTo>
                  <a:lnTo>
                    <a:pt x="48" y="73"/>
                  </a:lnTo>
                  <a:lnTo>
                    <a:pt x="48" y="51"/>
                  </a:lnTo>
                  <a:lnTo>
                    <a:pt x="49" y="49"/>
                  </a:lnTo>
                  <a:lnTo>
                    <a:pt x="52" y="47"/>
                  </a:lnTo>
                  <a:lnTo>
                    <a:pt x="55" y="46"/>
                  </a:lnTo>
                  <a:lnTo>
                    <a:pt x="59" y="46"/>
                  </a:lnTo>
                  <a:lnTo>
                    <a:pt x="60" y="16"/>
                  </a:lnTo>
                  <a:lnTo>
                    <a:pt x="97" y="16"/>
                  </a:lnTo>
                  <a:lnTo>
                    <a:pt x="97" y="0"/>
                  </a:lnTo>
                  <a:lnTo>
                    <a:pt x="139" y="28"/>
                  </a:lnTo>
                  <a:lnTo>
                    <a:pt x="139" y="28"/>
                  </a:lnTo>
                  <a:lnTo>
                    <a:pt x="139" y="28"/>
                  </a:lnTo>
                  <a:lnTo>
                    <a:pt x="125" y="28"/>
                  </a:lnTo>
                  <a:lnTo>
                    <a:pt x="135" y="132"/>
                  </a:lnTo>
                  <a:lnTo>
                    <a:pt x="137" y="134"/>
                  </a:lnTo>
                  <a:lnTo>
                    <a:pt x="133" y="145"/>
                  </a:lnTo>
                  <a:lnTo>
                    <a:pt x="93" y="145"/>
                  </a:lnTo>
                  <a:lnTo>
                    <a:pt x="91" y="144"/>
                  </a:lnTo>
                  <a:lnTo>
                    <a:pt x="90" y="143"/>
                  </a:lnTo>
                  <a:lnTo>
                    <a:pt x="89" y="143"/>
                  </a:lnTo>
                  <a:lnTo>
                    <a:pt x="86" y="145"/>
                  </a:lnTo>
                  <a:lnTo>
                    <a:pt x="84" y="144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76" y="141"/>
                  </a:lnTo>
                  <a:lnTo>
                    <a:pt x="74" y="147"/>
                  </a:lnTo>
                  <a:lnTo>
                    <a:pt x="72" y="147"/>
                  </a:lnTo>
                  <a:lnTo>
                    <a:pt x="69" y="143"/>
                  </a:lnTo>
                  <a:lnTo>
                    <a:pt x="69" y="140"/>
                  </a:lnTo>
                  <a:lnTo>
                    <a:pt x="67" y="140"/>
                  </a:lnTo>
                  <a:lnTo>
                    <a:pt x="63" y="141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51"/>
                  </a:lnTo>
                  <a:lnTo>
                    <a:pt x="59" y="151"/>
                  </a:lnTo>
                  <a:lnTo>
                    <a:pt x="56" y="152"/>
                  </a:lnTo>
                  <a:lnTo>
                    <a:pt x="56" y="152"/>
                  </a:lnTo>
                  <a:lnTo>
                    <a:pt x="55" y="151"/>
                  </a:lnTo>
                  <a:lnTo>
                    <a:pt x="52" y="149"/>
                  </a:lnTo>
                  <a:lnTo>
                    <a:pt x="50" y="148"/>
                  </a:lnTo>
                  <a:lnTo>
                    <a:pt x="49" y="145"/>
                  </a:lnTo>
                  <a:lnTo>
                    <a:pt x="46" y="145"/>
                  </a:lnTo>
                  <a:lnTo>
                    <a:pt x="46" y="143"/>
                  </a:lnTo>
                  <a:lnTo>
                    <a:pt x="44" y="140"/>
                  </a:lnTo>
                  <a:lnTo>
                    <a:pt x="44" y="137"/>
                  </a:lnTo>
                  <a:lnTo>
                    <a:pt x="42" y="136"/>
                  </a:lnTo>
                  <a:lnTo>
                    <a:pt x="41" y="137"/>
                  </a:lnTo>
                  <a:lnTo>
                    <a:pt x="40" y="136"/>
                  </a:lnTo>
                  <a:lnTo>
                    <a:pt x="38" y="137"/>
                  </a:lnTo>
                  <a:lnTo>
                    <a:pt x="37" y="136"/>
                  </a:lnTo>
                  <a:lnTo>
                    <a:pt x="37" y="134"/>
                  </a:lnTo>
                  <a:lnTo>
                    <a:pt x="34" y="132"/>
                  </a:lnTo>
                  <a:lnTo>
                    <a:pt x="31" y="132"/>
                  </a:lnTo>
                  <a:lnTo>
                    <a:pt x="26" y="129"/>
                  </a:lnTo>
                  <a:lnTo>
                    <a:pt x="23" y="129"/>
                  </a:lnTo>
                  <a:lnTo>
                    <a:pt x="18" y="132"/>
                  </a:lnTo>
                  <a:lnTo>
                    <a:pt x="11" y="133"/>
                  </a:lnTo>
                  <a:lnTo>
                    <a:pt x="8" y="134"/>
                  </a:lnTo>
                  <a:lnTo>
                    <a:pt x="7" y="134"/>
                  </a:lnTo>
                  <a:lnTo>
                    <a:pt x="6" y="137"/>
                  </a:lnTo>
                  <a:lnTo>
                    <a:pt x="6" y="132"/>
                  </a:lnTo>
                  <a:lnTo>
                    <a:pt x="7" y="125"/>
                  </a:lnTo>
                  <a:lnTo>
                    <a:pt x="10" y="121"/>
                  </a:lnTo>
                  <a:lnTo>
                    <a:pt x="11" y="113"/>
                  </a:lnTo>
                  <a:lnTo>
                    <a:pt x="8" y="100"/>
                  </a:lnTo>
                  <a:lnTo>
                    <a:pt x="6" y="95"/>
                  </a:lnTo>
                  <a:lnTo>
                    <a:pt x="7" y="94"/>
                  </a:lnTo>
                  <a:lnTo>
                    <a:pt x="8" y="94"/>
                  </a:lnTo>
                  <a:lnTo>
                    <a:pt x="10" y="90"/>
                  </a:lnTo>
                  <a:lnTo>
                    <a:pt x="8" y="87"/>
                  </a:lnTo>
                  <a:lnTo>
                    <a:pt x="10" y="85"/>
                  </a:lnTo>
                  <a:lnTo>
                    <a:pt x="7" y="81"/>
                  </a:lnTo>
                  <a:lnTo>
                    <a:pt x="6" y="81"/>
                  </a:lnTo>
                  <a:lnTo>
                    <a:pt x="4" y="81"/>
                  </a:lnTo>
                  <a:lnTo>
                    <a:pt x="3" y="79"/>
                  </a:lnTo>
                  <a:lnTo>
                    <a:pt x="0" y="81"/>
                  </a:lnTo>
                  <a:lnTo>
                    <a:pt x="0" y="77"/>
                  </a:lnTo>
                  <a:lnTo>
                    <a:pt x="1" y="75"/>
                  </a:lnTo>
                  <a:lnTo>
                    <a:pt x="1" y="7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1" name="Freeform 101"/>
            <p:cNvSpPr>
              <a:spLocks/>
            </p:cNvSpPr>
            <p:nvPr/>
          </p:nvSpPr>
          <p:spPr bwMode="auto">
            <a:xfrm>
              <a:off x="1830" y="1700"/>
              <a:ext cx="192" cy="178"/>
            </a:xfrm>
            <a:custGeom>
              <a:avLst/>
              <a:gdLst>
                <a:gd name="T0" fmla="*/ 7 w 192"/>
                <a:gd name="T1" fmla="*/ 123 h 178"/>
                <a:gd name="T2" fmla="*/ 7 w 192"/>
                <a:gd name="T3" fmla="*/ 113 h 178"/>
                <a:gd name="T4" fmla="*/ 13 w 192"/>
                <a:gd name="T5" fmla="*/ 115 h 178"/>
                <a:gd name="T6" fmla="*/ 20 w 192"/>
                <a:gd name="T7" fmla="*/ 113 h 178"/>
                <a:gd name="T8" fmla="*/ 28 w 192"/>
                <a:gd name="T9" fmla="*/ 116 h 178"/>
                <a:gd name="T10" fmla="*/ 34 w 192"/>
                <a:gd name="T11" fmla="*/ 115 h 178"/>
                <a:gd name="T12" fmla="*/ 77 w 192"/>
                <a:gd name="T13" fmla="*/ 117 h 178"/>
                <a:gd name="T14" fmla="*/ 69 w 192"/>
                <a:gd name="T15" fmla="*/ 0 h 178"/>
                <a:gd name="T16" fmla="*/ 162 w 192"/>
                <a:gd name="T17" fmla="*/ 57 h 178"/>
                <a:gd name="T18" fmla="*/ 171 w 192"/>
                <a:gd name="T19" fmla="*/ 60 h 178"/>
                <a:gd name="T20" fmla="*/ 179 w 192"/>
                <a:gd name="T21" fmla="*/ 66 h 178"/>
                <a:gd name="T22" fmla="*/ 178 w 192"/>
                <a:gd name="T23" fmla="*/ 72 h 178"/>
                <a:gd name="T24" fmla="*/ 190 w 192"/>
                <a:gd name="T25" fmla="*/ 71 h 178"/>
                <a:gd name="T26" fmla="*/ 190 w 192"/>
                <a:gd name="T27" fmla="*/ 105 h 178"/>
                <a:gd name="T28" fmla="*/ 186 w 192"/>
                <a:gd name="T29" fmla="*/ 113 h 178"/>
                <a:gd name="T30" fmla="*/ 174 w 192"/>
                <a:gd name="T31" fmla="*/ 119 h 178"/>
                <a:gd name="T32" fmla="*/ 163 w 192"/>
                <a:gd name="T33" fmla="*/ 120 h 178"/>
                <a:gd name="T34" fmla="*/ 149 w 192"/>
                <a:gd name="T35" fmla="*/ 123 h 178"/>
                <a:gd name="T36" fmla="*/ 145 w 192"/>
                <a:gd name="T37" fmla="*/ 121 h 178"/>
                <a:gd name="T38" fmla="*/ 137 w 192"/>
                <a:gd name="T39" fmla="*/ 120 h 178"/>
                <a:gd name="T40" fmla="*/ 125 w 192"/>
                <a:gd name="T41" fmla="*/ 125 h 178"/>
                <a:gd name="T42" fmla="*/ 109 w 192"/>
                <a:gd name="T43" fmla="*/ 138 h 178"/>
                <a:gd name="T44" fmla="*/ 98 w 192"/>
                <a:gd name="T45" fmla="*/ 139 h 178"/>
                <a:gd name="T46" fmla="*/ 92 w 192"/>
                <a:gd name="T47" fmla="*/ 146 h 178"/>
                <a:gd name="T48" fmla="*/ 87 w 192"/>
                <a:gd name="T49" fmla="*/ 157 h 178"/>
                <a:gd name="T50" fmla="*/ 83 w 192"/>
                <a:gd name="T51" fmla="*/ 163 h 178"/>
                <a:gd name="T52" fmla="*/ 80 w 192"/>
                <a:gd name="T53" fmla="*/ 169 h 178"/>
                <a:gd name="T54" fmla="*/ 79 w 192"/>
                <a:gd name="T55" fmla="*/ 174 h 178"/>
                <a:gd name="T56" fmla="*/ 72 w 192"/>
                <a:gd name="T57" fmla="*/ 176 h 178"/>
                <a:gd name="T58" fmla="*/ 67 w 192"/>
                <a:gd name="T59" fmla="*/ 176 h 178"/>
                <a:gd name="T60" fmla="*/ 60 w 192"/>
                <a:gd name="T61" fmla="*/ 177 h 178"/>
                <a:gd name="T62" fmla="*/ 53 w 192"/>
                <a:gd name="T63" fmla="*/ 177 h 178"/>
                <a:gd name="T64" fmla="*/ 49 w 192"/>
                <a:gd name="T65" fmla="*/ 174 h 178"/>
                <a:gd name="T66" fmla="*/ 47 w 192"/>
                <a:gd name="T67" fmla="*/ 169 h 178"/>
                <a:gd name="T68" fmla="*/ 43 w 192"/>
                <a:gd name="T69" fmla="*/ 172 h 178"/>
                <a:gd name="T70" fmla="*/ 46 w 192"/>
                <a:gd name="T71" fmla="*/ 163 h 178"/>
                <a:gd name="T72" fmla="*/ 43 w 192"/>
                <a:gd name="T73" fmla="*/ 159 h 178"/>
                <a:gd name="T74" fmla="*/ 39 w 192"/>
                <a:gd name="T75" fmla="*/ 154 h 178"/>
                <a:gd name="T76" fmla="*/ 33 w 192"/>
                <a:gd name="T77" fmla="*/ 154 h 178"/>
                <a:gd name="T78" fmla="*/ 27 w 192"/>
                <a:gd name="T79" fmla="*/ 157 h 178"/>
                <a:gd name="T80" fmla="*/ 19 w 192"/>
                <a:gd name="T81" fmla="*/ 157 h 178"/>
                <a:gd name="T82" fmla="*/ 13 w 192"/>
                <a:gd name="T83" fmla="*/ 157 h 178"/>
                <a:gd name="T84" fmla="*/ 13 w 192"/>
                <a:gd name="T85" fmla="*/ 153 h 178"/>
                <a:gd name="T86" fmla="*/ 11 w 192"/>
                <a:gd name="T87" fmla="*/ 149 h 178"/>
                <a:gd name="T88" fmla="*/ 9 w 192"/>
                <a:gd name="T89" fmla="*/ 143 h 178"/>
                <a:gd name="T90" fmla="*/ 5 w 192"/>
                <a:gd name="T91" fmla="*/ 142 h 178"/>
                <a:gd name="T92" fmla="*/ 1 w 192"/>
                <a:gd name="T93" fmla="*/ 135 h 178"/>
                <a:gd name="T94" fmla="*/ 1 w 192"/>
                <a:gd name="T95" fmla="*/ 12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2" h="178">
                  <a:moveTo>
                    <a:pt x="0" y="124"/>
                  </a:moveTo>
                  <a:lnTo>
                    <a:pt x="3" y="123"/>
                  </a:lnTo>
                  <a:lnTo>
                    <a:pt x="7" y="123"/>
                  </a:lnTo>
                  <a:lnTo>
                    <a:pt x="7" y="119"/>
                  </a:lnTo>
                  <a:lnTo>
                    <a:pt x="7" y="117"/>
                  </a:lnTo>
                  <a:lnTo>
                    <a:pt x="7" y="113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6" y="119"/>
                  </a:lnTo>
                  <a:lnTo>
                    <a:pt x="18" y="119"/>
                  </a:lnTo>
                  <a:lnTo>
                    <a:pt x="20" y="113"/>
                  </a:lnTo>
                  <a:lnTo>
                    <a:pt x="26" y="112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0" y="117"/>
                  </a:lnTo>
                  <a:lnTo>
                    <a:pt x="33" y="115"/>
                  </a:lnTo>
                  <a:lnTo>
                    <a:pt x="34" y="115"/>
                  </a:lnTo>
                  <a:lnTo>
                    <a:pt x="35" y="116"/>
                  </a:lnTo>
                  <a:lnTo>
                    <a:pt x="37" y="117"/>
                  </a:lnTo>
                  <a:lnTo>
                    <a:pt x="77" y="117"/>
                  </a:lnTo>
                  <a:lnTo>
                    <a:pt x="81" y="106"/>
                  </a:lnTo>
                  <a:lnTo>
                    <a:pt x="79" y="104"/>
                  </a:lnTo>
                  <a:lnTo>
                    <a:pt x="69" y="0"/>
                  </a:lnTo>
                  <a:lnTo>
                    <a:pt x="83" y="0"/>
                  </a:lnTo>
                  <a:lnTo>
                    <a:pt x="160" y="51"/>
                  </a:lnTo>
                  <a:lnTo>
                    <a:pt x="162" y="57"/>
                  </a:lnTo>
                  <a:lnTo>
                    <a:pt x="164" y="59"/>
                  </a:lnTo>
                  <a:lnTo>
                    <a:pt x="168" y="59"/>
                  </a:lnTo>
                  <a:lnTo>
                    <a:pt x="171" y="60"/>
                  </a:lnTo>
                  <a:lnTo>
                    <a:pt x="174" y="63"/>
                  </a:lnTo>
                  <a:lnTo>
                    <a:pt x="177" y="63"/>
                  </a:lnTo>
                  <a:lnTo>
                    <a:pt x="179" y="66"/>
                  </a:lnTo>
                  <a:lnTo>
                    <a:pt x="179" y="67"/>
                  </a:lnTo>
                  <a:lnTo>
                    <a:pt x="178" y="71"/>
                  </a:lnTo>
                  <a:lnTo>
                    <a:pt x="178" y="72"/>
                  </a:lnTo>
                  <a:lnTo>
                    <a:pt x="181" y="74"/>
                  </a:lnTo>
                  <a:lnTo>
                    <a:pt x="186" y="72"/>
                  </a:lnTo>
                  <a:lnTo>
                    <a:pt x="190" y="71"/>
                  </a:lnTo>
                  <a:lnTo>
                    <a:pt x="192" y="71"/>
                  </a:lnTo>
                  <a:lnTo>
                    <a:pt x="190" y="94"/>
                  </a:lnTo>
                  <a:lnTo>
                    <a:pt x="190" y="105"/>
                  </a:lnTo>
                  <a:lnTo>
                    <a:pt x="188" y="106"/>
                  </a:lnTo>
                  <a:lnTo>
                    <a:pt x="188" y="110"/>
                  </a:lnTo>
                  <a:lnTo>
                    <a:pt x="186" y="113"/>
                  </a:lnTo>
                  <a:lnTo>
                    <a:pt x="181" y="116"/>
                  </a:lnTo>
                  <a:lnTo>
                    <a:pt x="177" y="117"/>
                  </a:lnTo>
                  <a:lnTo>
                    <a:pt x="174" y="119"/>
                  </a:lnTo>
                  <a:lnTo>
                    <a:pt x="170" y="120"/>
                  </a:lnTo>
                  <a:lnTo>
                    <a:pt x="168" y="120"/>
                  </a:lnTo>
                  <a:lnTo>
                    <a:pt x="163" y="120"/>
                  </a:lnTo>
                  <a:lnTo>
                    <a:pt x="160" y="121"/>
                  </a:lnTo>
                  <a:lnTo>
                    <a:pt x="158" y="121"/>
                  </a:lnTo>
                  <a:lnTo>
                    <a:pt x="149" y="123"/>
                  </a:lnTo>
                  <a:lnTo>
                    <a:pt x="147" y="121"/>
                  </a:lnTo>
                  <a:lnTo>
                    <a:pt x="147" y="123"/>
                  </a:lnTo>
                  <a:lnTo>
                    <a:pt x="145" y="121"/>
                  </a:lnTo>
                  <a:lnTo>
                    <a:pt x="143" y="121"/>
                  </a:lnTo>
                  <a:lnTo>
                    <a:pt x="140" y="120"/>
                  </a:lnTo>
                  <a:lnTo>
                    <a:pt x="137" y="120"/>
                  </a:lnTo>
                  <a:lnTo>
                    <a:pt x="132" y="121"/>
                  </a:lnTo>
                  <a:lnTo>
                    <a:pt x="128" y="123"/>
                  </a:lnTo>
                  <a:lnTo>
                    <a:pt x="125" y="125"/>
                  </a:lnTo>
                  <a:lnTo>
                    <a:pt x="115" y="131"/>
                  </a:lnTo>
                  <a:lnTo>
                    <a:pt x="109" y="135"/>
                  </a:lnTo>
                  <a:lnTo>
                    <a:pt x="109" y="138"/>
                  </a:lnTo>
                  <a:lnTo>
                    <a:pt x="102" y="139"/>
                  </a:lnTo>
                  <a:lnTo>
                    <a:pt x="101" y="139"/>
                  </a:lnTo>
                  <a:lnTo>
                    <a:pt x="98" y="139"/>
                  </a:lnTo>
                  <a:lnTo>
                    <a:pt x="96" y="140"/>
                  </a:lnTo>
                  <a:lnTo>
                    <a:pt x="95" y="142"/>
                  </a:lnTo>
                  <a:lnTo>
                    <a:pt x="92" y="146"/>
                  </a:lnTo>
                  <a:lnTo>
                    <a:pt x="92" y="147"/>
                  </a:lnTo>
                  <a:lnTo>
                    <a:pt x="90" y="151"/>
                  </a:lnTo>
                  <a:lnTo>
                    <a:pt x="87" y="157"/>
                  </a:lnTo>
                  <a:lnTo>
                    <a:pt x="84" y="159"/>
                  </a:lnTo>
                  <a:lnTo>
                    <a:pt x="81" y="161"/>
                  </a:lnTo>
                  <a:lnTo>
                    <a:pt x="83" y="163"/>
                  </a:lnTo>
                  <a:lnTo>
                    <a:pt x="83" y="166"/>
                  </a:lnTo>
                  <a:lnTo>
                    <a:pt x="80" y="166"/>
                  </a:lnTo>
                  <a:lnTo>
                    <a:pt x="80" y="169"/>
                  </a:lnTo>
                  <a:lnTo>
                    <a:pt x="81" y="172"/>
                  </a:lnTo>
                  <a:lnTo>
                    <a:pt x="80" y="174"/>
                  </a:lnTo>
                  <a:lnTo>
                    <a:pt x="79" y="174"/>
                  </a:lnTo>
                  <a:lnTo>
                    <a:pt x="77" y="178"/>
                  </a:lnTo>
                  <a:lnTo>
                    <a:pt x="73" y="177"/>
                  </a:lnTo>
                  <a:lnTo>
                    <a:pt x="72" y="176"/>
                  </a:lnTo>
                  <a:lnTo>
                    <a:pt x="73" y="174"/>
                  </a:lnTo>
                  <a:lnTo>
                    <a:pt x="71" y="174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5" y="177"/>
                  </a:lnTo>
                  <a:lnTo>
                    <a:pt x="60" y="177"/>
                  </a:lnTo>
                  <a:lnTo>
                    <a:pt x="57" y="176"/>
                  </a:lnTo>
                  <a:lnTo>
                    <a:pt x="56" y="176"/>
                  </a:lnTo>
                  <a:lnTo>
                    <a:pt x="53" y="177"/>
                  </a:lnTo>
                  <a:lnTo>
                    <a:pt x="53" y="176"/>
                  </a:lnTo>
                  <a:lnTo>
                    <a:pt x="52" y="174"/>
                  </a:lnTo>
                  <a:lnTo>
                    <a:pt x="49" y="174"/>
                  </a:lnTo>
                  <a:lnTo>
                    <a:pt x="49" y="173"/>
                  </a:lnTo>
                  <a:lnTo>
                    <a:pt x="47" y="172"/>
                  </a:lnTo>
                  <a:lnTo>
                    <a:pt x="47" y="169"/>
                  </a:lnTo>
                  <a:lnTo>
                    <a:pt x="46" y="169"/>
                  </a:lnTo>
                  <a:lnTo>
                    <a:pt x="45" y="172"/>
                  </a:lnTo>
                  <a:lnTo>
                    <a:pt x="43" y="172"/>
                  </a:lnTo>
                  <a:lnTo>
                    <a:pt x="43" y="169"/>
                  </a:lnTo>
                  <a:lnTo>
                    <a:pt x="46" y="165"/>
                  </a:lnTo>
                  <a:lnTo>
                    <a:pt x="46" y="163"/>
                  </a:lnTo>
                  <a:lnTo>
                    <a:pt x="43" y="163"/>
                  </a:lnTo>
                  <a:lnTo>
                    <a:pt x="42" y="162"/>
                  </a:lnTo>
                  <a:lnTo>
                    <a:pt x="43" y="159"/>
                  </a:lnTo>
                  <a:lnTo>
                    <a:pt x="42" y="157"/>
                  </a:lnTo>
                  <a:lnTo>
                    <a:pt x="39" y="154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5" y="155"/>
                  </a:lnTo>
                  <a:lnTo>
                    <a:pt x="33" y="154"/>
                  </a:lnTo>
                  <a:lnTo>
                    <a:pt x="30" y="154"/>
                  </a:lnTo>
                  <a:lnTo>
                    <a:pt x="28" y="157"/>
                  </a:lnTo>
                  <a:lnTo>
                    <a:pt x="27" y="157"/>
                  </a:lnTo>
                  <a:lnTo>
                    <a:pt x="24" y="159"/>
                  </a:lnTo>
                  <a:lnTo>
                    <a:pt x="22" y="159"/>
                  </a:lnTo>
                  <a:lnTo>
                    <a:pt x="19" y="157"/>
                  </a:lnTo>
                  <a:lnTo>
                    <a:pt x="18" y="157"/>
                  </a:lnTo>
                  <a:lnTo>
                    <a:pt x="15" y="158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5"/>
                  </a:lnTo>
                  <a:lnTo>
                    <a:pt x="13" y="153"/>
                  </a:lnTo>
                  <a:lnTo>
                    <a:pt x="11" y="151"/>
                  </a:lnTo>
                  <a:lnTo>
                    <a:pt x="11" y="150"/>
                  </a:lnTo>
                  <a:lnTo>
                    <a:pt x="11" y="149"/>
                  </a:lnTo>
                  <a:lnTo>
                    <a:pt x="11" y="147"/>
                  </a:lnTo>
                  <a:lnTo>
                    <a:pt x="9" y="146"/>
                  </a:lnTo>
                  <a:lnTo>
                    <a:pt x="9" y="143"/>
                  </a:lnTo>
                  <a:lnTo>
                    <a:pt x="8" y="143"/>
                  </a:lnTo>
                  <a:lnTo>
                    <a:pt x="7" y="143"/>
                  </a:lnTo>
                  <a:lnTo>
                    <a:pt x="5" y="142"/>
                  </a:lnTo>
                  <a:lnTo>
                    <a:pt x="4" y="139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3" y="129"/>
                  </a:lnTo>
                  <a:lnTo>
                    <a:pt x="1" y="128"/>
                  </a:lnTo>
                  <a:lnTo>
                    <a:pt x="1" y="125"/>
                  </a:lnTo>
                  <a:lnTo>
                    <a:pt x="0" y="1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2" name="Freeform 102"/>
            <p:cNvSpPr>
              <a:spLocks/>
            </p:cNvSpPr>
            <p:nvPr/>
          </p:nvSpPr>
          <p:spPr bwMode="auto">
            <a:xfrm>
              <a:off x="1910" y="1820"/>
              <a:ext cx="88" cy="64"/>
            </a:xfrm>
            <a:custGeom>
              <a:avLst/>
              <a:gdLst>
                <a:gd name="T0" fmla="*/ 1 w 88"/>
                <a:gd name="T1" fmla="*/ 52 h 64"/>
                <a:gd name="T2" fmla="*/ 0 w 88"/>
                <a:gd name="T3" fmla="*/ 46 h 64"/>
                <a:gd name="T4" fmla="*/ 3 w 88"/>
                <a:gd name="T5" fmla="*/ 43 h 64"/>
                <a:gd name="T6" fmla="*/ 4 w 88"/>
                <a:gd name="T7" fmla="*/ 39 h 64"/>
                <a:gd name="T8" fmla="*/ 10 w 88"/>
                <a:gd name="T9" fmla="*/ 31 h 64"/>
                <a:gd name="T10" fmla="*/ 12 w 88"/>
                <a:gd name="T11" fmla="*/ 26 h 64"/>
                <a:gd name="T12" fmla="*/ 16 w 88"/>
                <a:gd name="T13" fmla="*/ 20 h 64"/>
                <a:gd name="T14" fmla="*/ 21 w 88"/>
                <a:gd name="T15" fmla="*/ 19 h 64"/>
                <a:gd name="T16" fmla="*/ 29 w 88"/>
                <a:gd name="T17" fmla="*/ 18 h 64"/>
                <a:gd name="T18" fmla="*/ 35 w 88"/>
                <a:gd name="T19" fmla="*/ 11 h 64"/>
                <a:gd name="T20" fmla="*/ 48 w 88"/>
                <a:gd name="T21" fmla="*/ 3 h 64"/>
                <a:gd name="T22" fmla="*/ 57 w 88"/>
                <a:gd name="T23" fmla="*/ 0 h 64"/>
                <a:gd name="T24" fmla="*/ 63 w 88"/>
                <a:gd name="T25" fmla="*/ 1 h 64"/>
                <a:gd name="T26" fmla="*/ 67 w 88"/>
                <a:gd name="T27" fmla="*/ 3 h 64"/>
                <a:gd name="T28" fmla="*/ 65 w 88"/>
                <a:gd name="T29" fmla="*/ 7 h 64"/>
                <a:gd name="T30" fmla="*/ 64 w 88"/>
                <a:gd name="T31" fmla="*/ 12 h 64"/>
                <a:gd name="T32" fmla="*/ 75 w 88"/>
                <a:gd name="T33" fmla="*/ 24 h 64"/>
                <a:gd name="T34" fmla="*/ 84 w 88"/>
                <a:gd name="T35" fmla="*/ 24 h 64"/>
                <a:gd name="T36" fmla="*/ 86 w 88"/>
                <a:gd name="T37" fmla="*/ 27 h 64"/>
                <a:gd name="T38" fmla="*/ 87 w 88"/>
                <a:gd name="T39" fmla="*/ 30 h 64"/>
                <a:gd name="T40" fmla="*/ 88 w 88"/>
                <a:gd name="T41" fmla="*/ 35 h 64"/>
                <a:gd name="T42" fmla="*/ 88 w 88"/>
                <a:gd name="T43" fmla="*/ 37 h 64"/>
                <a:gd name="T44" fmla="*/ 84 w 88"/>
                <a:gd name="T45" fmla="*/ 41 h 64"/>
                <a:gd name="T46" fmla="*/ 79 w 88"/>
                <a:gd name="T47" fmla="*/ 42 h 64"/>
                <a:gd name="T48" fmla="*/ 78 w 88"/>
                <a:gd name="T49" fmla="*/ 45 h 64"/>
                <a:gd name="T50" fmla="*/ 76 w 88"/>
                <a:gd name="T51" fmla="*/ 49 h 64"/>
                <a:gd name="T52" fmla="*/ 72 w 88"/>
                <a:gd name="T53" fmla="*/ 50 h 64"/>
                <a:gd name="T54" fmla="*/ 59 w 88"/>
                <a:gd name="T55" fmla="*/ 48 h 64"/>
                <a:gd name="T56" fmla="*/ 59 w 88"/>
                <a:gd name="T57" fmla="*/ 48 h 64"/>
                <a:gd name="T58" fmla="*/ 53 w 88"/>
                <a:gd name="T59" fmla="*/ 49 h 64"/>
                <a:gd name="T60" fmla="*/ 42 w 88"/>
                <a:gd name="T61" fmla="*/ 49 h 64"/>
                <a:gd name="T62" fmla="*/ 33 w 88"/>
                <a:gd name="T63" fmla="*/ 50 h 64"/>
                <a:gd name="T64" fmla="*/ 29 w 88"/>
                <a:gd name="T65" fmla="*/ 53 h 64"/>
                <a:gd name="T66" fmla="*/ 30 w 88"/>
                <a:gd name="T67" fmla="*/ 57 h 64"/>
                <a:gd name="T68" fmla="*/ 31 w 88"/>
                <a:gd name="T69" fmla="*/ 64 h 64"/>
                <a:gd name="T70" fmla="*/ 27 w 88"/>
                <a:gd name="T71" fmla="*/ 62 h 64"/>
                <a:gd name="T72" fmla="*/ 23 w 88"/>
                <a:gd name="T73" fmla="*/ 64 h 64"/>
                <a:gd name="T74" fmla="*/ 18 w 88"/>
                <a:gd name="T75" fmla="*/ 62 h 64"/>
                <a:gd name="T76" fmla="*/ 14 w 88"/>
                <a:gd name="T77" fmla="*/ 60 h 64"/>
                <a:gd name="T78" fmla="*/ 11 w 88"/>
                <a:gd name="T79" fmla="*/ 58 h 64"/>
                <a:gd name="T80" fmla="*/ 4 w 88"/>
                <a:gd name="T81" fmla="*/ 56 h 64"/>
                <a:gd name="T82" fmla="*/ 0 w 88"/>
                <a:gd name="T83" fmla="*/ 5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8" h="64">
                  <a:moveTo>
                    <a:pt x="0" y="54"/>
                  </a:moveTo>
                  <a:lnTo>
                    <a:pt x="1" y="52"/>
                  </a:lnTo>
                  <a:lnTo>
                    <a:pt x="0" y="49"/>
                  </a:lnTo>
                  <a:lnTo>
                    <a:pt x="0" y="46"/>
                  </a:lnTo>
                  <a:lnTo>
                    <a:pt x="3" y="46"/>
                  </a:lnTo>
                  <a:lnTo>
                    <a:pt x="3" y="43"/>
                  </a:lnTo>
                  <a:lnTo>
                    <a:pt x="1" y="41"/>
                  </a:lnTo>
                  <a:lnTo>
                    <a:pt x="4" y="39"/>
                  </a:lnTo>
                  <a:lnTo>
                    <a:pt x="7" y="37"/>
                  </a:lnTo>
                  <a:lnTo>
                    <a:pt x="10" y="31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5" y="22"/>
                  </a:lnTo>
                  <a:lnTo>
                    <a:pt x="16" y="20"/>
                  </a:lnTo>
                  <a:lnTo>
                    <a:pt x="18" y="19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9" y="18"/>
                  </a:lnTo>
                  <a:lnTo>
                    <a:pt x="29" y="15"/>
                  </a:lnTo>
                  <a:lnTo>
                    <a:pt x="35" y="11"/>
                  </a:lnTo>
                  <a:lnTo>
                    <a:pt x="45" y="5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7" y="0"/>
                  </a:lnTo>
                  <a:lnTo>
                    <a:pt x="60" y="0"/>
                  </a:lnTo>
                  <a:lnTo>
                    <a:pt x="63" y="1"/>
                  </a:lnTo>
                  <a:lnTo>
                    <a:pt x="65" y="1"/>
                  </a:lnTo>
                  <a:lnTo>
                    <a:pt x="67" y="3"/>
                  </a:lnTo>
                  <a:lnTo>
                    <a:pt x="65" y="3"/>
                  </a:lnTo>
                  <a:lnTo>
                    <a:pt x="65" y="7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75" y="19"/>
                  </a:lnTo>
                  <a:lnTo>
                    <a:pt x="75" y="24"/>
                  </a:lnTo>
                  <a:lnTo>
                    <a:pt x="79" y="27"/>
                  </a:lnTo>
                  <a:lnTo>
                    <a:pt x="84" y="24"/>
                  </a:lnTo>
                  <a:lnTo>
                    <a:pt x="86" y="26"/>
                  </a:lnTo>
                  <a:lnTo>
                    <a:pt x="86" y="27"/>
                  </a:lnTo>
                  <a:lnTo>
                    <a:pt x="87" y="27"/>
                  </a:lnTo>
                  <a:lnTo>
                    <a:pt x="87" y="30"/>
                  </a:lnTo>
                  <a:lnTo>
                    <a:pt x="86" y="31"/>
                  </a:lnTo>
                  <a:lnTo>
                    <a:pt x="88" y="35"/>
                  </a:lnTo>
                  <a:lnTo>
                    <a:pt x="88" y="35"/>
                  </a:lnTo>
                  <a:lnTo>
                    <a:pt x="88" y="37"/>
                  </a:lnTo>
                  <a:lnTo>
                    <a:pt x="86" y="39"/>
                  </a:lnTo>
                  <a:lnTo>
                    <a:pt x="84" y="41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78" y="42"/>
                  </a:lnTo>
                  <a:lnTo>
                    <a:pt x="78" y="45"/>
                  </a:lnTo>
                  <a:lnTo>
                    <a:pt x="75" y="46"/>
                  </a:lnTo>
                  <a:lnTo>
                    <a:pt x="76" y="49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60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6" y="49"/>
                  </a:lnTo>
                  <a:lnTo>
                    <a:pt x="53" y="49"/>
                  </a:lnTo>
                  <a:lnTo>
                    <a:pt x="49" y="49"/>
                  </a:lnTo>
                  <a:lnTo>
                    <a:pt x="42" y="49"/>
                  </a:lnTo>
                  <a:lnTo>
                    <a:pt x="41" y="50"/>
                  </a:lnTo>
                  <a:lnTo>
                    <a:pt x="33" y="50"/>
                  </a:lnTo>
                  <a:lnTo>
                    <a:pt x="29" y="50"/>
                  </a:lnTo>
                  <a:lnTo>
                    <a:pt x="29" y="53"/>
                  </a:lnTo>
                  <a:lnTo>
                    <a:pt x="29" y="56"/>
                  </a:lnTo>
                  <a:lnTo>
                    <a:pt x="30" y="57"/>
                  </a:lnTo>
                  <a:lnTo>
                    <a:pt x="31" y="61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7" y="62"/>
                  </a:lnTo>
                  <a:lnTo>
                    <a:pt x="26" y="62"/>
                  </a:lnTo>
                  <a:lnTo>
                    <a:pt x="23" y="64"/>
                  </a:lnTo>
                  <a:lnTo>
                    <a:pt x="21" y="64"/>
                  </a:lnTo>
                  <a:lnTo>
                    <a:pt x="18" y="62"/>
                  </a:lnTo>
                  <a:lnTo>
                    <a:pt x="16" y="61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11" y="58"/>
                  </a:lnTo>
                  <a:lnTo>
                    <a:pt x="8" y="58"/>
                  </a:lnTo>
                  <a:lnTo>
                    <a:pt x="4" y="56"/>
                  </a:lnTo>
                  <a:lnTo>
                    <a:pt x="1" y="53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3" name="Freeform 103"/>
            <p:cNvSpPr>
              <a:spLocks/>
            </p:cNvSpPr>
            <p:nvPr/>
          </p:nvSpPr>
          <p:spPr bwMode="auto">
            <a:xfrm>
              <a:off x="1769" y="1801"/>
              <a:ext cx="74" cy="56"/>
            </a:xfrm>
            <a:custGeom>
              <a:avLst/>
              <a:gdLst>
                <a:gd name="T0" fmla="*/ 12 w 74"/>
                <a:gd name="T1" fmla="*/ 5 h 56"/>
                <a:gd name="T2" fmla="*/ 16 w 74"/>
                <a:gd name="T3" fmla="*/ 4 h 56"/>
                <a:gd name="T4" fmla="*/ 28 w 74"/>
                <a:gd name="T5" fmla="*/ 0 h 56"/>
                <a:gd name="T6" fmla="*/ 36 w 74"/>
                <a:gd name="T7" fmla="*/ 3 h 56"/>
                <a:gd name="T8" fmla="*/ 42 w 74"/>
                <a:gd name="T9" fmla="*/ 5 h 56"/>
                <a:gd name="T10" fmla="*/ 43 w 74"/>
                <a:gd name="T11" fmla="*/ 8 h 56"/>
                <a:gd name="T12" fmla="*/ 46 w 74"/>
                <a:gd name="T13" fmla="*/ 8 h 56"/>
                <a:gd name="T14" fmla="*/ 49 w 74"/>
                <a:gd name="T15" fmla="*/ 8 h 56"/>
                <a:gd name="T16" fmla="*/ 51 w 74"/>
                <a:gd name="T17" fmla="*/ 14 h 56"/>
                <a:gd name="T18" fmla="*/ 54 w 74"/>
                <a:gd name="T19" fmla="*/ 16 h 56"/>
                <a:gd name="T20" fmla="*/ 57 w 74"/>
                <a:gd name="T21" fmla="*/ 20 h 56"/>
                <a:gd name="T22" fmla="*/ 61 w 74"/>
                <a:gd name="T23" fmla="*/ 23 h 56"/>
                <a:gd name="T24" fmla="*/ 62 w 74"/>
                <a:gd name="T25" fmla="*/ 27 h 56"/>
                <a:gd name="T26" fmla="*/ 62 w 74"/>
                <a:gd name="T27" fmla="*/ 34 h 56"/>
                <a:gd name="T28" fmla="*/ 65 w 74"/>
                <a:gd name="T29" fmla="*/ 38 h 56"/>
                <a:gd name="T30" fmla="*/ 68 w 74"/>
                <a:gd name="T31" fmla="*/ 42 h 56"/>
                <a:gd name="T32" fmla="*/ 70 w 74"/>
                <a:gd name="T33" fmla="*/ 42 h 56"/>
                <a:gd name="T34" fmla="*/ 72 w 74"/>
                <a:gd name="T35" fmla="*/ 46 h 56"/>
                <a:gd name="T36" fmla="*/ 72 w 74"/>
                <a:gd name="T37" fmla="*/ 49 h 56"/>
                <a:gd name="T38" fmla="*/ 74 w 74"/>
                <a:gd name="T39" fmla="*/ 52 h 56"/>
                <a:gd name="T40" fmla="*/ 74 w 74"/>
                <a:gd name="T41" fmla="*/ 56 h 56"/>
                <a:gd name="T42" fmla="*/ 72 w 74"/>
                <a:gd name="T43" fmla="*/ 53 h 56"/>
                <a:gd name="T44" fmla="*/ 68 w 74"/>
                <a:gd name="T45" fmla="*/ 52 h 56"/>
                <a:gd name="T46" fmla="*/ 62 w 74"/>
                <a:gd name="T47" fmla="*/ 52 h 56"/>
                <a:gd name="T48" fmla="*/ 57 w 74"/>
                <a:gd name="T49" fmla="*/ 50 h 56"/>
                <a:gd name="T50" fmla="*/ 45 w 74"/>
                <a:gd name="T51" fmla="*/ 48 h 56"/>
                <a:gd name="T52" fmla="*/ 42 w 74"/>
                <a:gd name="T53" fmla="*/ 49 h 56"/>
                <a:gd name="T54" fmla="*/ 28 w 74"/>
                <a:gd name="T55" fmla="*/ 48 h 56"/>
                <a:gd name="T56" fmla="*/ 23 w 74"/>
                <a:gd name="T57" fmla="*/ 52 h 56"/>
                <a:gd name="T58" fmla="*/ 11 w 74"/>
                <a:gd name="T59" fmla="*/ 53 h 56"/>
                <a:gd name="T60" fmla="*/ 8 w 74"/>
                <a:gd name="T61" fmla="*/ 50 h 56"/>
                <a:gd name="T62" fmla="*/ 9 w 74"/>
                <a:gd name="T63" fmla="*/ 50 h 56"/>
                <a:gd name="T64" fmla="*/ 13 w 74"/>
                <a:gd name="T65" fmla="*/ 49 h 56"/>
                <a:gd name="T66" fmla="*/ 6 w 74"/>
                <a:gd name="T67" fmla="*/ 49 h 56"/>
                <a:gd name="T68" fmla="*/ 6 w 74"/>
                <a:gd name="T69" fmla="*/ 46 h 56"/>
                <a:gd name="T70" fmla="*/ 8 w 74"/>
                <a:gd name="T71" fmla="*/ 43 h 56"/>
                <a:gd name="T72" fmla="*/ 17 w 74"/>
                <a:gd name="T73" fmla="*/ 41 h 56"/>
                <a:gd name="T74" fmla="*/ 21 w 74"/>
                <a:gd name="T75" fmla="*/ 38 h 56"/>
                <a:gd name="T76" fmla="*/ 24 w 74"/>
                <a:gd name="T77" fmla="*/ 39 h 56"/>
                <a:gd name="T78" fmla="*/ 27 w 74"/>
                <a:gd name="T79" fmla="*/ 37 h 56"/>
                <a:gd name="T80" fmla="*/ 32 w 74"/>
                <a:gd name="T81" fmla="*/ 39 h 56"/>
                <a:gd name="T82" fmla="*/ 39 w 74"/>
                <a:gd name="T83" fmla="*/ 42 h 56"/>
                <a:gd name="T84" fmla="*/ 43 w 74"/>
                <a:gd name="T85" fmla="*/ 41 h 56"/>
                <a:gd name="T86" fmla="*/ 40 w 74"/>
                <a:gd name="T87" fmla="*/ 39 h 56"/>
                <a:gd name="T88" fmla="*/ 34 w 74"/>
                <a:gd name="T89" fmla="*/ 35 h 56"/>
                <a:gd name="T90" fmla="*/ 27 w 74"/>
                <a:gd name="T91" fmla="*/ 34 h 56"/>
                <a:gd name="T92" fmla="*/ 21 w 74"/>
                <a:gd name="T93" fmla="*/ 34 h 56"/>
                <a:gd name="T94" fmla="*/ 15 w 74"/>
                <a:gd name="T95" fmla="*/ 38 h 56"/>
                <a:gd name="T96" fmla="*/ 9 w 74"/>
                <a:gd name="T97" fmla="*/ 38 h 56"/>
                <a:gd name="T98" fmla="*/ 9 w 74"/>
                <a:gd name="T99" fmla="*/ 35 h 56"/>
                <a:gd name="T100" fmla="*/ 8 w 74"/>
                <a:gd name="T101" fmla="*/ 34 h 56"/>
                <a:gd name="T102" fmla="*/ 5 w 74"/>
                <a:gd name="T103" fmla="*/ 31 h 56"/>
                <a:gd name="T104" fmla="*/ 0 w 74"/>
                <a:gd name="T105" fmla="*/ 23 h 56"/>
                <a:gd name="T106" fmla="*/ 9 w 74"/>
                <a:gd name="T107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" h="56">
                  <a:moveTo>
                    <a:pt x="11" y="8"/>
                  </a:moveTo>
                  <a:lnTo>
                    <a:pt x="12" y="5"/>
                  </a:lnTo>
                  <a:lnTo>
                    <a:pt x="13" y="5"/>
                  </a:lnTo>
                  <a:lnTo>
                    <a:pt x="16" y="4"/>
                  </a:lnTo>
                  <a:lnTo>
                    <a:pt x="23" y="3"/>
                  </a:lnTo>
                  <a:lnTo>
                    <a:pt x="28" y="0"/>
                  </a:lnTo>
                  <a:lnTo>
                    <a:pt x="31" y="0"/>
                  </a:lnTo>
                  <a:lnTo>
                    <a:pt x="36" y="3"/>
                  </a:lnTo>
                  <a:lnTo>
                    <a:pt x="39" y="3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5" y="7"/>
                  </a:lnTo>
                  <a:lnTo>
                    <a:pt x="46" y="8"/>
                  </a:lnTo>
                  <a:lnTo>
                    <a:pt x="47" y="7"/>
                  </a:lnTo>
                  <a:lnTo>
                    <a:pt x="49" y="8"/>
                  </a:lnTo>
                  <a:lnTo>
                    <a:pt x="49" y="11"/>
                  </a:lnTo>
                  <a:lnTo>
                    <a:pt x="51" y="14"/>
                  </a:lnTo>
                  <a:lnTo>
                    <a:pt x="51" y="16"/>
                  </a:lnTo>
                  <a:lnTo>
                    <a:pt x="54" y="16"/>
                  </a:lnTo>
                  <a:lnTo>
                    <a:pt x="55" y="19"/>
                  </a:lnTo>
                  <a:lnTo>
                    <a:pt x="57" y="20"/>
                  </a:lnTo>
                  <a:lnTo>
                    <a:pt x="60" y="22"/>
                  </a:lnTo>
                  <a:lnTo>
                    <a:pt x="61" y="23"/>
                  </a:lnTo>
                  <a:lnTo>
                    <a:pt x="62" y="24"/>
                  </a:lnTo>
                  <a:lnTo>
                    <a:pt x="62" y="27"/>
                  </a:lnTo>
                  <a:lnTo>
                    <a:pt x="64" y="28"/>
                  </a:lnTo>
                  <a:lnTo>
                    <a:pt x="62" y="34"/>
                  </a:lnTo>
                  <a:lnTo>
                    <a:pt x="62" y="35"/>
                  </a:lnTo>
                  <a:lnTo>
                    <a:pt x="65" y="38"/>
                  </a:lnTo>
                  <a:lnTo>
                    <a:pt x="66" y="41"/>
                  </a:lnTo>
                  <a:lnTo>
                    <a:pt x="68" y="42"/>
                  </a:lnTo>
                  <a:lnTo>
                    <a:pt x="69" y="42"/>
                  </a:lnTo>
                  <a:lnTo>
                    <a:pt x="70" y="42"/>
                  </a:lnTo>
                  <a:lnTo>
                    <a:pt x="70" y="45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4" y="52"/>
                  </a:lnTo>
                  <a:lnTo>
                    <a:pt x="74" y="54"/>
                  </a:lnTo>
                  <a:lnTo>
                    <a:pt x="74" y="56"/>
                  </a:lnTo>
                  <a:lnTo>
                    <a:pt x="74" y="54"/>
                  </a:lnTo>
                  <a:lnTo>
                    <a:pt x="72" y="53"/>
                  </a:lnTo>
                  <a:lnTo>
                    <a:pt x="70" y="53"/>
                  </a:lnTo>
                  <a:lnTo>
                    <a:pt x="68" y="52"/>
                  </a:lnTo>
                  <a:lnTo>
                    <a:pt x="66" y="53"/>
                  </a:lnTo>
                  <a:lnTo>
                    <a:pt x="62" y="52"/>
                  </a:lnTo>
                  <a:lnTo>
                    <a:pt x="58" y="52"/>
                  </a:lnTo>
                  <a:lnTo>
                    <a:pt x="57" y="50"/>
                  </a:lnTo>
                  <a:lnTo>
                    <a:pt x="51" y="48"/>
                  </a:lnTo>
                  <a:lnTo>
                    <a:pt x="45" y="48"/>
                  </a:lnTo>
                  <a:lnTo>
                    <a:pt x="42" y="49"/>
                  </a:lnTo>
                  <a:lnTo>
                    <a:pt x="42" y="49"/>
                  </a:lnTo>
                  <a:lnTo>
                    <a:pt x="39" y="48"/>
                  </a:lnTo>
                  <a:lnTo>
                    <a:pt x="28" y="48"/>
                  </a:lnTo>
                  <a:lnTo>
                    <a:pt x="24" y="49"/>
                  </a:lnTo>
                  <a:lnTo>
                    <a:pt x="23" y="52"/>
                  </a:lnTo>
                  <a:lnTo>
                    <a:pt x="15" y="52"/>
                  </a:lnTo>
                  <a:lnTo>
                    <a:pt x="11" y="53"/>
                  </a:lnTo>
                  <a:lnTo>
                    <a:pt x="8" y="53"/>
                  </a:lnTo>
                  <a:lnTo>
                    <a:pt x="8" y="50"/>
                  </a:lnTo>
                  <a:lnTo>
                    <a:pt x="6" y="49"/>
                  </a:lnTo>
                  <a:lnTo>
                    <a:pt x="9" y="50"/>
                  </a:lnTo>
                  <a:lnTo>
                    <a:pt x="11" y="50"/>
                  </a:lnTo>
                  <a:lnTo>
                    <a:pt x="13" y="49"/>
                  </a:lnTo>
                  <a:lnTo>
                    <a:pt x="9" y="48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6" y="46"/>
                  </a:lnTo>
                  <a:lnTo>
                    <a:pt x="6" y="43"/>
                  </a:lnTo>
                  <a:lnTo>
                    <a:pt x="8" y="43"/>
                  </a:lnTo>
                  <a:lnTo>
                    <a:pt x="15" y="43"/>
                  </a:lnTo>
                  <a:lnTo>
                    <a:pt x="17" y="41"/>
                  </a:lnTo>
                  <a:lnTo>
                    <a:pt x="19" y="39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4" y="39"/>
                  </a:lnTo>
                  <a:lnTo>
                    <a:pt x="26" y="38"/>
                  </a:lnTo>
                  <a:lnTo>
                    <a:pt x="27" y="37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5" y="41"/>
                  </a:lnTo>
                  <a:lnTo>
                    <a:pt x="39" y="42"/>
                  </a:lnTo>
                  <a:lnTo>
                    <a:pt x="42" y="42"/>
                  </a:lnTo>
                  <a:lnTo>
                    <a:pt x="43" y="41"/>
                  </a:lnTo>
                  <a:lnTo>
                    <a:pt x="42" y="39"/>
                  </a:lnTo>
                  <a:lnTo>
                    <a:pt x="40" y="39"/>
                  </a:lnTo>
                  <a:lnTo>
                    <a:pt x="35" y="35"/>
                  </a:lnTo>
                  <a:lnTo>
                    <a:pt x="34" y="35"/>
                  </a:lnTo>
                  <a:lnTo>
                    <a:pt x="30" y="34"/>
                  </a:lnTo>
                  <a:lnTo>
                    <a:pt x="27" y="34"/>
                  </a:lnTo>
                  <a:lnTo>
                    <a:pt x="24" y="33"/>
                  </a:lnTo>
                  <a:lnTo>
                    <a:pt x="21" y="34"/>
                  </a:lnTo>
                  <a:lnTo>
                    <a:pt x="17" y="38"/>
                  </a:lnTo>
                  <a:lnTo>
                    <a:pt x="15" y="38"/>
                  </a:lnTo>
                  <a:lnTo>
                    <a:pt x="13" y="38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9" y="35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8" y="31"/>
                  </a:lnTo>
                  <a:lnTo>
                    <a:pt x="5" y="31"/>
                  </a:lnTo>
                  <a:lnTo>
                    <a:pt x="4" y="27"/>
                  </a:lnTo>
                  <a:lnTo>
                    <a:pt x="0" y="23"/>
                  </a:lnTo>
                  <a:lnTo>
                    <a:pt x="6" y="16"/>
                  </a:lnTo>
                  <a:lnTo>
                    <a:pt x="9" y="11"/>
                  </a:lnTo>
                  <a:lnTo>
                    <a:pt x="11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4" name="Freeform 104"/>
            <p:cNvSpPr>
              <a:spLocks/>
            </p:cNvSpPr>
            <p:nvPr/>
          </p:nvSpPr>
          <p:spPr bwMode="auto">
            <a:xfrm>
              <a:off x="1774" y="1834"/>
              <a:ext cx="38" cy="10"/>
            </a:xfrm>
            <a:custGeom>
              <a:avLst/>
              <a:gdLst>
                <a:gd name="T0" fmla="*/ 1 w 38"/>
                <a:gd name="T1" fmla="*/ 10 h 10"/>
                <a:gd name="T2" fmla="*/ 3 w 38"/>
                <a:gd name="T3" fmla="*/ 10 h 10"/>
                <a:gd name="T4" fmla="*/ 10 w 38"/>
                <a:gd name="T5" fmla="*/ 10 h 10"/>
                <a:gd name="T6" fmla="*/ 12 w 38"/>
                <a:gd name="T7" fmla="*/ 8 h 10"/>
                <a:gd name="T8" fmla="*/ 14 w 38"/>
                <a:gd name="T9" fmla="*/ 6 h 10"/>
                <a:gd name="T10" fmla="*/ 16 w 38"/>
                <a:gd name="T11" fmla="*/ 5 h 10"/>
                <a:gd name="T12" fmla="*/ 18 w 38"/>
                <a:gd name="T13" fmla="*/ 5 h 10"/>
                <a:gd name="T14" fmla="*/ 19 w 38"/>
                <a:gd name="T15" fmla="*/ 6 h 10"/>
                <a:gd name="T16" fmla="*/ 21 w 38"/>
                <a:gd name="T17" fmla="*/ 5 h 10"/>
                <a:gd name="T18" fmla="*/ 22 w 38"/>
                <a:gd name="T19" fmla="*/ 4 h 10"/>
                <a:gd name="T20" fmla="*/ 25 w 38"/>
                <a:gd name="T21" fmla="*/ 6 h 10"/>
                <a:gd name="T22" fmla="*/ 27 w 38"/>
                <a:gd name="T23" fmla="*/ 6 h 10"/>
                <a:gd name="T24" fmla="*/ 30 w 38"/>
                <a:gd name="T25" fmla="*/ 8 h 10"/>
                <a:gd name="T26" fmla="*/ 34 w 38"/>
                <a:gd name="T27" fmla="*/ 9 h 10"/>
                <a:gd name="T28" fmla="*/ 37 w 38"/>
                <a:gd name="T29" fmla="*/ 9 h 10"/>
                <a:gd name="T30" fmla="*/ 38 w 38"/>
                <a:gd name="T31" fmla="*/ 8 h 10"/>
                <a:gd name="T32" fmla="*/ 37 w 38"/>
                <a:gd name="T33" fmla="*/ 6 h 10"/>
                <a:gd name="T34" fmla="*/ 35 w 38"/>
                <a:gd name="T35" fmla="*/ 6 h 10"/>
                <a:gd name="T36" fmla="*/ 30 w 38"/>
                <a:gd name="T37" fmla="*/ 2 h 10"/>
                <a:gd name="T38" fmla="*/ 29 w 38"/>
                <a:gd name="T39" fmla="*/ 2 h 10"/>
                <a:gd name="T40" fmla="*/ 25 w 38"/>
                <a:gd name="T41" fmla="*/ 1 h 10"/>
                <a:gd name="T42" fmla="*/ 22 w 38"/>
                <a:gd name="T43" fmla="*/ 1 h 10"/>
                <a:gd name="T44" fmla="*/ 19 w 38"/>
                <a:gd name="T45" fmla="*/ 0 h 10"/>
                <a:gd name="T46" fmla="*/ 16 w 38"/>
                <a:gd name="T47" fmla="*/ 1 h 10"/>
                <a:gd name="T48" fmla="*/ 12 w 38"/>
                <a:gd name="T49" fmla="*/ 5 h 10"/>
                <a:gd name="T50" fmla="*/ 10 w 38"/>
                <a:gd name="T51" fmla="*/ 5 h 10"/>
                <a:gd name="T52" fmla="*/ 8 w 38"/>
                <a:gd name="T53" fmla="*/ 5 h 10"/>
                <a:gd name="T54" fmla="*/ 4 w 38"/>
                <a:gd name="T55" fmla="*/ 5 h 10"/>
                <a:gd name="T56" fmla="*/ 4 w 38"/>
                <a:gd name="T57" fmla="*/ 6 h 10"/>
                <a:gd name="T58" fmla="*/ 7 w 38"/>
                <a:gd name="T59" fmla="*/ 8 h 10"/>
                <a:gd name="T60" fmla="*/ 10 w 38"/>
                <a:gd name="T61" fmla="*/ 8 h 10"/>
                <a:gd name="T62" fmla="*/ 8 w 38"/>
                <a:gd name="T63" fmla="*/ 9 h 10"/>
                <a:gd name="T64" fmla="*/ 4 w 38"/>
                <a:gd name="T65" fmla="*/ 9 h 10"/>
                <a:gd name="T66" fmla="*/ 3 w 38"/>
                <a:gd name="T67" fmla="*/ 6 h 10"/>
                <a:gd name="T68" fmla="*/ 0 w 38"/>
                <a:gd name="T69" fmla="*/ 9 h 10"/>
                <a:gd name="T70" fmla="*/ 1 w 38"/>
                <a:gd name="T71" fmla="*/ 10 h 10"/>
                <a:gd name="T72" fmla="*/ 1 w 38"/>
                <a:gd name="T7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8" h="10">
                  <a:moveTo>
                    <a:pt x="1" y="10"/>
                  </a:moveTo>
                  <a:lnTo>
                    <a:pt x="3" y="10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4" y="6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9" y="6"/>
                  </a:lnTo>
                  <a:lnTo>
                    <a:pt x="21" y="5"/>
                  </a:lnTo>
                  <a:lnTo>
                    <a:pt x="22" y="4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30" y="8"/>
                  </a:lnTo>
                  <a:lnTo>
                    <a:pt x="34" y="9"/>
                  </a:lnTo>
                  <a:lnTo>
                    <a:pt x="37" y="9"/>
                  </a:lnTo>
                  <a:lnTo>
                    <a:pt x="38" y="8"/>
                  </a:lnTo>
                  <a:lnTo>
                    <a:pt x="37" y="6"/>
                  </a:lnTo>
                  <a:lnTo>
                    <a:pt x="35" y="6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6" y="1"/>
                  </a:lnTo>
                  <a:lnTo>
                    <a:pt x="12" y="5"/>
                  </a:lnTo>
                  <a:lnTo>
                    <a:pt x="10" y="5"/>
                  </a:lnTo>
                  <a:lnTo>
                    <a:pt x="8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7" y="8"/>
                  </a:lnTo>
                  <a:lnTo>
                    <a:pt x="10" y="8"/>
                  </a:lnTo>
                  <a:lnTo>
                    <a:pt x="8" y="9"/>
                  </a:lnTo>
                  <a:lnTo>
                    <a:pt x="4" y="9"/>
                  </a:lnTo>
                  <a:lnTo>
                    <a:pt x="3" y="6"/>
                  </a:lnTo>
                  <a:lnTo>
                    <a:pt x="0" y="9"/>
                  </a:lnTo>
                  <a:lnTo>
                    <a:pt x="1" y="10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5" name="Freeform 105"/>
            <p:cNvSpPr>
              <a:spLocks/>
            </p:cNvSpPr>
            <p:nvPr/>
          </p:nvSpPr>
          <p:spPr bwMode="auto">
            <a:xfrm>
              <a:off x="1777" y="1849"/>
              <a:ext cx="35" cy="21"/>
            </a:xfrm>
            <a:custGeom>
              <a:avLst/>
              <a:gdLst>
                <a:gd name="T0" fmla="*/ 0 w 35"/>
                <a:gd name="T1" fmla="*/ 5 h 21"/>
                <a:gd name="T2" fmla="*/ 3 w 35"/>
                <a:gd name="T3" fmla="*/ 5 h 21"/>
                <a:gd name="T4" fmla="*/ 7 w 35"/>
                <a:gd name="T5" fmla="*/ 4 h 21"/>
                <a:gd name="T6" fmla="*/ 15 w 35"/>
                <a:gd name="T7" fmla="*/ 4 h 21"/>
                <a:gd name="T8" fmla="*/ 16 w 35"/>
                <a:gd name="T9" fmla="*/ 1 h 21"/>
                <a:gd name="T10" fmla="*/ 20 w 35"/>
                <a:gd name="T11" fmla="*/ 0 h 21"/>
                <a:gd name="T12" fmla="*/ 31 w 35"/>
                <a:gd name="T13" fmla="*/ 0 h 21"/>
                <a:gd name="T14" fmla="*/ 34 w 35"/>
                <a:gd name="T15" fmla="*/ 1 h 21"/>
                <a:gd name="T16" fmla="*/ 35 w 35"/>
                <a:gd name="T17" fmla="*/ 4 h 21"/>
                <a:gd name="T18" fmla="*/ 34 w 35"/>
                <a:gd name="T19" fmla="*/ 6 h 21"/>
                <a:gd name="T20" fmla="*/ 34 w 35"/>
                <a:gd name="T21" fmla="*/ 10 h 21"/>
                <a:gd name="T22" fmla="*/ 35 w 35"/>
                <a:gd name="T23" fmla="*/ 12 h 21"/>
                <a:gd name="T24" fmla="*/ 35 w 35"/>
                <a:gd name="T25" fmla="*/ 13 h 21"/>
                <a:gd name="T26" fmla="*/ 34 w 35"/>
                <a:gd name="T27" fmla="*/ 14 h 21"/>
                <a:gd name="T28" fmla="*/ 30 w 35"/>
                <a:gd name="T29" fmla="*/ 16 h 21"/>
                <a:gd name="T30" fmla="*/ 27 w 35"/>
                <a:gd name="T31" fmla="*/ 17 h 21"/>
                <a:gd name="T32" fmla="*/ 24 w 35"/>
                <a:gd name="T33" fmla="*/ 19 h 21"/>
                <a:gd name="T34" fmla="*/ 23 w 35"/>
                <a:gd name="T35" fmla="*/ 21 h 21"/>
                <a:gd name="T36" fmla="*/ 20 w 35"/>
                <a:gd name="T37" fmla="*/ 21 h 21"/>
                <a:gd name="T38" fmla="*/ 19 w 35"/>
                <a:gd name="T39" fmla="*/ 21 h 21"/>
                <a:gd name="T40" fmla="*/ 19 w 35"/>
                <a:gd name="T41" fmla="*/ 19 h 21"/>
                <a:gd name="T42" fmla="*/ 15 w 35"/>
                <a:gd name="T43" fmla="*/ 20 h 21"/>
                <a:gd name="T44" fmla="*/ 18 w 35"/>
                <a:gd name="T45" fmla="*/ 16 h 21"/>
                <a:gd name="T46" fmla="*/ 16 w 35"/>
                <a:gd name="T47" fmla="*/ 16 h 21"/>
                <a:gd name="T48" fmla="*/ 16 w 35"/>
                <a:gd name="T49" fmla="*/ 16 h 21"/>
                <a:gd name="T50" fmla="*/ 16 w 35"/>
                <a:gd name="T51" fmla="*/ 14 h 21"/>
                <a:gd name="T52" fmla="*/ 13 w 35"/>
                <a:gd name="T53" fmla="*/ 14 h 21"/>
                <a:gd name="T54" fmla="*/ 13 w 35"/>
                <a:gd name="T55" fmla="*/ 13 h 21"/>
                <a:gd name="T56" fmla="*/ 19 w 35"/>
                <a:gd name="T57" fmla="*/ 13 h 21"/>
                <a:gd name="T58" fmla="*/ 20 w 35"/>
                <a:gd name="T59" fmla="*/ 12 h 21"/>
                <a:gd name="T60" fmla="*/ 16 w 35"/>
                <a:gd name="T61" fmla="*/ 10 h 21"/>
                <a:gd name="T62" fmla="*/ 13 w 35"/>
                <a:gd name="T63" fmla="*/ 10 h 21"/>
                <a:gd name="T64" fmla="*/ 11 w 35"/>
                <a:gd name="T65" fmla="*/ 12 h 21"/>
                <a:gd name="T66" fmla="*/ 9 w 35"/>
                <a:gd name="T67" fmla="*/ 12 h 21"/>
                <a:gd name="T68" fmla="*/ 9 w 35"/>
                <a:gd name="T69" fmla="*/ 10 h 21"/>
                <a:gd name="T70" fmla="*/ 7 w 35"/>
                <a:gd name="T71" fmla="*/ 10 h 21"/>
                <a:gd name="T72" fmla="*/ 4 w 35"/>
                <a:gd name="T73" fmla="*/ 8 h 21"/>
                <a:gd name="T74" fmla="*/ 7 w 35"/>
                <a:gd name="T75" fmla="*/ 6 h 21"/>
                <a:gd name="T76" fmla="*/ 5 w 35"/>
                <a:gd name="T77" fmla="*/ 6 h 21"/>
                <a:gd name="T78" fmla="*/ 1 w 35"/>
                <a:gd name="T79" fmla="*/ 6 h 21"/>
                <a:gd name="T80" fmla="*/ 0 w 35"/>
                <a:gd name="T81" fmla="*/ 5 h 21"/>
                <a:gd name="T82" fmla="*/ 0 w 35"/>
                <a:gd name="T83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" h="21">
                  <a:moveTo>
                    <a:pt x="0" y="5"/>
                  </a:moveTo>
                  <a:lnTo>
                    <a:pt x="3" y="5"/>
                  </a:lnTo>
                  <a:lnTo>
                    <a:pt x="7" y="4"/>
                  </a:lnTo>
                  <a:lnTo>
                    <a:pt x="15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31" y="0"/>
                  </a:lnTo>
                  <a:lnTo>
                    <a:pt x="34" y="1"/>
                  </a:lnTo>
                  <a:lnTo>
                    <a:pt x="35" y="4"/>
                  </a:lnTo>
                  <a:lnTo>
                    <a:pt x="34" y="6"/>
                  </a:lnTo>
                  <a:lnTo>
                    <a:pt x="34" y="10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4" y="14"/>
                  </a:lnTo>
                  <a:lnTo>
                    <a:pt x="30" y="16"/>
                  </a:lnTo>
                  <a:lnTo>
                    <a:pt x="27" y="17"/>
                  </a:lnTo>
                  <a:lnTo>
                    <a:pt x="24" y="19"/>
                  </a:lnTo>
                  <a:lnTo>
                    <a:pt x="23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19"/>
                  </a:lnTo>
                  <a:lnTo>
                    <a:pt x="15" y="20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9" y="13"/>
                  </a:lnTo>
                  <a:lnTo>
                    <a:pt x="20" y="12"/>
                  </a:lnTo>
                  <a:lnTo>
                    <a:pt x="16" y="10"/>
                  </a:lnTo>
                  <a:lnTo>
                    <a:pt x="13" y="10"/>
                  </a:lnTo>
                  <a:lnTo>
                    <a:pt x="11" y="12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7" y="10"/>
                  </a:lnTo>
                  <a:lnTo>
                    <a:pt x="4" y="8"/>
                  </a:lnTo>
                  <a:lnTo>
                    <a:pt x="7" y="6"/>
                  </a:lnTo>
                  <a:lnTo>
                    <a:pt x="5" y="6"/>
                  </a:lnTo>
                  <a:lnTo>
                    <a:pt x="1" y="6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6" name="Freeform 106"/>
            <p:cNvSpPr>
              <a:spLocks/>
            </p:cNvSpPr>
            <p:nvPr/>
          </p:nvSpPr>
          <p:spPr bwMode="auto">
            <a:xfrm>
              <a:off x="1800" y="1849"/>
              <a:ext cx="83" cy="82"/>
            </a:xfrm>
            <a:custGeom>
              <a:avLst/>
              <a:gdLst>
                <a:gd name="T0" fmla="*/ 1 w 83"/>
                <a:gd name="T1" fmla="*/ 19 h 82"/>
                <a:gd name="T2" fmla="*/ 7 w 83"/>
                <a:gd name="T3" fmla="*/ 16 h 82"/>
                <a:gd name="T4" fmla="*/ 12 w 83"/>
                <a:gd name="T5" fmla="*/ 13 h 82"/>
                <a:gd name="T6" fmla="*/ 11 w 83"/>
                <a:gd name="T7" fmla="*/ 10 h 82"/>
                <a:gd name="T8" fmla="*/ 12 w 83"/>
                <a:gd name="T9" fmla="*/ 4 h 82"/>
                <a:gd name="T10" fmla="*/ 14 w 83"/>
                <a:gd name="T11" fmla="*/ 0 h 82"/>
                <a:gd name="T12" fmla="*/ 26 w 83"/>
                <a:gd name="T13" fmla="*/ 2 h 82"/>
                <a:gd name="T14" fmla="*/ 31 w 83"/>
                <a:gd name="T15" fmla="*/ 4 h 82"/>
                <a:gd name="T16" fmla="*/ 37 w 83"/>
                <a:gd name="T17" fmla="*/ 4 h 82"/>
                <a:gd name="T18" fmla="*/ 41 w 83"/>
                <a:gd name="T19" fmla="*/ 5 h 82"/>
                <a:gd name="T20" fmla="*/ 43 w 83"/>
                <a:gd name="T21" fmla="*/ 8 h 82"/>
                <a:gd name="T22" fmla="*/ 48 w 83"/>
                <a:gd name="T23" fmla="*/ 8 h 82"/>
                <a:gd name="T24" fmla="*/ 52 w 83"/>
                <a:gd name="T25" fmla="*/ 10 h 82"/>
                <a:gd name="T26" fmla="*/ 57 w 83"/>
                <a:gd name="T27" fmla="*/ 8 h 82"/>
                <a:gd name="T28" fmla="*/ 60 w 83"/>
                <a:gd name="T29" fmla="*/ 5 h 82"/>
                <a:gd name="T30" fmla="*/ 65 w 83"/>
                <a:gd name="T31" fmla="*/ 6 h 82"/>
                <a:gd name="T32" fmla="*/ 69 w 83"/>
                <a:gd name="T33" fmla="*/ 5 h 82"/>
                <a:gd name="T34" fmla="*/ 72 w 83"/>
                <a:gd name="T35" fmla="*/ 8 h 82"/>
                <a:gd name="T36" fmla="*/ 72 w 83"/>
                <a:gd name="T37" fmla="*/ 13 h 82"/>
                <a:gd name="T38" fmla="*/ 76 w 83"/>
                <a:gd name="T39" fmla="*/ 14 h 82"/>
                <a:gd name="T40" fmla="*/ 73 w 83"/>
                <a:gd name="T41" fmla="*/ 20 h 82"/>
                <a:gd name="T42" fmla="*/ 75 w 83"/>
                <a:gd name="T43" fmla="*/ 23 h 82"/>
                <a:gd name="T44" fmla="*/ 77 w 83"/>
                <a:gd name="T45" fmla="*/ 20 h 82"/>
                <a:gd name="T46" fmla="*/ 79 w 83"/>
                <a:gd name="T47" fmla="*/ 24 h 82"/>
                <a:gd name="T48" fmla="*/ 82 w 83"/>
                <a:gd name="T49" fmla="*/ 25 h 82"/>
                <a:gd name="T50" fmla="*/ 83 w 83"/>
                <a:gd name="T51" fmla="*/ 28 h 82"/>
                <a:gd name="T52" fmla="*/ 77 w 83"/>
                <a:gd name="T53" fmla="*/ 31 h 82"/>
                <a:gd name="T54" fmla="*/ 79 w 83"/>
                <a:gd name="T55" fmla="*/ 33 h 82"/>
                <a:gd name="T56" fmla="*/ 77 w 83"/>
                <a:gd name="T57" fmla="*/ 40 h 82"/>
                <a:gd name="T58" fmla="*/ 80 w 83"/>
                <a:gd name="T59" fmla="*/ 46 h 82"/>
                <a:gd name="T60" fmla="*/ 82 w 83"/>
                <a:gd name="T61" fmla="*/ 50 h 82"/>
                <a:gd name="T62" fmla="*/ 77 w 83"/>
                <a:gd name="T63" fmla="*/ 50 h 82"/>
                <a:gd name="T64" fmla="*/ 80 w 83"/>
                <a:gd name="T65" fmla="*/ 54 h 82"/>
                <a:gd name="T66" fmla="*/ 80 w 83"/>
                <a:gd name="T67" fmla="*/ 58 h 82"/>
                <a:gd name="T68" fmla="*/ 75 w 83"/>
                <a:gd name="T69" fmla="*/ 65 h 82"/>
                <a:gd name="T70" fmla="*/ 75 w 83"/>
                <a:gd name="T71" fmla="*/ 69 h 82"/>
                <a:gd name="T72" fmla="*/ 72 w 83"/>
                <a:gd name="T73" fmla="*/ 76 h 82"/>
                <a:gd name="T74" fmla="*/ 54 w 83"/>
                <a:gd name="T75" fmla="*/ 82 h 82"/>
                <a:gd name="T76" fmla="*/ 48 w 83"/>
                <a:gd name="T77" fmla="*/ 78 h 82"/>
                <a:gd name="T78" fmla="*/ 43 w 83"/>
                <a:gd name="T79" fmla="*/ 74 h 82"/>
                <a:gd name="T80" fmla="*/ 43 w 83"/>
                <a:gd name="T81" fmla="*/ 72 h 82"/>
                <a:gd name="T82" fmla="*/ 49 w 83"/>
                <a:gd name="T83" fmla="*/ 53 h 82"/>
                <a:gd name="T84" fmla="*/ 49 w 83"/>
                <a:gd name="T85" fmla="*/ 51 h 82"/>
                <a:gd name="T86" fmla="*/ 50 w 83"/>
                <a:gd name="T87" fmla="*/ 48 h 82"/>
                <a:gd name="T88" fmla="*/ 48 w 83"/>
                <a:gd name="T89" fmla="*/ 44 h 82"/>
                <a:gd name="T90" fmla="*/ 45 w 83"/>
                <a:gd name="T91" fmla="*/ 36 h 82"/>
                <a:gd name="T92" fmla="*/ 42 w 83"/>
                <a:gd name="T93" fmla="*/ 32 h 82"/>
                <a:gd name="T94" fmla="*/ 30 w 83"/>
                <a:gd name="T95" fmla="*/ 33 h 82"/>
                <a:gd name="T96" fmla="*/ 24 w 83"/>
                <a:gd name="T97" fmla="*/ 38 h 82"/>
                <a:gd name="T98" fmla="*/ 20 w 83"/>
                <a:gd name="T99" fmla="*/ 42 h 82"/>
                <a:gd name="T100" fmla="*/ 18 w 83"/>
                <a:gd name="T101" fmla="*/ 40 h 82"/>
                <a:gd name="T102" fmla="*/ 14 w 83"/>
                <a:gd name="T103" fmla="*/ 35 h 82"/>
                <a:gd name="T104" fmla="*/ 9 w 83"/>
                <a:gd name="T105" fmla="*/ 33 h 82"/>
                <a:gd name="T106" fmla="*/ 11 w 83"/>
                <a:gd name="T107" fmla="*/ 31 h 82"/>
                <a:gd name="T108" fmla="*/ 8 w 83"/>
                <a:gd name="T109" fmla="*/ 32 h 82"/>
                <a:gd name="T110" fmla="*/ 3 w 83"/>
                <a:gd name="T111" fmla="*/ 31 h 82"/>
                <a:gd name="T112" fmla="*/ 1 w 83"/>
                <a:gd name="T113" fmla="*/ 23 h 82"/>
                <a:gd name="T114" fmla="*/ 0 w 83"/>
                <a:gd name="T115" fmla="*/ 2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3" h="82">
                  <a:moveTo>
                    <a:pt x="0" y="21"/>
                  </a:moveTo>
                  <a:lnTo>
                    <a:pt x="1" y="19"/>
                  </a:lnTo>
                  <a:lnTo>
                    <a:pt x="4" y="17"/>
                  </a:lnTo>
                  <a:lnTo>
                    <a:pt x="7" y="16"/>
                  </a:lnTo>
                  <a:lnTo>
                    <a:pt x="11" y="14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1" y="10"/>
                  </a:lnTo>
                  <a:lnTo>
                    <a:pt x="11" y="6"/>
                  </a:lnTo>
                  <a:lnTo>
                    <a:pt x="12" y="4"/>
                  </a:lnTo>
                  <a:lnTo>
                    <a:pt x="11" y="1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2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5" y="5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41" y="5"/>
                  </a:lnTo>
                  <a:lnTo>
                    <a:pt x="43" y="6"/>
                  </a:lnTo>
                  <a:lnTo>
                    <a:pt x="43" y="8"/>
                  </a:lnTo>
                  <a:lnTo>
                    <a:pt x="45" y="9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60" y="5"/>
                  </a:lnTo>
                  <a:lnTo>
                    <a:pt x="63" y="5"/>
                  </a:lnTo>
                  <a:lnTo>
                    <a:pt x="65" y="6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2" y="8"/>
                  </a:lnTo>
                  <a:lnTo>
                    <a:pt x="73" y="10"/>
                  </a:lnTo>
                  <a:lnTo>
                    <a:pt x="72" y="13"/>
                  </a:lnTo>
                  <a:lnTo>
                    <a:pt x="73" y="14"/>
                  </a:lnTo>
                  <a:lnTo>
                    <a:pt x="76" y="14"/>
                  </a:lnTo>
                  <a:lnTo>
                    <a:pt x="76" y="16"/>
                  </a:lnTo>
                  <a:lnTo>
                    <a:pt x="73" y="20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6" y="20"/>
                  </a:lnTo>
                  <a:lnTo>
                    <a:pt x="77" y="20"/>
                  </a:lnTo>
                  <a:lnTo>
                    <a:pt x="77" y="23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82" y="25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2" y="29"/>
                  </a:lnTo>
                  <a:lnTo>
                    <a:pt x="77" y="31"/>
                  </a:lnTo>
                  <a:lnTo>
                    <a:pt x="77" y="32"/>
                  </a:lnTo>
                  <a:lnTo>
                    <a:pt x="79" y="33"/>
                  </a:lnTo>
                  <a:lnTo>
                    <a:pt x="79" y="39"/>
                  </a:lnTo>
                  <a:lnTo>
                    <a:pt x="77" y="40"/>
                  </a:lnTo>
                  <a:lnTo>
                    <a:pt x="79" y="44"/>
                  </a:lnTo>
                  <a:lnTo>
                    <a:pt x="80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79" y="50"/>
                  </a:lnTo>
                  <a:lnTo>
                    <a:pt x="77" y="50"/>
                  </a:lnTo>
                  <a:lnTo>
                    <a:pt x="77" y="51"/>
                  </a:lnTo>
                  <a:lnTo>
                    <a:pt x="80" y="54"/>
                  </a:lnTo>
                  <a:lnTo>
                    <a:pt x="80" y="55"/>
                  </a:lnTo>
                  <a:lnTo>
                    <a:pt x="80" y="58"/>
                  </a:lnTo>
                  <a:lnTo>
                    <a:pt x="77" y="65"/>
                  </a:lnTo>
                  <a:lnTo>
                    <a:pt x="75" y="65"/>
                  </a:lnTo>
                  <a:lnTo>
                    <a:pt x="75" y="66"/>
                  </a:lnTo>
                  <a:lnTo>
                    <a:pt x="75" y="69"/>
                  </a:lnTo>
                  <a:lnTo>
                    <a:pt x="73" y="73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54" y="82"/>
                  </a:lnTo>
                  <a:lnTo>
                    <a:pt x="50" y="80"/>
                  </a:lnTo>
                  <a:lnTo>
                    <a:pt x="48" y="78"/>
                  </a:lnTo>
                  <a:lnTo>
                    <a:pt x="45" y="74"/>
                  </a:lnTo>
                  <a:lnTo>
                    <a:pt x="43" y="74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9" y="69"/>
                  </a:lnTo>
                  <a:lnTo>
                    <a:pt x="49" y="53"/>
                  </a:lnTo>
                  <a:lnTo>
                    <a:pt x="50" y="51"/>
                  </a:lnTo>
                  <a:lnTo>
                    <a:pt x="49" y="51"/>
                  </a:lnTo>
                  <a:lnTo>
                    <a:pt x="49" y="48"/>
                  </a:lnTo>
                  <a:lnTo>
                    <a:pt x="50" y="48"/>
                  </a:lnTo>
                  <a:lnTo>
                    <a:pt x="50" y="46"/>
                  </a:lnTo>
                  <a:lnTo>
                    <a:pt x="48" y="44"/>
                  </a:lnTo>
                  <a:lnTo>
                    <a:pt x="49" y="42"/>
                  </a:lnTo>
                  <a:lnTo>
                    <a:pt x="45" y="36"/>
                  </a:lnTo>
                  <a:lnTo>
                    <a:pt x="43" y="35"/>
                  </a:lnTo>
                  <a:lnTo>
                    <a:pt x="42" y="32"/>
                  </a:lnTo>
                  <a:lnTo>
                    <a:pt x="33" y="32"/>
                  </a:lnTo>
                  <a:lnTo>
                    <a:pt x="30" y="33"/>
                  </a:lnTo>
                  <a:lnTo>
                    <a:pt x="27" y="35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8" y="40"/>
                  </a:lnTo>
                  <a:lnTo>
                    <a:pt x="14" y="39"/>
                  </a:lnTo>
                  <a:lnTo>
                    <a:pt x="14" y="35"/>
                  </a:lnTo>
                  <a:lnTo>
                    <a:pt x="11" y="35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11" y="31"/>
                  </a:lnTo>
                  <a:lnTo>
                    <a:pt x="8" y="29"/>
                  </a:lnTo>
                  <a:lnTo>
                    <a:pt x="8" y="32"/>
                  </a:lnTo>
                  <a:lnTo>
                    <a:pt x="5" y="31"/>
                  </a:lnTo>
                  <a:lnTo>
                    <a:pt x="3" y="31"/>
                  </a:lnTo>
                  <a:lnTo>
                    <a:pt x="0" y="27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7" name="Freeform 107"/>
            <p:cNvSpPr>
              <a:spLocks/>
            </p:cNvSpPr>
            <p:nvPr/>
          </p:nvSpPr>
          <p:spPr bwMode="auto">
            <a:xfrm>
              <a:off x="1818" y="1881"/>
              <a:ext cx="32" cy="40"/>
            </a:xfrm>
            <a:custGeom>
              <a:avLst/>
              <a:gdLst>
                <a:gd name="T0" fmla="*/ 1 w 32"/>
                <a:gd name="T1" fmla="*/ 10 h 40"/>
                <a:gd name="T2" fmla="*/ 2 w 32"/>
                <a:gd name="T3" fmla="*/ 10 h 40"/>
                <a:gd name="T4" fmla="*/ 6 w 32"/>
                <a:gd name="T5" fmla="*/ 7 h 40"/>
                <a:gd name="T6" fmla="*/ 6 w 32"/>
                <a:gd name="T7" fmla="*/ 6 h 40"/>
                <a:gd name="T8" fmla="*/ 9 w 32"/>
                <a:gd name="T9" fmla="*/ 3 h 40"/>
                <a:gd name="T10" fmla="*/ 12 w 32"/>
                <a:gd name="T11" fmla="*/ 1 h 40"/>
                <a:gd name="T12" fmla="*/ 15 w 32"/>
                <a:gd name="T13" fmla="*/ 0 h 40"/>
                <a:gd name="T14" fmla="*/ 24 w 32"/>
                <a:gd name="T15" fmla="*/ 0 h 40"/>
                <a:gd name="T16" fmla="*/ 25 w 32"/>
                <a:gd name="T17" fmla="*/ 3 h 40"/>
                <a:gd name="T18" fmla="*/ 27 w 32"/>
                <a:gd name="T19" fmla="*/ 4 h 40"/>
                <a:gd name="T20" fmla="*/ 31 w 32"/>
                <a:gd name="T21" fmla="*/ 10 h 40"/>
                <a:gd name="T22" fmla="*/ 30 w 32"/>
                <a:gd name="T23" fmla="*/ 12 h 40"/>
                <a:gd name="T24" fmla="*/ 32 w 32"/>
                <a:gd name="T25" fmla="*/ 14 h 40"/>
                <a:gd name="T26" fmla="*/ 32 w 32"/>
                <a:gd name="T27" fmla="*/ 16 h 40"/>
                <a:gd name="T28" fmla="*/ 31 w 32"/>
                <a:gd name="T29" fmla="*/ 16 h 40"/>
                <a:gd name="T30" fmla="*/ 31 w 32"/>
                <a:gd name="T31" fmla="*/ 19 h 40"/>
                <a:gd name="T32" fmla="*/ 32 w 32"/>
                <a:gd name="T33" fmla="*/ 19 h 40"/>
                <a:gd name="T34" fmla="*/ 31 w 32"/>
                <a:gd name="T35" fmla="*/ 21 h 40"/>
                <a:gd name="T36" fmla="*/ 31 w 32"/>
                <a:gd name="T37" fmla="*/ 37 h 40"/>
                <a:gd name="T38" fmla="*/ 25 w 32"/>
                <a:gd name="T39" fmla="*/ 40 h 40"/>
                <a:gd name="T40" fmla="*/ 24 w 32"/>
                <a:gd name="T41" fmla="*/ 40 h 40"/>
                <a:gd name="T42" fmla="*/ 20 w 32"/>
                <a:gd name="T43" fmla="*/ 40 h 40"/>
                <a:gd name="T44" fmla="*/ 13 w 32"/>
                <a:gd name="T45" fmla="*/ 35 h 40"/>
                <a:gd name="T46" fmla="*/ 11 w 32"/>
                <a:gd name="T47" fmla="*/ 35 h 40"/>
                <a:gd name="T48" fmla="*/ 12 w 32"/>
                <a:gd name="T49" fmla="*/ 34 h 40"/>
                <a:gd name="T50" fmla="*/ 9 w 32"/>
                <a:gd name="T51" fmla="*/ 31 h 40"/>
                <a:gd name="T52" fmla="*/ 8 w 32"/>
                <a:gd name="T53" fmla="*/ 30 h 40"/>
                <a:gd name="T54" fmla="*/ 9 w 32"/>
                <a:gd name="T55" fmla="*/ 29 h 40"/>
                <a:gd name="T56" fmla="*/ 9 w 32"/>
                <a:gd name="T57" fmla="*/ 27 h 40"/>
                <a:gd name="T58" fmla="*/ 6 w 32"/>
                <a:gd name="T59" fmla="*/ 29 h 40"/>
                <a:gd name="T60" fmla="*/ 4 w 32"/>
                <a:gd name="T61" fmla="*/ 26 h 40"/>
                <a:gd name="T62" fmla="*/ 4 w 32"/>
                <a:gd name="T63" fmla="*/ 23 h 40"/>
                <a:gd name="T64" fmla="*/ 2 w 32"/>
                <a:gd name="T65" fmla="*/ 19 h 40"/>
                <a:gd name="T66" fmla="*/ 1 w 32"/>
                <a:gd name="T67" fmla="*/ 19 h 40"/>
                <a:gd name="T68" fmla="*/ 0 w 32"/>
                <a:gd name="T69" fmla="*/ 18 h 40"/>
                <a:gd name="T70" fmla="*/ 1 w 32"/>
                <a:gd name="T71" fmla="*/ 15 h 40"/>
                <a:gd name="T72" fmla="*/ 0 w 32"/>
                <a:gd name="T73" fmla="*/ 14 h 40"/>
                <a:gd name="T74" fmla="*/ 0 w 32"/>
                <a:gd name="T75" fmla="*/ 12 h 40"/>
                <a:gd name="T76" fmla="*/ 1 w 32"/>
                <a:gd name="T77" fmla="*/ 10 h 40"/>
                <a:gd name="T78" fmla="*/ 1 w 32"/>
                <a:gd name="T79" fmla="*/ 1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40">
                  <a:moveTo>
                    <a:pt x="1" y="10"/>
                  </a:moveTo>
                  <a:lnTo>
                    <a:pt x="2" y="10"/>
                  </a:lnTo>
                  <a:lnTo>
                    <a:pt x="6" y="7"/>
                  </a:lnTo>
                  <a:lnTo>
                    <a:pt x="6" y="6"/>
                  </a:lnTo>
                  <a:lnTo>
                    <a:pt x="9" y="3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25" y="3"/>
                  </a:lnTo>
                  <a:lnTo>
                    <a:pt x="27" y="4"/>
                  </a:lnTo>
                  <a:lnTo>
                    <a:pt x="31" y="10"/>
                  </a:lnTo>
                  <a:lnTo>
                    <a:pt x="30" y="12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1" y="21"/>
                  </a:lnTo>
                  <a:lnTo>
                    <a:pt x="31" y="37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13" y="35"/>
                  </a:lnTo>
                  <a:lnTo>
                    <a:pt x="11" y="35"/>
                  </a:lnTo>
                  <a:lnTo>
                    <a:pt x="12" y="34"/>
                  </a:lnTo>
                  <a:lnTo>
                    <a:pt x="9" y="31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6" y="29"/>
                  </a:lnTo>
                  <a:lnTo>
                    <a:pt x="4" y="26"/>
                  </a:lnTo>
                  <a:lnTo>
                    <a:pt x="4" y="23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0" y="18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1" y="10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8" name="Freeform 108"/>
            <p:cNvSpPr>
              <a:spLocks/>
            </p:cNvSpPr>
            <p:nvPr/>
          </p:nvSpPr>
          <p:spPr bwMode="auto">
            <a:xfrm>
              <a:off x="1839" y="1899"/>
              <a:ext cx="47" cy="50"/>
            </a:xfrm>
            <a:custGeom>
              <a:avLst/>
              <a:gdLst>
                <a:gd name="T0" fmla="*/ 0 w 47"/>
                <a:gd name="T1" fmla="*/ 22 h 50"/>
                <a:gd name="T2" fmla="*/ 0 w 47"/>
                <a:gd name="T3" fmla="*/ 19 h 50"/>
                <a:gd name="T4" fmla="*/ 2 w 47"/>
                <a:gd name="T5" fmla="*/ 16 h 50"/>
                <a:gd name="T6" fmla="*/ 4 w 47"/>
                <a:gd name="T7" fmla="*/ 15 h 50"/>
                <a:gd name="T8" fmla="*/ 7 w 47"/>
                <a:gd name="T9" fmla="*/ 12 h 50"/>
                <a:gd name="T10" fmla="*/ 7 w 47"/>
                <a:gd name="T11" fmla="*/ 11 h 50"/>
                <a:gd name="T12" fmla="*/ 7 w 47"/>
                <a:gd name="T13" fmla="*/ 7 h 50"/>
                <a:gd name="T14" fmla="*/ 10 w 47"/>
                <a:gd name="T15" fmla="*/ 7 h 50"/>
                <a:gd name="T16" fmla="*/ 10 w 47"/>
                <a:gd name="T17" fmla="*/ 5 h 50"/>
                <a:gd name="T18" fmla="*/ 10 w 47"/>
                <a:gd name="T19" fmla="*/ 3 h 50"/>
                <a:gd name="T20" fmla="*/ 13 w 47"/>
                <a:gd name="T21" fmla="*/ 1 h 50"/>
                <a:gd name="T22" fmla="*/ 14 w 47"/>
                <a:gd name="T23" fmla="*/ 1 h 50"/>
                <a:gd name="T24" fmla="*/ 19 w 47"/>
                <a:gd name="T25" fmla="*/ 0 h 50"/>
                <a:gd name="T26" fmla="*/ 21 w 47"/>
                <a:gd name="T27" fmla="*/ 1 h 50"/>
                <a:gd name="T28" fmla="*/ 24 w 47"/>
                <a:gd name="T29" fmla="*/ 4 h 50"/>
                <a:gd name="T30" fmla="*/ 25 w 47"/>
                <a:gd name="T31" fmla="*/ 5 h 50"/>
                <a:gd name="T32" fmla="*/ 25 w 47"/>
                <a:gd name="T33" fmla="*/ 9 h 50"/>
                <a:gd name="T34" fmla="*/ 25 w 47"/>
                <a:gd name="T35" fmla="*/ 12 h 50"/>
                <a:gd name="T36" fmla="*/ 28 w 47"/>
                <a:gd name="T37" fmla="*/ 15 h 50"/>
                <a:gd name="T38" fmla="*/ 29 w 47"/>
                <a:gd name="T39" fmla="*/ 15 h 50"/>
                <a:gd name="T40" fmla="*/ 32 w 47"/>
                <a:gd name="T41" fmla="*/ 12 h 50"/>
                <a:gd name="T42" fmla="*/ 33 w 47"/>
                <a:gd name="T43" fmla="*/ 12 h 50"/>
                <a:gd name="T44" fmla="*/ 36 w 47"/>
                <a:gd name="T45" fmla="*/ 15 h 50"/>
                <a:gd name="T46" fmla="*/ 36 w 47"/>
                <a:gd name="T47" fmla="*/ 16 h 50"/>
                <a:gd name="T48" fmla="*/ 36 w 47"/>
                <a:gd name="T49" fmla="*/ 16 h 50"/>
                <a:gd name="T50" fmla="*/ 36 w 47"/>
                <a:gd name="T51" fmla="*/ 19 h 50"/>
                <a:gd name="T52" fmla="*/ 34 w 47"/>
                <a:gd name="T53" fmla="*/ 23 h 50"/>
                <a:gd name="T54" fmla="*/ 33 w 47"/>
                <a:gd name="T55" fmla="*/ 26 h 50"/>
                <a:gd name="T56" fmla="*/ 33 w 47"/>
                <a:gd name="T57" fmla="*/ 27 h 50"/>
                <a:gd name="T58" fmla="*/ 36 w 47"/>
                <a:gd name="T59" fmla="*/ 28 h 50"/>
                <a:gd name="T60" fmla="*/ 36 w 47"/>
                <a:gd name="T61" fmla="*/ 27 h 50"/>
                <a:gd name="T62" fmla="*/ 38 w 47"/>
                <a:gd name="T63" fmla="*/ 27 h 50"/>
                <a:gd name="T64" fmla="*/ 40 w 47"/>
                <a:gd name="T65" fmla="*/ 30 h 50"/>
                <a:gd name="T66" fmla="*/ 41 w 47"/>
                <a:gd name="T67" fmla="*/ 28 h 50"/>
                <a:gd name="T68" fmla="*/ 43 w 47"/>
                <a:gd name="T69" fmla="*/ 30 h 50"/>
                <a:gd name="T70" fmla="*/ 44 w 47"/>
                <a:gd name="T71" fmla="*/ 31 h 50"/>
                <a:gd name="T72" fmla="*/ 45 w 47"/>
                <a:gd name="T73" fmla="*/ 32 h 50"/>
                <a:gd name="T74" fmla="*/ 47 w 47"/>
                <a:gd name="T75" fmla="*/ 32 h 50"/>
                <a:gd name="T76" fmla="*/ 47 w 47"/>
                <a:gd name="T77" fmla="*/ 35 h 50"/>
                <a:gd name="T78" fmla="*/ 45 w 47"/>
                <a:gd name="T79" fmla="*/ 37 h 50"/>
                <a:gd name="T80" fmla="*/ 47 w 47"/>
                <a:gd name="T81" fmla="*/ 38 h 50"/>
                <a:gd name="T82" fmla="*/ 45 w 47"/>
                <a:gd name="T83" fmla="*/ 39 h 50"/>
                <a:gd name="T84" fmla="*/ 45 w 47"/>
                <a:gd name="T85" fmla="*/ 42 h 50"/>
                <a:gd name="T86" fmla="*/ 45 w 47"/>
                <a:gd name="T87" fmla="*/ 43 h 50"/>
                <a:gd name="T88" fmla="*/ 44 w 47"/>
                <a:gd name="T89" fmla="*/ 46 h 50"/>
                <a:gd name="T90" fmla="*/ 45 w 47"/>
                <a:gd name="T91" fmla="*/ 47 h 50"/>
                <a:gd name="T92" fmla="*/ 45 w 47"/>
                <a:gd name="T93" fmla="*/ 50 h 50"/>
                <a:gd name="T94" fmla="*/ 34 w 47"/>
                <a:gd name="T95" fmla="*/ 46 h 50"/>
                <a:gd name="T96" fmla="*/ 25 w 47"/>
                <a:gd name="T97" fmla="*/ 39 h 50"/>
                <a:gd name="T98" fmla="*/ 22 w 47"/>
                <a:gd name="T99" fmla="*/ 39 h 50"/>
                <a:gd name="T100" fmla="*/ 15 w 47"/>
                <a:gd name="T101" fmla="*/ 32 h 50"/>
                <a:gd name="T102" fmla="*/ 11 w 47"/>
                <a:gd name="T103" fmla="*/ 30 h 50"/>
                <a:gd name="T104" fmla="*/ 9 w 47"/>
                <a:gd name="T105" fmla="*/ 28 h 50"/>
                <a:gd name="T106" fmla="*/ 6 w 47"/>
                <a:gd name="T107" fmla="*/ 24 h 50"/>
                <a:gd name="T108" fmla="*/ 4 w 47"/>
                <a:gd name="T109" fmla="*/ 24 h 50"/>
                <a:gd name="T110" fmla="*/ 4 w 47"/>
                <a:gd name="T111" fmla="*/ 22 h 50"/>
                <a:gd name="T112" fmla="*/ 3 w 47"/>
                <a:gd name="T113" fmla="*/ 22 h 50"/>
                <a:gd name="T114" fmla="*/ 0 w 47"/>
                <a:gd name="T115" fmla="*/ 2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" h="50">
                  <a:moveTo>
                    <a:pt x="0" y="22"/>
                  </a:moveTo>
                  <a:lnTo>
                    <a:pt x="0" y="19"/>
                  </a:lnTo>
                  <a:lnTo>
                    <a:pt x="2" y="16"/>
                  </a:lnTo>
                  <a:lnTo>
                    <a:pt x="4" y="15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24" y="4"/>
                  </a:lnTo>
                  <a:lnTo>
                    <a:pt x="25" y="5"/>
                  </a:lnTo>
                  <a:lnTo>
                    <a:pt x="25" y="9"/>
                  </a:lnTo>
                  <a:lnTo>
                    <a:pt x="25" y="12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6" y="15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9"/>
                  </a:lnTo>
                  <a:lnTo>
                    <a:pt x="34" y="23"/>
                  </a:lnTo>
                  <a:lnTo>
                    <a:pt x="33" y="26"/>
                  </a:lnTo>
                  <a:lnTo>
                    <a:pt x="33" y="27"/>
                  </a:lnTo>
                  <a:lnTo>
                    <a:pt x="36" y="28"/>
                  </a:lnTo>
                  <a:lnTo>
                    <a:pt x="36" y="27"/>
                  </a:lnTo>
                  <a:lnTo>
                    <a:pt x="38" y="27"/>
                  </a:lnTo>
                  <a:lnTo>
                    <a:pt x="40" y="30"/>
                  </a:lnTo>
                  <a:lnTo>
                    <a:pt x="41" y="28"/>
                  </a:lnTo>
                  <a:lnTo>
                    <a:pt x="43" y="30"/>
                  </a:lnTo>
                  <a:lnTo>
                    <a:pt x="44" y="31"/>
                  </a:lnTo>
                  <a:lnTo>
                    <a:pt x="45" y="32"/>
                  </a:lnTo>
                  <a:lnTo>
                    <a:pt x="47" y="32"/>
                  </a:lnTo>
                  <a:lnTo>
                    <a:pt x="47" y="35"/>
                  </a:lnTo>
                  <a:lnTo>
                    <a:pt x="45" y="37"/>
                  </a:lnTo>
                  <a:lnTo>
                    <a:pt x="47" y="38"/>
                  </a:lnTo>
                  <a:lnTo>
                    <a:pt x="45" y="39"/>
                  </a:lnTo>
                  <a:lnTo>
                    <a:pt x="45" y="42"/>
                  </a:lnTo>
                  <a:lnTo>
                    <a:pt x="45" y="43"/>
                  </a:lnTo>
                  <a:lnTo>
                    <a:pt x="44" y="46"/>
                  </a:lnTo>
                  <a:lnTo>
                    <a:pt x="45" y="47"/>
                  </a:lnTo>
                  <a:lnTo>
                    <a:pt x="45" y="50"/>
                  </a:lnTo>
                  <a:lnTo>
                    <a:pt x="34" y="46"/>
                  </a:lnTo>
                  <a:lnTo>
                    <a:pt x="25" y="39"/>
                  </a:lnTo>
                  <a:lnTo>
                    <a:pt x="22" y="39"/>
                  </a:lnTo>
                  <a:lnTo>
                    <a:pt x="15" y="32"/>
                  </a:lnTo>
                  <a:lnTo>
                    <a:pt x="11" y="30"/>
                  </a:lnTo>
                  <a:lnTo>
                    <a:pt x="9" y="28"/>
                  </a:lnTo>
                  <a:lnTo>
                    <a:pt x="6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09" name="Freeform 109"/>
            <p:cNvSpPr>
              <a:spLocks/>
            </p:cNvSpPr>
            <p:nvPr/>
          </p:nvSpPr>
          <p:spPr bwMode="auto">
            <a:xfrm>
              <a:off x="1872" y="1873"/>
              <a:ext cx="72" cy="77"/>
            </a:xfrm>
            <a:custGeom>
              <a:avLst/>
              <a:gdLst>
                <a:gd name="T0" fmla="*/ 12 w 72"/>
                <a:gd name="T1" fmla="*/ 73 h 77"/>
                <a:gd name="T2" fmla="*/ 12 w 72"/>
                <a:gd name="T3" fmla="*/ 69 h 77"/>
                <a:gd name="T4" fmla="*/ 12 w 72"/>
                <a:gd name="T5" fmla="*/ 65 h 77"/>
                <a:gd name="T6" fmla="*/ 12 w 72"/>
                <a:gd name="T7" fmla="*/ 63 h 77"/>
                <a:gd name="T8" fmla="*/ 14 w 72"/>
                <a:gd name="T9" fmla="*/ 58 h 77"/>
                <a:gd name="T10" fmla="*/ 11 w 72"/>
                <a:gd name="T11" fmla="*/ 57 h 77"/>
                <a:gd name="T12" fmla="*/ 8 w 72"/>
                <a:gd name="T13" fmla="*/ 54 h 77"/>
                <a:gd name="T14" fmla="*/ 5 w 72"/>
                <a:gd name="T15" fmla="*/ 53 h 77"/>
                <a:gd name="T16" fmla="*/ 3 w 72"/>
                <a:gd name="T17" fmla="*/ 54 h 77"/>
                <a:gd name="T18" fmla="*/ 0 w 72"/>
                <a:gd name="T19" fmla="*/ 52 h 77"/>
                <a:gd name="T20" fmla="*/ 3 w 72"/>
                <a:gd name="T21" fmla="*/ 45 h 77"/>
                <a:gd name="T22" fmla="*/ 3 w 72"/>
                <a:gd name="T23" fmla="*/ 41 h 77"/>
                <a:gd name="T24" fmla="*/ 8 w 72"/>
                <a:gd name="T25" fmla="*/ 34 h 77"/>
                <a:gd name="T26" fmla="*/ 8 w 72"/>
                <a:gd name="T27" fmla="*/ 30 h 77"/>
                <a:gd name="T28" fmla="*/ 5 w 72"/>
                <a:gd name="T29" fmla="*/ 26 h 77"/>
                <a:gd name="T30" fmla="*/ 10 w 72"/>
                <a:gd name="T31" fmla="*/ 26 h 77"/>
                <a:gd name="T32" fmla="*/ 8 w 72"/>
                <a:gd name="T33" fmla="*/ 22 h 77"/>
                <a:gd name="T34" fmla="*/ 5 w 72"/>
                <a:gd name="T35" fmla="*/ 16 h 77"/>
                <a:gd name="T36" fmla="*/ 7 w 72"/>
                <a:gd name="T37" fmla="*/ 9 h 77"/>
                <a:gd name="T38" fmla="*/ 5 w 72"/>
                <a:gd name="T39" fmla="*/ 7 h 77"/>
                <a:gd name="T40" fmla="*/ 14 w 72"/>
                <a:gd name="T41" fmla="*/ 3 h 77"/>
                <a:gd name="T42" fmla="*/ 18 w 72"/>
                <a:gd name="T43" fmla="*/ 4 h 77"/>
                <a:gd name="T44" fmla="*/ 25 w 72"/>
                <a:gd name="T45" fmla="*/ 3 h 77"/>
                <a:gd name="T46" fmla="*/ 29 w 72"/>
                <a:gd name="T47" fmla="*/ 1 h 77"/>
                <a:gd name="T48" fmla="*/ 30 w 72"/>
                <a:gd name="T49" fmla="*/ 3 h 77"/>
                <a:gd name="T50" fmla="*/ 35 w 72"/>
                <a:gd name="T51" fmla="*/ 5 h 77"/>
                <a:gd name="T52" fmla="*/ 39 w 72"/>
                <a:gd name="T53" fmla="*/ 0 h 77"/>
                <a:gd name="T54" fmla="*/ 46 w 72"/>
                <a:gd name="T55" fmla="*/ 5 h 77"/>
                <a:gd name="T56" fmla="*/ 50 w 72"/>
                <a:gd name="T57" fmla="*/ 7 h 77"/>
                <a:gd name="T58" fmla="*/ 54 w 72"/>
                <a:gd name="T59" fmla="*/ 8 h 77"/>
                <a:gd name="T60" fmla="*/ 59 w 72"/>
                <a:gd name="T61" fmla="*/ 11 h 77"/>
                <a:gd name="T62" fmla="*/ 64 w 72"/>
                <a:gd name="T63" fmla="*/ 9 h 77"/>
                <a:gd name="T64" fmla="*/ 67 w 72"/>
                <a:gd name="T65" fmla="*/ 11 h 77"/>
                <a:gd name="T66" fmla="*/ 69 w 72"/>
                <a:gd name="T67" fmla="*/ 12 h 77"/>
                <a:gd name="T68" fmla="*/ 69 w 72"/>
                <a:gd name="T69" fmla="*/ 18 h 77"/>
                <a:gd name="T70" fmla="*/ 72 w 72"/>
                <a:gd name="T71" fmla="*/ 22 h 77"/>
                <a:gd name="T72" fmla="*/ 72 w 72"/>
                <a:gd name="T73" fmla="*/ 27 h 77"/>
                <a:gd name="T74" fmla="*/ 69 w 72"/>
                <a:gd name="T75" fmla="*/ 31 h 77"/>
                <a:gd name="T76" fmla="*/ 65 w 72"/>
                <a:gd name="T77" fmla="*/ 39 h 77"/>
                <a:gd name="T78" fmla="*/ 65 w 72"/>
                <a:gd name="T79" fmla="*/ 43 h 77"/>
                <a:gd name="T80" fmla="*/ 64 w 72"/>
                <a:gd name="T81" fmla="*/ 50 h 77"/>
                <a:gd name="T82" fmla="*/ 63 w 72"/>
                <a:gd name="T83" fmla="*/ 52 h 77"/>
                <a:gd name="T84" fmla="*/ 65 w 72"/>
                <a:gd name="T85" fmla="*/ 57 h 77"/>
                <a:gd name="T86" fmla="*/ 69 w 72"/>
                <a:gd name="T87" fmla="*/ 61 h 77"/>
                <a:gd name="T88" fmla="*/ 69 w 72"/>
                <a:gd name="T89" fmla="*/ 67 h 77"/>
                <a:gd name="T90" fmla="*/ 65 w 72"/>
                <a:gd name="T91" fmla="*/ 67 h 77"/>
                <a:gd name="T92" fmla="*/ 64 w 72"/>
                <a:gd name="T93" fmla="*/ 65 h 77"/>
                <a:gd name="T94" fmla="*/ 61 w 72"/>
                <a:gd name="T95" fmla="*/ 68 h 77"/>
                <a:gd name="T96" fmla="*/ 49 w 72"/>
                <a:gd name="T97" fmla="*/ 68 h 77"/>
                <a:gd name="T98" fmla="*/ 30 w 72"/>
                <a:gd name="T99" fmla="*/ 68 h 77"/>
                <a:gd name="T100" fmla="*/ 22 w 72"/>
                <a:gd name="T101" fmla="*/ 72 h 77"/>
                <a:gd name="T102" fmla="*/ 18 w 72"/>
                <a:gd name="T103" fmla="*/ 73 h 77"/>
                <a:gd name="T104" fmla="*/ 12 w 72"/>
                <a:gd name="T105" fmla="*/ 7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2" h="77">
                  <a:moveTo>
                    <a:pt x="12" y="76"/>
                  </a:moveTo>
                  <a:lnTo>
                    <a:pt x="12" y="73"/>
                  </a:lnTo>
                  <a:lnTo>
                    <a:pt x="11" y="72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5"/>
                  </a:lnTo>
                  <a:lnTo>
                    <a:pt x="14" y="64"/>
                  </a:lnTo>
                  <a:lnTo>
                    <a:pt x="12" y="63"/>
                  </a:lnTo>
                  <a:lnTo>
                    <a:pt x="14" y="61"/>
                  </a:lnTo>
                  <a:lnTo>
                    <a:pt x="14" y="58"/>
                  </a:lnTo>
                  <a:lnTo>
                    <a:pt x="12" y="58"/>
                  </a:lnTo>
                  <a:lnTo>
                    <a:pt x="11" y="57"/>
                  </a:lnTo>
                  <a:lnTo>
                    <a:pt x="10" y="56"/>
                  </a:lnTo>
                  <a:lnTo>
                    <a:pt x="8" y="54"/>
                  </a:lnTo>
                  <a:lnTo>
                    <a:pt x="7" y="56"/>
                  </a:lnTo>
                  <a:lnTo>
                    <a:pt x="5" y="53"/>
                  </a:lnTo>
                  <a:lnTo>
                    <a:pt x="3" y="53"/>
                  </a:lnTo>
                  <a:lnTo>
                    <a:pt x="3" y="54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1" y="49"/>
                  </a:lnTo>
                  <a:lnTo>
                    <a:pt x="3" y="45"/>
                  </a:lnTo>
                  <a:lnTo>
                    <a:pt x="3" y="42"/>
                  </a:lnTo>
                  <a:lnTo>
                    <a:pt x="3" y="41"/>
                  </a:lnTo>
                  <a:lnTo>
                    <a:pt x="5" y="41"/>
                  </a:lnTo>
                  <a:lnTo>
                    <a:pt x="8" y="34"/>
                  </a:lnTo>
                  <a:lnTo>
                    <a:pt x="8" y="31"/>
                  </a:lnTo>
                  <a:lnTo>
                    <a:pt x="8" y="30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0" y="24"/>
                  </a:lnTo>
                  <a:lnTo>
                    <a:pt x="8" y="22"/>
                  </a:lnTo>
                  <a:lnTo>
                    <a:pt x="7" y="20"/>
                  </a:lnTo>
                  <a:lnTo>
                    <a:pt x="5" y="16"/>
                  </a:lnTo>
                  <a:lnTo>
                    <a:pt x="7" y="15"/>
                  </a:lnTo>
                  <a:lnTo>
                    <a:pt x="7" y="9"/>
                  </a:lnTo>
                  <a:lnTo>
                    <a:pt x="5" y="8"/>
                  </a:lnTo>
                  <a:lnTo>
                    <a:pt x="5" y="7"/>
                  </a:lnTo>
                  <a:lnTo>
                    <a:pt x="10" y="5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8" y="4"/>
                  </a:lnTo>
                  <a:lnTo>
                    <a:pt x="23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9" y="1"/>
                  </a:lnTo>
                  <a:lnTo>
                    <a:pt x="31" y="1"/>
                  </a:lnTo>
                  <a:lnTo>
                    <a:pt x="30" y="3"/>
                  </a:lnTo>
                  <a:lnTo>
                    <a:pt x="31" y="4"/>
                  </a:lnTo>
                  <a:lnTo>
                    <a:pt x="35" y="5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2" y="3"/>
                  </a:lnTo>
                  <a:lnTo>
                    <a:pt x="46" y="5"/>
                  </a:lnTo>
                  <a:lnTo>
                    <a:pt x="49" y="5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8"/>
                  </a:lnTo>
                  <a:lnTo>
                    <a:pt x="56" y="9"/>
                  </a:lnTo>
                  <a:lnTo>
                    <a:pt x="59" y="11"/>
                  </a:lnTo>
                  <a:lnTo>
                    <a:pt x="61" y="11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7" y="11"/>
                  </a:lnTo>
                  <a:lnTo>
                    <a:pt x="69" y="11"/>
                  </a:lnTo>
                  <a:lnTo>
                    <a:pt x="69" y="12"/>
                  </a:lnTo>
                  <a:lnTo>
                    <a:pt x="69" y="15"/>
                  </a:lnTo>
                  <a:lnTo>
                    <a:pt x="69" y="18"/>
                  </a:lnTo>
                  <a:lnTo>
                    <a:pt x="69" y="20"/>
                  </a:lnTo>
                  <a:lnTo>
                    <a:pt x="72" y="22"/>
                  </a:lnTo>
                  <a:lnTo>
                    <a:pt x="72" y="24"/>
                  </a:lnTo>
                  <a:lnTo>
                    <a:pt x="72" y="27"/>
                  </a:lnTo>
                  <a:lnTo>
                    <a:pt x="72" y="30"/>
                  </a:lnTo>
                  <a:lnTo>
                    <a:pt x="69" y="31"/>
                  </a:lnTo>
                  <a:lnTo>
                    <a:pt x="65" y="37"/>
                  </a:lnTo>
                  <a:lnTo>
                    <a:pt x="65" y="39"/>
                  </a:lnTo>
                  <a:lnTo>
                    <a:pt x="65" y="41"/>
                  </a:lnTo>
                  <a:lnTo>
                    <a:pt x="65" y="43"/>
                  </a:lnTo>
                  <a:lnTo>
                    <a:pt x="64" y="45"/>
                  </a:lnTo>
                  <a:lnTo>
                    <a:pt x="64" y="50"/>
                  </a:lnTo>
                  <a:lnTo>
                    <a:pt x="63" y="50"/>
                  </a:lnTo>
                  <a:lnTo>
                    <a:pt x="63" y="52"/>
                  </a:lnTo>
                  <a:lnTo>
                    <a:pt x="64" y="53"/>
                  </a:lnTo>
                  <a:lnTo>
                    <a:pt x="65" y="57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69" y="64"/>
                  </a:lnTo>
                  <a:lnTo>
                    <a:pt x="69" y="67"/>
                  </a:lnTo>
                  <a:lnTo>
                    <a:pt x="68" y="67"/>
                  </a:lnTo>
                  <a:lnTo>
                    <a:pt x="65" y="67"/>
                  </a:lnTo>
                  <a:lnTo>
                    <a:pt x="65" y="68"/>
                  </a:lnTo>
                  <a:lnTo>
                    <a:pt x="64" y="65"/>
                  </a:lnTo>
                  <a:lnTo>
                    <a:pt x="61" y="65"/>
                  </a:lnTo>
                  <a:lnTo>
                    <a:pt x="61" y="68"/>
                  </a:lnTo>
                  <a:lnTo>
                    <a:pt x="56" y="65"/>
                  </a:lnTo>
                  <a:lnTo>
                    <a:pt x="49" y="68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30" y="69"/>
                  </a:lnTo>
                  <a:lnTo>
                    <a:pt x="22" y="72"/>
                  </a:lnTo>
                  <a:lnTo>
                    <a:pt x="20" y="73"/>
                  </a:lnTo>
                  <a:lnTo>
                    <a:pt x="18" y="73"/>
                  </a:lnTo>
                  <a:lnTo>
                    <a:pt x="14" y="77"/>
                  </a:lnTo>
                  <a:lnTo>
                    <a:pt x="12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0" name="Freeform 110"/>
            <p:cNvSpPr>
              <a:spLocks/>
            </p:cNvSpPr>
            <p:nvPr/>
          </p:nvSpPr>
          <p:spPr bwMode="auto">
            <a:xfrm>
              <a:off x="1935" y="1868"/>
              <a:ext cx="49" cy="77"/>
            </a:xfrm>
            <a:custGeom>
              <a:avLst/>
              <a:gdLst>
                <a:gd name="T0" fmla="*/ 2 w 49"/>
                <a:gd name="T1" fmla="*/ 72 h 77"/>
                <a:gd name="T2" fmla="*/ 6 w 49"/>
                <a:gd name="T3" fmla="*/ 72 h 77"/>
                <a:gd name="T4" fmla="*/ 6 w 49"/>
                <a:gd name="T5" fmla="*/ 66 h 77"/>
                <a:gd name="T6" fmla="*/ 2 w 49"/>
                <a:gd name="T7" fmla="*/ 62 h 77"/>
                <a:gd name="T8" fmla="*/ 0 w 49"/>
                <a:gd name="T9" fmla="*/ 57 h 77"/>
                <a:gd name="T10" fmla="*/ 1 w 49"/>
                <a:gd name="T11" fmla="*/ 55 h 77"/>
                <a:gd name="T12" fmla="*/ 2 w 49"/>
                <a:gd name="T13" fmla="*/ 48 h 77"/>
                <a:gd name="T14" fmla="*/ 2 w 49"/>
                <a:gd name="T15" fmla="*/ 44 h 77"/>
                <a:gd name="T16" fmla="*/ 6 w 49"/>
                <a:gd name="T17" fmla="*/ 36 h 77"/>
                <a:gd name="T18" fmla="*/ 9 w 49"/>
                <a:gd name="T19" fmla="*/ 32 h 77"/>
                <a:gd name="T20" fmla="*/ 9 w 49"/>
                <a:gd name="T21" fmla="*/ 27 h 77"/>
                <a:gd name="T22" fmla="*/ 6 w 49"/>
                <a:gd name="T23" fmla="*/ 23 h 77"/>
                <a:gd name="T24" fmla="*/ 6 w 49"/>
                <a:gd name="T25" fmla="*/ 17 h 77"/>
                <a:gd name="T26" fmla="*/ 5 w 49"/>
                <a:gd name="T27" fmla="*/ 9 h 77"/>
                <a:gd name="T28" fmla="*/ 4 w 49"/>
                <a:gd name="T29" fmla="*/ 5 h 77"/>
                <a:gd name="T30" fmla="*/ 8 w 49"/>
                <a:gd name="T31" fmla="*/ 2 h 77"/>
                <a:gd name="T32" fmla="*/ 17 w 49"/>
                <a:gd name="T33" fmla="*/ 1 h 77"/>
                <a:gd name="T34" fmla="*/ 28 w 49"/>
                <a:gd name="T35" fmla="*/ 1 h 77"/>
                <a:gd name="T36" fmla="*/ 34 w 49"/>
                <a:gd name="T37" fmla="*/ 0 h 77"/>
                <a:gd name="T38" fmla="*/ 35 w 49"/>
                <a:gd name="T39" fmla="*/ 2 h 77"/>
                <a:gd name="T40" fmla="*/ 36 w 49"/>
                <a:gd name="T41" fmla="*/ 5 h 77"/>
                <a:gd name="T42" fmla="*/ 40 w 49"/>
                <a:gd name="T43" fmla="*/ 9 h 77"/>
                <a:gd name="T44" fmla="*/ 42 w 49"/>
                <a:gd name="T45" fmla="*/ 14 h 77"/>
                <a:gd name="T46" fmla="*/ 43 w 49"/>
                <a:gd name="T47" fmla="*/ 20 h 77"/>
                <a:gd name="T48" fmla="*/ 44 w 49"/>
                <a:gd name="T49" fmla="*/ 24 h 77"/>
                <a:gd name="T50" fmla="*/ 43 w 49"/>
                <a:gd name="T51" fmla="*/ 27 h 77"/>
                <a:gd name="T52" fmla="*/ 44 w 49"/>
                <a:gd name="T53" fmla="*/ 31 h 77"/>
                <a:gd name="T54" fmla="*/ 44 w 49"/>
                <a:gd name="T55" fmla="*/ 34 h 77"/>
                <a:gd name="T56" fmla="*/ 44 w 49"/>
                <a:gd name="T57" fmla="*/ 39 h 77"/>
                <a:gd name="T58" fmla="*/ 44 w 49"/>
                <a:gd name="T59" fmla="*/ 48 h 77"/>
                <a:gd name="T60" fmla="*/ 43 w 49"/>
                <a:gd name="T61" fmla="*/ 53 h 77"/>
                <a:gd name="T62" fmla="*/ 46 w 49"/>
                <a:gd name="T63" fmla="*/ 59 h 77"/>
                <a:gd name="T64" fmla="*/ 47 w 49"/>
                <a:gd name="T65" fmla="*/ 61 h 77"/>
                <a:gd name="T66" fmla="*/ 43 w 49"/>
                <a:gd name="T67" fmla="*/ 63 h 77"/>
                <a:gd name="T68" fmla="*/ 31 w 49"/>
                <a:gd name="T69" fmla="*/ 72 h 77"/>
                <a:gd name="T70" fmla="*/ 13 w 49"/>
                <a:gd name="T71" fmla="*/ 77 h 77"/>
                <a:gd name="T72" fmla="*/ 2 w 49"/>
                <a:gd name="T73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" h="77">
                  <a:moveTo>
                    <a:pt x="2" y="73"/>
                  </a:moveTo>
                  <a:lnTo>
                    <a:pt x="2" y="72"/>
                  </a:lnTo>
                  <a:lnTo>
                    <a:pt x="5" y="72"/>
                  </a:lnTo>
                  <a:lnTo>
                    <a:pt x="6" y="72"/>
                  </a:lnTo>
                  <a:lnTo>
                    <a:pt x="6" y="69"/>
                  </a:lnTo>
                  <a:lnTo>
                    <a:pt x="6" y="66"/>
                  </a:lnTo>
                  <a:lnTo>
                    <a:pt x="4" y="66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1" y="55"/>
                  </a:lnTo>
                  <a:lnTo>
                    <a:pt x="1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6" y="36"/>
                  </a:lnTo>
                  <a:lnTo>
                    <a:pt x="9" y="35"/>
                  </a:lnTo>
                  <a:lnTo>
                    <a:pt x="9" y="32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6" y="25"/>
                  </a:lnTo>
                  <a:lnTo>
                    <a:pt x="6" y="23"/>
                  </a:lnTo>
                  <a:lnTo>
                    <a:pt x="6" y="20"/>
                  </a:lnTo>
                  <a:lnTo>
                    <a:pt x="6" y="17"/>
                  </a:lnTo>
                  <a:lnTo>
                    <a:pt x="6" y="13"/>
                  </a:lnTo>
                  <a:lnTo>
                    <a:pt x="5" y="9"/>
                  </a:lnTo>
                  <a:lnTo>
                    <a:pt x="4" y="8"/>
                  </a:lnTo>
                  <a:lnTo>
                    <a:pt x="4" y="5"/>
                  </a:lnTo>
                  <a:lnTo>
                    <a:pt x="4" y="2"/>
                  </a:lnTo>
                  <a:lnTo>
                    <a:pt x="8" y="2"/>
                  </a:lnTo>
                  <a:lnTo>
                    <a:pt x="16" y="2"/>
                  </a:lnTo>
                  <a:lnTo>
                    <a:pt x="17" y="1"/>
                  </a:lnTo>
                  <a:lnTo>
                    <a:pt x="24" y="1"/>
                  </a:lnTo>
                  <a:lnTo>
                    <a:pt x="28" y="1"/>
                  </a:lnTo>
                  <a:lnTo>
                    <a:pt x="31" y="1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5" y="2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43" y="10"/>
                  </a:lnTo>
                  <a:lnTo>
                    <a:pt x="42" y="14"/>
                  </a:lnTo>
                  <a:lnTo>
                    <a:pt x="42" y="19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4" y="28"/>
                  </a:lnTo>
                  <a:lnTo>
                    <a:pt x="44" y="31"/>
                  </a:lnTo>
                  <a:lnTo>
                    <a:pt x="43" y="32"/>
                  </a:lnTo>
                  <a:lnTo>
                    <a:pt x="44" y="34"/>
                  </a:lnTo>
                  <a:lnTo>
                    <a:pt x="44" y="38"/>
                  </a:lnTo>
                  <a:lnTo>
                    <a:pt x="44" y="39"/>
                  </a:lnTo>
                  <a:lnTo>
                    <a:pt x="46" y="46"/>
                  </a:lnTo>
                  <a:lnTo>
                    <a:pt x="44" y="48"/>
                  </a:lnTo>
                  <a:lnTo>
                    <a:pt x="44" y="50"/>
                  </a:lnTo>
                  <a:lnTo>
                    <a:pt x="43" y="53"/>
                  </a:lnTo>
                  <a:lnTo>
                    <a:pt x="44" y="57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7" y="61"/>
                  </a:lnTo>
                  <a:lnTo>
                    <a:pt x="49" y="63"/>
                  </a:lnTo>
                  <a:lnTo>
                    <a:pt x="43" y="63"/>
                  </a:lnTo>
                  <a:lnTo>
                    <a:pt x="38" y="66"/>
                  </a:lnTo>
                  <a:lnTo>
                    <a:pt x="31" y="72"/>
                  </a:lnTo>
                  <a:lnTo>
                    <a:pt x="24" y="72"/>
                  </a:lnTo>
                  <a:lnTo>
                    <a:pt x="13" y="77"/>
                  </a:lnTo>
                  <a:lnTo>
                    <a:pt x="9" y="74"/>
                  </a:lnTo>
                  <a:lnTo>
                    <a:pt x="2" y="74"/>
                  </a:lnTo>
                  <a:lnTo>
                    <a:pt x="2" y="7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1" name="Freeform 111"/>
            <p:cNvSpPr>
              <a:spLocks/>
            </p:cNvSpPr>
            <p:nvPr/>
          </p:nvSpPr>
          <p:spPr bwMode="auto">
            <a:xfrm>
              <a:off x="1969" y="1868"/>
              <a:ext cx="24" cy="63"/>
            </a:xfrm>
            <a:custGeom>
              <a:avLst/>
              <a:gdLst>
                <a:gd name="T0" fmla="*/ 13 w 24"/>
                <a:gd name="T1" fmla="*/ 2 h 63"/>
                <a:gd name="T2" fmla="*/ 1 w 24"/>
                <a:gd name="T3" fmla="*/ 0 h 63"/>
                <a:gd name="T4" fmla="*/ 0 w 24"/>
                <a:gd name="T5" fmla="*/ 0 h 63"/>
                <a:gd name="T6" fmla="*/ 1 w 24"/>
                <a:gd name="T7" fmla="*/ 2 h 63"/>
                <a:gd name="T8" fmla="*/ 2 w 24"/>
                <a:gd name="T9" fmla="*/ 4 h 63"/>
                <a:gd name="T10" fmla="*/ 2 w 24"/>
                <a:gd name="T11" fmla="*/ 5 h 63"/>
                <a:gd name="T12" fmla="*/ 5 w 24"/>
                <a:gd name="T13" fmla="*/ 8 h 63"/>
                <a:gd name="T14" fmla="*/ 6 w 24"/>
                <a:gd name="T15" fmla="*/ 9 h 63"/>
                <a:gd name="T16" fmla="*/ 9 w 24"/>
                <a:gd name="T17" fmla="*/ 10 h 63"/>
                <a:gd name="T18" fmla="*/ 8 w 24"/>
                <a:gd name="T19" fmla="*/ 14 h 63"/>
                <a:gd name="T20" fmla="*/ 8 w 24"/>
                <a:gd name="T21" fmla="*/ 19 h 63"/>
                <a:gd name="T22" fmla="*/ 9 w 24"/>
                <a:gd name="T23" fmla="*/ 20 h 63"/>
                <a:gd name="T24" fmla="*/ 10 w 24"/>
                <a:gd name="T25" fmla="*/ 20 h 63"/>
                <a:gd name="T26" fmla="*/ 10 w 24"/>
                <a:gd name="T27" fmla="*/ 24 h 63"/>
                <a:gd name="T28" fmla="*/ 9 w 24"/>
                <a:gd name="T29" fmla="*/ 25 h 63"/>
                <a:gd name="T30" fmla="*/ 9 w 24"/>
                <a:gd name="T31" fmla="*/ 27 h 63"/>
                <a:gd name="T32" fmla="*/ 10 w 24"/>
                <a:gd name="T33" fmla="*/ 28 h 63"/>
                <a:gd name="T34" fmla="*/ 10 w 24"/>
                <a:gd name="T35" fmla="*/ 31 h 63"/>
                <a:gd name="T36" fmla="*/ 9 w 24"/>
                <a:gd name="T37" fmla="*/ 32 h 63"/>
                <a:gd name="T38" fmla="*/ 10 w 24"/>
                <a:gd name="T39" fmla="*/ 34 h 63"/>
                <a:gd name="T40" fmla="*/ 10 w 24"/>
                <a:gd name="T41" fmla="*/ 38 h 63"/>
                <a:gd name="T42" fmla="*/ 10 w 24"/>
                <a:gd name="T43" fmla="*/ 39 h 63"/>
                <a:gd name="T44" fmla="*/ 12 w 24"/>
                <a:gd name="T45" fmla="*/ 46 h 63"/>
                <a:gd name="T46" fmla="*/ 10 w 24"/>
                <a:gd name="T47" fmla="*/ 48 h 63"/>
                <a:gd name="T48" fmla="*/ 10 w 24"/>
                <a:gd name="T49" fmla="*/ 50 h 63"/>
                <a:gd name="T50" fmla="*/ 9 w 24"/>
                <a:gd name="T51" fmla="*/ 53 h 63"/>
                <a:gd name="T52" fmla="*/ 10 w 24"/>
                <a:gd name="T53" fmla="*/ 57 h 63"/>
                <a:gd name="T54" fmla="*/ 12 w 24"/>
                <a:gd name="T55" fmla="*/ 59 h 63"/>
                <a:gd name="T56" fmla="*/ 12 w 24"/>
                <a:gd name="T57" fmla="*/ 59 h 63"/>
                <a:gd name="T58" fmla="*/ 13 w 24"/>
                <a:gd name="T59" fmla="*/ 61 h 63"/>
                <a:gd name="T60" fmla="*/ 15 w 24"/>
                <a:gd name="T61" fmla="*/ 63 h 63"/>
                <a:gd name="T62" fmla="*/ 16 w 24"/>
                <a:gd name="T63" fmla="*/ 62 h 63"/>
                <a:gd name="T64" fmla="*/ 23 w 24"/>
                <a:gd name="T65" fmla="*/ 59 h 63"/>
                <a:gd name="T66" fmla="*/ 24 w 24"/>
                <a:gd name="T67" fmla="*/ 59 h 63"/>
                <a:gd name="T68" fmla="*/ 24 w 24"/>
                <a:gd name="T69" fmla="*/ 57 h 63"/>
                <a:gd name="T70" fmla="*/ 23 w 24"/>
                <a:gd name="T71" fmla="*/ 54 h 63"/>
                <a:gd name="T72" fmla="*/ 23 w 24"/>
                <a:gd name="T73" fmla="*/ 51 h 63"/>
                <a:gd name="T74" fmla="*/ 21 w 24"/>
                <a:gd name="T75" fmla="*/ 47 h 63"/>
                <a:gd name="T76" fmla="*/ 21 w 24"/>
                <a:gd name="T77" fmla="*/ 34 h 63"/>
                <a:gd name="T78" fmla="*/ 21 w 24"/>
                <a:gd name="T79" fmla="*/ 32 h 63"/>
                <a:gd name="T80" fmla="*/ 23 w 24"/>
                <a:gd name="T81" fmla="*/ 29 h 63"/>
                <a:gd name="T82" fmla="*/ 23 w 24"/>
                <a:gd name="T83" fmla="*/ 27 h 63"/>
                <a:gd name="T84" fmla="*/ 23 w 24"/>
                <a:gd name="T85" fmla="*/ 25 h 63"/>
                <a:gd name="T86" fmla="*/ 23 w 24"/>
                <a:gd name="T87" fmla="*/ 23 h 63"/>
                <a:gd name="T88" fmla="*/ 21 w 24"/>
                <a:gd name="T89" fmla="*/ 17 h 63"/>
                <a:gd name="T90" fmla="*/ 19 w 24"/>
                <a:gd name="T91" fmla="*/ 12 h 63"/>
                <a:gd name="T92" fmla="*/ 17 w 24"/>
                <a:gd name="T93" fmla="*/ 10 h 63"/>
                <a:gd name="T94" fmla="*/ 16 w 24"/>
                <a:gd name="T95" fmla="*/ 9 h 63"/>
                <a:gd name="T96" fmla="*/ 13 w 24"/>
                <a:gd name="T97" fmla="*/ 8 h 63"/>
                <a:gd name="T98" fmla="*/ 13 w 24"/>
                <a:gd name="T99" fmla="*/ 4 h 63"/>
                <a:gd name="T100" fmla="*/ 13 w 24"/>
                <a:gd name="T101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" h="63">
                  <a:moveTo>
                    <a:pt x="13" y="2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5" y="8"/>
                  </a:lnTo>
                  <a:lnTo>
                    <a:pt x="6" y="9"/>
                  </a:lnTo>
                  <a:lnTo>
                    <a:pt x="9" y="10"/>
                  </a:lnTo>
                  <a:lnTo>
                    <a:pt x="8" y="14"/>
                  </a:lnTo>
                  <a:lnTo>
                    <a:pt x="8" y="19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24"/>
                  </a:lnTo>
                  <a:lnTo>
                    <a:pt x="9" y="25"/>
                  </a:lnTo>
                  <a:lnTo>
                    <a:pt x="9" y="27"/>
                  </a:lnTo>
                  <a:lnTo>
                    <a:pt x="10" y="28"/>
                  </a:lnTo>
                  <a:lnTo>
                    <a:pt x="10" y="31"/>
                  </a:lnTo>
                  <a:lnTo>
                    <a:pt x="9" y="32"/>
                  </a:lnTo>
                  <a:lnTo>
                    <a:pt x="10" y="34"/>
                  </a:lnTo>
                  <a:lnTo>
                    <a:pt x="10" y="38"/>
                  </a:lnTo>
                  <a:lnTo>
                    <a:pt x="10" y="39"/>
                  </a:lnTo>
                  <a:lnTo>
                    <a:pt x="12" y="46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9" y="53"/>
                  </a:lnTo>
                  <a:lnTo>
                    <a:pt x="10" y="57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3" y="61"/>
                  </a:lnTo>
                  <a:lnTo>
                    <a:pt x="15" y="63"/>
                  </a:lnTo>
                  <a:lnTo>
                    <a:pt x="16" y="62"/>
                  </a:lnTo>
                  <a:lnTo>
                    <a:pt x="23" y="59"/>
                  </a:lnTo>
                  <a:lnTo>
                    <a:pt x="24" y="59"/>
                  </a:lnTo>
                  <a:lnTo>
                    <a:pt x="24" y="57"/>
                  </a:lnTo>
                  <a:lnTo>
                    <a:pt x="23" y="54"/>
                  </a:lnTo>
                  <a:lnTo>
                    <a:pt x="23" y="51"/>
                  </a:lnTo>
                  <a:lnTo>
                    <a:pt x="21" y="47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3" y="29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1" y="17"/>
                  </a:lnTo>
                  <a:lnTo>
                    <a:pt x="19" y="12"/>
                  </a:lnTo>
                  <a:lnTo>
                    <a:pt x="17" y="10"/>
                  </a:lnTo>
                  <a:lnTo>
                    <a:pt x="16" y="9"/>
                  </a:lnTo>
                  <a:lnTo>
                    <a:pt x="13" y="8"/>
                  </a:lnTo>
                  <a:lnTo>
                    <a:pt x="13" y="4"/>
                  </a:lnTo>
                  <a:lnTo>
                    <a:pt x="13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2" name="Freeform 112"/>
            <p:cNvSpPr>
              <a:spLocks/>
            </p:cNvSpPr>
            <p:nvPr/>
          </p:nvSpPr>
          <p:spPr bwMode="auto">
            <a:xfrm>
              <a:off x="1982" y="1851"/>
              <a:ext cx="37" cy="76"/>
            </a:xfrm>
            <a:custGeom>
              <a:avLst/>
              <a:gdLst>
                <a:gd name="T0" fmla="*/ 16 w 37"/>
                <a:gd name="T1" fmla="*/ 6 h 76"/>
                <a:gd name="T2" fmla="*/ 12 w 37"/>
                <a:gd name="T3" fmla="*/ 10 h 76"/>
                <a:gd name="T4" fmla="*/ 7 w 37"/>
                <a:gd name="T5" fmla="*/ 11 h 76"/>
                <a:gd name="T6" fmla="*/ 6 w 37"/>
                <a:gd name="T7" fmla="*/ 14 h 76"/>
                <a:gd name="T8" fmla="*/ 4 w 37"/>
                <a:gd name="T9" fmla="*/ 18 h 76"/>
                <a:gd name="T10" fmla="*/ 0 w 37"/>
                <a:gd name="T11" fmla="*/ 21 h 76"/>
                <a:gd name="T12" fmla="*/ 3 w 37"/>
                <a:gd name="T13" fmla="*/ 26 h 76"/>
                <a:gd name="T14" fmla="*/ 6 w 37"/>
                <a:gd name="T15" fmla="*/ 29 h 76"/>
                <a:gd name="T16" fmla="*/ 10 w 37"/>
                <a:gd name="T17" fmla="*/ 40 h 76"/>
                <a:gd name="T18" fmla="*/ 10 w 37"/>
                <a:gd name="T19" fmla="*/ 44 h 76"/>
                <a:gd name="T20" fmla="*/ 8 w 37"/>
                <a:gd name="T21" fmla="*/ 49 h 76"/>
                <a:gd name="T22" fmla="*/ 8 w 37"/>
                <a:gd name="T23" fmla="*/ 64 h 76"/>
                <a:gd name="T24" fmla="*/ 10 w 37"/>
                <a:gd name="T25" fmla="*/ 71 h 76"/>
                <a:gd name="T26" fmla="*/ 11 w 37"/>
                <a:gd name="T27" fmla="*/ 76 h 76"/>
                <a:gd name="T28" fmla="*/ 23 w 37"/>
                <a:gd name="T29" fmla="*/ 74 h 76"/>
                <a:gd name="T30" fmla="*/ 23 w 37"/>
                <a:gd name="T31" fmla="*/ 71 h 76"/>
                <a:gd name="T32" fmla="*/ 23 w 37"/>
                <a:gd name="T33" fmla="*/ 64 h 76"/>
                <a:gd name="T34" fmla="*/ 22 w 37"/>
                <a:gd name="T35" fmla="*/ 57 h 76"/>
                <a:gd name="T36" fmla="*/ 23 w 37"/>
                <a:gd name="T37" fmla="*/ 53 h 76"/>
                <a:gd name="T38" fmla="*/ 22 w 37"/>
                <a:gd name="T39" fmla="*/ 52 h 76"/>
                <a:gd name="T40" fmla="*/ 22 w 37"/>
                <a:gd name="T41" fmla="*/ 49 h 76"/>
                <a:gd name="T42" fmla="*/ 22 w 37"/>
                <a:gd name="T43" fmla="*/ 45 h 76"/>
                <a:gd name="T44" fmla="*/ 23 w 37"/>
                <a:gd name="T45" fmla="*/ 41 h 76"/>
                <a:gd name="T46" fmla="*/ 26 w 37"/>
                <a:gd name="T47" fmla="*/ 41 h 76"/>
                <a:gd name="T48" fmla="*/ 29 w 37"/>
                <a:gd name="T49" fmla="*/ 38 h 76"/>
                <a:gd name="T50" fmla="*/ 31 w 37"/>
                <a:gd name="T51" fmla="*/ 33 h 76"/>
                <a:gd name="T52" fmla="*/ 34 w 37"/>
                <a:gd name="T53" fmla="*/ 31 h 76"/>
                <a:gd name="T54" fmla="*/ 33 w 37"/>
                <a:gd name="T55" fmla="*/ 27 h 76"/>
                <a:gd name="T56" fmla="*/ 33 w 37"/>
                <a:gd name="T57" fmla="*/ 26 h 76"/>
                <a:gd name="T58" fmla="*/ 37 w 37"/>
                <a:gd name="T59" fmla="*/ 23 h 76"/>
                <a:gd name="T60" fmla="*/ 36 w 37"/>
                <a:gd name="T61" fmla="*/ 17 h 76"/>
                <a:gd name="T62" fmla="*/ 31 w 37"/>
                <a:gd name="T63" fmla="*/ 12 h 76"/>
                <a:gd name="T64" fmla="*/ 33 w 37"/>
                <a:gd name="T65" fmla="*/ 10 h 76"/>
                <a:gd name="T66" fmla="*/ 27 w 37"/>
                <a:gd name="T67" fmla="*/ 6 h 76"/>
                <a:gd name="T68" fmla="*/ 21 w 37"/>
                <a:gd name="T69" fmla="*/ 0 h 76"/>
                <a:gd name="T70" fmla="*/ 21 w 37"/>
                <a:gd name="T71" fmla="*/ 3 h 76"/>
                <a:gd name="T72" fmla="*/ 16 w 37"/>
                <a:gd name="T73" fmla="*/ 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" h="76">
                  <a:moveTo>
                    <a:pt x="16" y="4"/>
                  </a:moveTo>
                  <a:lnTo>
                    <a:pt x="16" y="6"/>
                  </a:lnTo>
                  <a:lnTo>
                    <a:pt x="14" y="8"/>
                  </a:lnTo>
                  <a:lnTo>
                    <a:pt x="12" y="10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4"/>
                  </a:lnTo>
                  <a:lnTo>
                    <a:pt x="3" y="15"/>
                  </a:lnTo>
                  <a:lnTo>
                    <a:pt x="4" y="18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3" y="26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8" y="34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6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8" y="64"/>
                  </a:lnTo>
                  <a:lnTo>
                    <a:pt x="10" y="68"/>
                  </a:lnTo>
                  <a:lnTo>
                    <a:pt x="10" y="71"/>
                  </a:lnTo>
                  <a:lnTo>
                    <a:pt x="11" y="74"/>
                  </a:lnTo>
                  <a:lnTo>
                    <a:pt x="11" y="76"/>
                  </a:lnTo>
                  <a:lnTo>
                    <a:pt x="15" y="76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1"/>
                  </a:lnTo>
                  <a:lnTo>
                    <a:pt x="23" y="65"/>
                  </a:lnTo>
                  <a:lnTo>
                    <a:pt x="23" y="64"/>
                  </a:lnTo>
                  <a:lnTo>
                    <a:pt x="23" y="61"/>
                  </a:lnTo>
                  <a:lnTo>
                    <a:pt x="22" y="57"/>
                  </a:lnTo>
                  <a:lnTo>
                    <a:pt x="23" y="55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2"/>
                  </a:lnTo>
                  <a:lnTo>
                    <a:pt x="22" y="51"/>
                  </a:lnTo>
                  <a:lnTo>
                    <a:pt x="22" y="49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2" y="42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9" y="38"/>
                  </a:lnTo>
                  <a:lnTo>
                    <a:pt x="30" y="34"/>
                  </a:lnTo>
                  <a:lnTo>
                    <a:pt x="31" y="33"/>
                  </a:lnTo>
                  <a:lnTo>
                    <a:pt x="33" y="31"/>
                  </a:lnTo>
                  <a:lnTo>
                    <a:pt x="34" y="31"/>
                  </a:lnTo>
                  <a:lnTo>
                    <a:pt x="34" y="30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6"/>
                  </a:lnTo>
                  <a:lnTo>
                    <a:pt x="36" y="25"/>
                  </a:lnTo>
                  <a:lnTo>
                    <a:pt x="37" y="23"/>
                  </a:lnTo>
                  <a:lnTo>
                    <a:pt x="36" y="19"/>
                  </a:lnTo>
                  <a:lnTo>
                    <a:pt x="36" y="17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3" y="10"/>
                  </a:lnTo>
                  <a:lnTo>
                    <a:pt x="30" y="7"/>
                  </a:lnTo>
                  <a:lnTo>
                    <a:pt x="27" y="6"/>
                  </a:lnTo>
                  <a:lnTo>
                    <a:pt x="25" y="3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18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3" name="Freeform 113"/>
            <p:cNvSpPr>
              <a:spLocks noEditPoints="1"/>
            </p:cNvSpPr>
            <p:nvPr/>
          </p:nvSpPr>
          <p:spPr bwMode="auto">
            <a:xfrm>
              <a:off x="2110" y="1719"/>
              <a:ext cx="137" cy="195"/>
            </a:xfrm>
            <a:custGeom>
              <a:avLst/>
              <a:gdLst>
                <a:gd name="T0" fmla="*/ 136 w 137"/>
                <a:gd name="T1" fmla="*/ 48 h 195"/>
                <a:gd name="T2" fmla="*/ 133 w 137"/>
                <a:gd name="T3" fmla="*/ 97 h 195"/>
                <a:gd name="T4" fmla="*/ 126 w 137"/>
                <a:gd name="T5" fmla="*/ 97 h 195"/>
                <a:gd name="T6" fmla="*/ 126 w 137"/>
                <a:gd name="T7" fmla="*/ 104 h 195"/>
                <a:gd name="T8" fmla="*/ 120 w 137"/>
                <a:gd name="T9" fmla="*/ 110 h 195"/>
                <a:gd name="T10" fmla="*/ 120 w 137"/>
                <a:gd name="T11" fmla="*/ 116 h 195"/>
                <a:gd name="T12" fmla="*/ 118 w 137"/>
                <a:gd name="T13" fmla="*/ 120 h 195"/>
                <a:gd name="T14" fmla="*/ 114 w 137"/>
                <a:gd name="T15" fmla="*/ 130 h 195"/>
                <a:gd name="T16" fmla="*/ 118 w 137"/>
                <a:gd name="T17" fmla="*/ 131 h 195"/>
                <a:gd name="T18" fmla="*/ 118 w 137"/>
                <a:gd name="T19" fmla="*/ 134 h 195"/>
                <a:gd name="T20" fmla="*/ 120 w 137"/>
                <a:gd name="T21" fmla="*/ 139 h 195"/>
                <a:gd name="T22" fmla="*/ 125 w 137"/>
                <a:gd name="T23" fmla="*/ 144 h 195"/>
                <a:gd name="T24" fmla="*/ 125 w 137"/>
                <a:gd name="T25" fmla="*/ 150 h 195"/>
                <a:gd name="T26" fmla="*/ 120 w 137"/>
                <a:gd name="T27" fmla="*/ 153 h 195"/>
                <a:gd name="T28" fmla="*/ 112 w 137"/>
                <a:gd name="T29" fmla="*/ 155 h 195"/>
                <a:gd name="T30" fmla="*/ 110 w 137"/>
                <a:gd name="T31" fmla="*/ 159 h 195"/>
                <a:gd name="T32" fmla="*/ 106 w 137"/>
                <a:gd name="T33" fmla="*/ 162 h 195"/>
                <a:gd name="T34" fmla="*/ 103 w 137"/>
                <a:gd name="T35" fmla="*/ 166 h 195"/>
                <a:gd name="T36" fmla="*/ 102 w 137"/>
                <a:gd name="T37" fmla="*/ 172 h 195"/>
                <a:gd name="T38" fmla="*/ 94 w 137"/>
                <a:gd name="T39" fmla="*/ 176 h 195"/>
                <a:gd name="T40" fmla="*/ 86 w 137"/>
                <a:gd name="T41" fmla="*/ 174 h 195"/>
                <a:gd name="T42" fmla="*/ 79 w 137"/>
                <a:gd name="T43" fmla="*/ 176 h 195"/>
                <a:gd name="T44" fmla="*/ 83 w 137"/>
                <a:gd name="T45" fmla="*/ 180 h 195"/>
                <a:gd name="T46" fmla="*/ 78 w 137"/>
                <a:gd name="T47" fmla="*/ 185 h 195"/>
                <a:gd name="T48" fmla="*/ 65 w 137"/>
                <a:gd name="T49" fmla="*/ 189 h 195"/>
                <a:gd name="T50" fmla="*/ 57 w 137"/>
                <a:gd name="T51" fmla="*/ 193 h 195"/>
                <a:gd name="T52" fmla="*/ 53 w 137"/>
                <a:gd name="T53" fmla="*/ 188 h 195"/>
                <a:gd name="T54" fmla="*/ 50 w 137"/>
                <a:gd name="T55" fmla="*/ 195 h 195"/>
                <a:gd name="T56" fmla="*/ 44 w 137"/>
                <a:gd name="T57" fmla="*/ 195 h 195"/>
                <a:gd name="T58" fmla="*/ 42 w 137"/>
                <a:gd name="T59" fmla="*/ 189 h 195"/>
                <a:gd name="T60" fmla="*/ 35 w 137"/>
                <a:gd name="T61" fmla="*/ 181 h 195"/>
                <a:gd name="T62" fmla="*/ 26 w 137"/>
                <a:gd name="T63" fmla="*/ 173 h 195"/>
                <a:gd name="T64" fmla="*/ 23 w 137"/>
                <a:gd name="T65" fmla="*/ 169 h 195"/>
                <a:gd name="T66" fmla="*/ 24 w 137"/>
                <a:gd name="T67" fmla="*/ 163 h 195"/>
                <a:gd name="T68" fmla="*/ 30 w 137"/>
                <a:gd name="T69" fmla="*/ 163 h 195"/>
                <a:gd name="T70" fmla="*/ 34 w 137"/>
                <a:gd name="T71" fmla="*/ 163 h 195"/>
                <a:gd name="T72" fmla="*/ 39 w 137"/>
                <a:gd name="T73" fmla="*/ 165 h 195"/>
                <a:gd name="T74" fmla="*/ 37 w 137"/>
                <a:gd name="T75" fmla="*/ 161 h 195"/>
                <a:gd name="T76" fmla="*/ 33 w 137"/>
                <a:gd name="T77" fmla="*/ 155 h 195"/>
                <a:gd name="T78" fmla="*/ 35 w 137"/>
                <a:gd name="T79" fmla="*/ 149 h 195"/>
                <a:gd name="T80" fmla="*/ 34 w 137"/>
                <a:gd name="T81" fmla="*/ 144 h 195"/>
                <a:gd name="T82" fmla="*/ 33 w 137"/>
                <a:gd name="T83" fmla="*/ 138 h 195"/>
                <a:gd name="T84" fmla="*/ 29 w 137"/>
                <a:gd name="T85" fmla="*/ 131 h 195"/>
                <a:gd name="T86" fmla="*/ 20 w 137"/>
                <a:gd name="T87" fmla="*/ 124 h 195"/>
                <a:gd name="T88" fmla="*/ 15 w 137"/>
                <a:gd name="T89" fmla="*/ 105 h 195"/>
                <a:gd name="T90" fmla="*/ 18 w 137"/>
                <a:gd name="T91" fmla="*/ 104 h 195"/>
                <a:gd name="T92" fmla="*/ 38 w 137"/>
                <a:gd name="T93" fmla="*/ 66 h 195"/>
                <a:gd name="T94" fmla="*/ 42 w 137"/>
                <a:gd name="T95" fmla="*/ 37 h 195"/>
                <a:gd name="T96" fmla="*/ 35 w 137"/>
                <a:gd name="T97" fmla="*/ 23 h 195"/>
                <a:gd name="T98" fmla="*/ 29 w 137"/>
                <a:gd name="T99" fmla="*/ 6 h 195"/>
                <a:gd name="T100" fmla="*/ 1 w 137"/>
                <a:gd name="T101" fmla="*/ 128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7" h="195">
                  <a:moveTo>
                    <a:pt x="29" y="6"/>
                  </a:moveTo>
                  <a:lnTo>
                    <a:pt x="42" y="0"/>
                  </a:lnTo>
                  <a:lnTo>
                    <a:pt x="136" y="48"/>
                  </a:lnTo>
                  <a:lnTo>
                    <a:pt x="137" y="94"/>
                  </a:lnTo>
                  <a:lnTo>
                    <a:pt x="136" y="96"/>
                  </a:lnTo>
                  <a:lnTo>
                    <a:pt x="133" y="97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6" y="97"/>
                  </a:lnTo>
                  <a:lnTo>
                    <a:pt x="126" y="100"/>
                  </a:lnTo>
                  <a:lnTo>
                    <a:pt x="128" y="101"/>
                  </a:lnTo>
                  <a:lnTo>
                    <a:pt x="126" y="104"/>
                  </a:lnTo>
                  <a:lnTo>
                    <a:pt x="122" y="109"/>
                  </a:lnTo>
                  <a:lnTo>
                    <a:pt x="121" y="109"/>
                  </a:lnTo>
                  <a:lnTo>
                    <a:pt x="120" y="110"/>
                  </a:lnTo>
                  <a:lnTo>
                    <a:pt x="120" y="113"/>
                  </a:lnTo>
                  <a:lnTo>
                    <a:pt x="121" y="115"/>
                  </a:lnTo>
                  <a:lnTo>
                    <a:pt x="120" y="116"/>
                  </a:lnTo>
                  <a:lnTo>
                    <a:pt x="117" y="117"/>
                  </a:lnTo>
                  <a:lnTo>
                    <a:pt x="117" y="120"/>
                  </a:lnTo>
                  <a:lnTo>
                    <a:pt x="118" y="120"/>
                  </a:lnTo>
                  <a:lnTo>
                    <a:pt x="118" y="123"/>
                  </a:lnTo>
                  <a:lnTo>
                    <a:pt x="118" y="125"/>
                  </a:lnTo>
                  <a:lnTo>
                    <a:pt x="114" y="130"/>
                  </a:lnTo>
                  <a:lnTo>
                    <a:pt x="114" y="131"/>
                  </a:lnTo>
                  <a:lnTo>
                    <a:pt x="116" y="134"/>
                  </a:lnTo>
                  <a:lnTo>
                    <a:pt x="118" y="131"/>
                  </a:lnTo>
                  <a:lnTo>
                    <a:pt x="120" y="131"/>
                  </a:lnTo>
                  <a:lnTo>
                    <a:pt x="120" y="134"/>
                  </a:lnTo>
                  <a:lnTo>
                    <a:pt x="118" y="134"/>
                  </a:lnTo>
                  <a:lnTo>
                    <a:pt x="120" y="135"/>
                  </a:lnTo>
                  <a:lnTo>
                    <a:pt x="120" y="136"/>
                  </a:lnTo>
                  <a:lnTo>
                    <a:pt x="120" y="139"/>
                  </a:lnTo>
                  <a:lnTo>
                    <a:pt x="120" y="142"/>
                  </a:lnTo>
                  <a:lnTo>
                    <a:pt x="121" y="144"/>
                  </a:lnTo>
                  <a:lnTo>
                    <a:pt x="125" y="144"/>
                  </a:lnTo>
                  <a:lnTo>
                    <a:pt x="126" y="147"/>
                  </a:lnTo>
                  <a:lnTo>
                    <a:pt x="125" y="149"/>
                  </a:lnTo>
                  <a:lnTo>
                    <a:pt x="125" y="150"/>
                  </a:lnTo>
                  <a:lnTo>
                    <a:pt x="125" y="151"/>
                  </a:lnTo>
                  <a:lnTo>
                    <a:pt x="121" y="153"/>
                  </a:lnTo>
                  <a:lnTo>
                    <a:pt x="120" y="153"/>
                  </a:lnTo>
                  <a:lnTo>
                    <a:pt x="117" y="153"/>
                  </a:lnTo>
                  <a:lnTo>
                    <a:pt x="116" y="154"/>
                  </a:lnTo>
                  <a:lnTo>
                    <a:pt x="112" y="155"/>
                  </a:lnTo>
                  <a:lnTo>
                    <a:pt x="112" y="157"/>
                  </a:lnTo>
                  <a:lnTo>
                    <a:pt x="112" y="158"/>
                  </a:lnTo>
                  <a:lnTo>
                    <a:pt x="110" y="159"/>
                  </a:lnTo>
                  <a:lnTo>
                    <a:pt x="109" y="162"/>
                  </a:lnTo>
                  <a:lnTo>
                    <a:pt x="107" y="162"/>
                  </a:lnTo>
                  <a:lnTo>
                    <a:pt x="106" y="162"/>
                  </a:lnTo>
                  <a:lnTo>
                    <a:pt x="105" y="163"/>
                  </a:lnTo>
                  <a:lnTo>
                    <a:pt x="105" y="165"/>
                  </a:lnTo>
                  <a:lnTo>
                    <a:pt x="103" y="166"/>
                  </a:lnTo>
                  <a:lnTo>
                    <a:pt x="102" y="169"/>
                  </a:lnTo>
                  <a:lnTo>
                    <a:pt x="103" y="170"/>
                  </a:lnTo>
                  <a:lnTo>
                    <a:pt x="102" y="172"/>
                  </a:lnTo>
                  <a:lnTo>
                    <a:pt x="101" y="173"/>
                  </a:lnTo>
                  <a:lnTo>
                    <a:pt x="98" y="174"/>
                  </a:lnTo>
                  <a:lnTo>
                    <a:pt x="94" y="176"/>
                  </a:lnTo>
                  <a:lnTo>
                    <a:pt x="91" y="176"/>
                  </a:lnTo>
                  <a:lnTo>
                    <a:pt x="87" y="176"/>
                  </a:lnTo>
                  <a:lnTo>
                    <a:pt x="86" y="174"/>
                  </a:lnTo>
                  <a:lnTo>
                    <a:pt x="83" y="174"/>
                  </a:lnTo>
                  <a:lnTo>
                    <a:pt x="82" y="174"/>
                  </a:lnTo>
                  <a:lnTo>
                    <a:pt x="79" y="176"/>
                  </a:lnTo>
                  <a:lnTo>
                    <a:pt x="79" y="177"/>
                  </a:lnTo>
                  <a:lnTo>
                    <a:pt x="82" y="180"/>
                  </a:lnTo>
                  <a:lnTo>
                    <a:pt x="83" y="180"/>
                  </a:lnTo>
                  <a:lnTo>
                    <a:pt x="83" y="181"/>
                  </a:lnTo>
                  <a:lnTo>
                    <a:pt x="79" y="184"/>
                  </a:lnTo>
                  <a:lnTo>
                    <a:pt x="78" y="185"/>
                  </a:lnTo>
                  <a:lnTo>
                    <a:pt x="75" y="185"/>
                  </a:lnTo>
                  <a:lnTo>
                    <a:pt x="68" y="187"/>
                  </a:lnTo>
                  <a:lnTo>
                    <a:pt x="65" y="189"/>
                  </a:lnTo>
                  <a:lnTo>
                    <a:pt x="61" y="191"/>
                  </a:lnTo>
                  <a:lnTo>
                    <a:pt x="58" y="192"/>
                  </a:lnTo>
                  <a:lnTo>
                    <a:pt x="57" y="193"/>
                  </a:lnTo>
                  <a:lnTo>
                    <a:pt x="56" y="192"/>
                  </a:lnTo>
                  <a:lnTo>
                    <a:pt x="54" y="189"/>
                  </a:lnTo>
                  <a:lnTo>
                    <a:pt x="53" y="188"/>
                  </a:lnTo>
                  <a:lnTo>
                    <a:pt x="52" y="189"/>
                  </a:lnTo>
                  <a:lnTo>
                    <a:pt x="52" y="192"/>
                  </a:lnTo>
                  <a:lnTo>
                    <a:pt x="50" y="195"/>
                  </a:lnTo>
                  <a:lnTo>
                    <a:pt x="48" y="195"/>
                  </a:lnTo>
                  <a:lnTo>
                    <a:pt x="46" y="195"/>
                  </a:lnTo>
                  <a:lnTo>
                    <a:pt x="44" y="195"/>
                  </a:lnTo>
                  <a:lnTo>
                    <a:pt x="44" y="192"/>
                  </a:lnTo>
                  <a:lnTo>
                    <a:pt x="42" y="191"/>
                  </a:lnTo>
                  <a:lnTo>
                    <a:pt x="42" y="189"/>
                  </a:lnTo>
                  <a:lnTo>
                    <a:pt x="39" y="187"/>
                  </a:lnTo>
                  <a:lnTo>
                    <a:pt x="38" y="183"/>
                  </a:lnTo>
                  <a:lnTo>
                    <a:pt x="35" y="181"/>
                  </a:lnTo>
                  <a:lnTo>
                    <a:pt x="31" y="177"/>
                  </a:lnTo>
                  <a:lnTo>
                    <a:pt x="27" y="173"/>
                  </a:lnTo>
                  <a:lnTo>
                    <a:pt x="26" y="173"/>
                  </a:lnTo>
                  <a:lnTo>
                    <a:pt x="26" y="172"/>
                  </a:lnTo>
                  <a:lnTo>
                    <a:pt x="24" y="170"/>
                  </a:lnTo>
                  <a:lnTo>
                    <a:pt x="23" y="169"/>
                  </a:lnTo>
                  <a:lnTo>
                    <a:pt x="23" y="168"/>
                  </a:lnTo>
                  <a:lnTo>
                    <a:pt x="24" y="166"/>
                  </a:lnTo>
                  <a:lnTo>
                    <a:pt x="24" y="163"/>
                  </a:lnTo>
                  <a:lnTo>
                    <a:pt x="26" y="163"/>
                  </a:lnTo>
                  <a:lnTo>
                    <a:pt x="29" y="163"/>
                  </a:lnTo>
                  <a:lnTo>
                    <a:pt x="30" y="163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4" y="163"/>
                  </a:lnTo>
                  <a:lnTo>
                    <a:pt x="37" y="163"/>
                  </a:lnTo>
                  <a:lnTo>
                    <a:pt x="38" y="165"/>
                  </a:lnTo>
                  <a:lnTo>
                    <a:pt x="39" y="165"/>
                  </a:lnTo>
                  <a:lnTo>
                    <a:pt x="41" y="165"/>
                  </a:lnTo>
                  <a:lnTo>
                    <a:pt x="41" y="163"/>
                  </a:lnTo>
                  <a:lnTo>
                    <a:pt x="37" y="161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3" y="155"/>
                  </a:lnTo>
                  <a:lnTo>
                    <a:pt x="33" y="153"/>
                  </a:lnTo>
                  <a:lnTo>
                    <a:pt x="34" y="151"/>
                  </a:lnTo>
                  <a:lnTo>
                    <a:pt x="35" y="149"/>
                  </a:lnTo>
                  <a:lnTo>
                    <a:pt x="34" y="147"/>
                  </a:lnTo>
                  <a:lnTo>
                    <a:pt x="34" y="146"/>
                  </a:lnTo>
                  <a:lnTo>
                    <a:pt x="34" y="144"/>
                  </a:lnTo>
                  <a:lnTo>
                    <a:pt x="34" y="143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1" y="136"/>
                  </a:lnTo>
                  <a:lnTo>
                    <a:pt x="31" y="134"/>
                  </a:lnTo>
                  <a:lnTo>
                    <a:pt x="29" y="131"/>
                  </a:lnTo>
                  <a:lnTo>
                    <a:pt x="23" y="128"/>
                  </a:lnTo>
                  <a:lnTo>
                    <a:pt x="22" y="128"/>
                  </a:lnTo>
                  <a:lnTo>
                    <a:pt x="20" y="124"/>
                  </a:lnTo>
                  <a:lnTo>
                    <a:pt x="18" y="121"/>
                  </a:lnTo>
                  <a:lnTo>
                    <a:pt x="16" y="120"/>
                  </a:lnTo>
                  <a:lnTo>
                    <a:pt x="15" y="105"/>
                  </a:lnTo>
                  <a:lnTo>
                    <a:pt x="15" y="104"/>
                  </a:lnTo>
                  <a:lnTo>
                    <a:pt x="16" y="104"/>
                  </a:lnTo>
                  <a:lnTo>
                    <a:pt x="18" y="104"/>
                  </a:lnTo>
                  <a:lnTo>
                    <a:pt x="19" y="102"/>
                  </a:lnTo>
                  <a:lnTo>
                    <a:pt x="38" y="82"/>
                  </a:lnTo>
                  <a:lnTo>
                    <a:pt x="38" y="66"/>
                  </a:lnTo>
                  <a:lnTo>
                    <a:pt x="41" y="43"/>
                  </a:lnTo>
                  <a:lnTo>
                    <a:pt x="42" y="41"/>
                  </a:lnTo>
                  <a:lnTo>
                    <a:pt x="42" y="37"/>
                  </a:lnTo>
                  <a:lnTo>
                    <a:pt x="35" y="28"/>
                  </a:lnTo>
                  <a:lnTo>
                    <a:pt x="35" y="26"/>
                  </a:lnTo>
                  <a:lnTo>
                    <a:pt x="35" y="23"/>
                  </a:lnTo>
                  <a:lnTo>
                    <a:pt x="30" y="7"/>
                  </a:lnTo>
                  <a:lnTo>
                    <a:pt x="29" y="6"/>
                  </a:lnTo>
                  <a:lnTo>
                    <a:pt x="29" y="6"/>
                  </a:lnTo>
                  <a:close/>
                  <a:moveTo>
                    <a:pt x="4" y="125"/>
                  </a:moveTo>
                  <a:lnTo>
                    <a:pt x="4" y="128"/>
                  </a:lnTo>
                  <a:lnTo>
                    <a:pt x="1" y="128"/>
                  </a:lnTo>
                  <a:lnTo>
                    <a:pt x="0" y="127"/>
                  </a:lnTo>
                  <a:lnTo>
                    <a:pt x="4" y="12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4" name="Freeform 114"/>
            <p:cNvSpPr>
              <a:spLocks/>
            </p:cNvSpPr>
            <p:nvPr/>
          </p:nvSpPr>
          <p:spPr bwMode="auto">
            <a:xfrm>
              <a:off x="1974" y="1722"/>
              <a:ext cx="178" cy="139"/>
            </a:xfrm>
            <a:custGeom>
              <a:avLst/>
              <a:gdLst>
                <a:gd name="T0" fmla="*/ 38 w 178"/>
                <a:gd name="T1" fmla="*/ 136 h 139"/>
                <a:gd name="T2" fmla="*/ 33 w 178"/>
                <a:gd name="T3" fmla="*/ 132 h 139"/>
                <a:gd name="T4" fmla="*/ 29 w 178"/>
                <a:gd name="T5" fmla="*/ 131 h 139"/>
                <a:gd name="T6" fmla="*/ 26 w 178"/>
                <a:gd name="T7" fmla="*/ 133 h 139"/>
                <a:gd name="T8" fmla="*/ 22 w 178"/>
                <a:gd name="T9" fmla="*/ 129 h 139"/>
                <a:gd name="T10" fmla="*/ 23 w 178"/>
                <a:gd name="T11" fmla="*/ 125 h 139"/>
                <a:gd name="T12" fmla="*/ 22 w 178"/>
                <a:gd name="T13" fmla="*/ 124 h 139"/>
                <a:gd name="T14" fmla="*/ 15 w 178"/>
                <a:gd name="T15" fmla="*/ 125 h 139"/>
                <a:gd name="T16" fmla="*/ 11 w 178"/>
                <a:gd name="T17" fmla="*/ 117 h 139"/>
                <a:gd name="T18" fmla="*/ 0 w 178"/>
                <a:gd name="T19" fmla="*/ 106 h 139"/>
                <a:gd name="T20" fmla="*/ 1 w 178"/>
                <a:gd name="T21" fmla="*/ 101 h 139"/>
                <a:gd name="T22" fmla="*/ 5 w 178"/>
                <a:gd name="T23" fmla="*/ 101 h 139"/>
                <a:gd name="T24" fmla="*/ 16 w 178"/>
                <a:gd name="T25" fmla="*/ 99 h 139"/>
                <a:gd name="T26" fmla="*/ 24 w 178"/>
                <a:gd name="T27" fmla="*/ 98 h 139"/>
                <a:gd name="T28" fmla="*/ 30 w 178"/>
                <a:gd name="T29" fmla="*/ 97 h 139"/>
                <a:gd name="T30" fmla="*/ 37 w 178"/>
                <a:gd name="T31" fmla="*/ 94 h 139"/>
                <a:gd name="T32" fmla="*/ 44 w 178"/>
                <a:gd name="T33" fmla="*/ 88 h 139"/>
                <a:gd name="T34" fmla="*/ 46 w 178"/>
                <a:gd name="T35" fmla="*/ 83 h 139"/>
                <a:gd name="T36" fmla="*/ 48 w 178"/>
                <a:gd name="T37" fmla="*/ 49 h 139"/>
                <a:gd name="T38" fmla="*/ 79 w 178"/>
                <a:gd name="T39" fmla="*/ 33 h 139"/>
                <a:gd name="T40" fmla="*/ 152 w 178"/>
                <a:gd name="T41" fmla="*/ 4 h 139"/>
                <a:gd name="T42" fmla="*/ 165 w 178"/>
                <a:gd name="T43" fmla="*/ 3 h 139"/>
                <a:gd name="T44" fmla="*/ 171 w 178"/>
                <a:gd name="T45" fmla="*/ 20 h 139"/>
                <a:gd name="T46" fmla="*/ 171 w 178"/>
                <a:gd name="T47" fmla="*/ 25 h 139"/>
                <a:gd name="T48" fmla="*/ 178 w 178"/>
                <a:gd name="T49" fmla="*/ 38 h 139"/>
                <a:gd name="T50" fmla="*/ 174 w 178"/>
                <a:gd name="T51" fmla="*/ 63 h 139"/>
                <a:gd name="T52" fmla="*/ 155 w 178"/>
                <a:gd name="T53" fmla="*/ 99 h 139"/>
                <a:gd name="T54" fmla="*/ 152 w 178"/>
                <a:gd name="T55" fmla="*/ 101 h 139"/>
                <a:gd name="T56" fmla="*/ 151 w 178"/>
                <a:gd name="T57" fmla="*/ 102 h 139"/>
                <a:gd name="T58" fmla="*/ 150 w 178"/>
                <a:gd name="T59" fmla="*/ 117 h 139"/>
                <a:gd name="T60" fmla="*/ 148 w 178"/>
                <a:gd name="T61" fmla="*/ 120 h 139"/>
                <a:gd name="T62" fmla="*/ 146 w 178"/>
                <a:gd name="T63" fmla="*/ 120 h 139"/>
                <a:gd name="T64" fmla="*/ 143 w 178"/>
                <a:gd name="T65" fmla="*/ 121 h 139"/>
                <a:gd name="T66" fmla="*/ 140 w 178"/>
                <a:gd name="T67" fmla="*/ 122 h 139"/>
                <a:gd name="T68" fmla="*/ 136 w 178"/>
                <a:gd name="T69" fmla="*/ 124 h 139"/>
                <a:gd name="T70" fmla="*/ 128 w 178"/>
                <a:gd name="T71" fmla="*/ 121 h 139"/>
                <a:gd name="T72" fmla="*/ 121 w 178"/>
                <a:gd name="T73" fmla="*/ 122 h 139"/>
                <a:gd name="T74" fmla="*/ 112 w 178"/>
                <a:gd name="T75" fmla="*/ 122 h 139"/>
                <a:gd name="T76" fmla="*/ 106 w 178"/>
                <a:gd name="T77" fmla="*/ 128 h 139"/>
                <a:gd name="T78" fmla="*/ 99 w 178"/>
                <a:gd name="T79" fmla="*/ 127 h 139"/>
                <a:gd name="T80" fmla="*/ 92 w 178"/>
                <a:gd name="T81" fmla="*/ 124 h 139"/>
                <a:gd name="T82" fmla="*/ 91 w 178"/>
                <a:gd name="T83" fmla="*/ 122 h 139"/>
                <a:gd name="T84" fmla="*/ 87 w 178"/>
                <a:gd name="T85" fmla="*/ 120 h 139"/>
                <a:gd name="T86" fmla="*/ 83 w 178"/>
                <a:gd name="T87" fmla="*/ 121 h 139"/>
                <a:gd name="T88" fmla="*/ 79 w 178"/>
                <a:gd name="T89" fmla="*/ 122 h 139"/>
                <a:gd name="T90" fmla="*/ 78 w 178"/>
                <a:gd name="T91" fmla="*/ 124 h 139"/>
                <a:gd name="T92" fmla="*/ 72 w 178"/>
                <a:gd name="T93" fmla="*/ 120 h 139"/>
                <a:gd name="T94" fmla="*/ 68 w 178"/>
                <a:gd name="T95" fmla="*/ 117 h 139"/>
                <a:gd name="T96" fmla="*/ 64 w 178"/>
                <a:gd name="T97" fmla="*/ 116 h 139"/>
                <a:gd name="T98" fmla="*/ 60 w 178"/>
                <a:gd name="T99" fmla="*/ 114 h 139"/>
                <a:gd name="T100" fmla="*/ 57 w 178"/>
                <a:gd name="T101" fmla="*/ 116 h 139"/>
                <a:gd name="T102" fmla="*/ 52 w 178"/>
                <a:gd name="T103" fmla="*/ 116 h 139"/>
                <a:gd name="T104" fmla="*/ 48 w 178"/>
                <a:gd name="T105" fmla="*/ 116 h 139"/>
                <a:gd name="T106" fmla="*/ 46 w 178"/>
                <a:gd name="T107" fmla="*/ 117 h 139"/>
                <a:gd name="T108" fmla="*/ 42 w 178"/>
                <a:gd name="T109" fmla="*/ 120 h 139"/>
                <a:gd name="T110" fmla="*/ 44 w 178"/>
                <a:gd name="T111" fmla="*/ 122 h 139"/>
                <a:gd name="T112" fmla="*/ 44 w 178"/>
                <a:gd name="T113" fmla="*/ 125 h 139"/>
                <a:gd name="T114" fmla="*/ 44 w 178"/>
                <a:gd name="T115" fmla="*/ 128 h 139"/>
                <a:gd name="T116" fmla="*/ 39 w 178"/>
                <a:gd name="T117" fmla="*/ 131 h 139"/>
                <a:gd name="T118" fmla="*/ 39 w 178"/>
                <a:gd name="T119" fmla="*/ 133 h 139"/>
                <a:gd name="T120" fmla="*/ 42 w 178"/>
                <a:gd name="T121" fmla="*/ 136 h 139"/>
                <a:gd name="T122" fmla="*/ 41 w 178"/>
                <a:gd name="T12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39">
                  <a:moveTo>
                    <a:pt x="41" y="139"/>
                  </a:moveTo>
                  <a:lnTo>
                    <a:pt x="38" y="136"/>
                  </a:lnTo>
                  <a:lnTo>
                    <a:pt x="35" y="135"/>
                  </a:lnTo>
                  <a:lnTo>
                    <a:pt x="33" y="132"/>
                  </a:lnTo>
                  <a:lnTo>
                    <a:pt x="29" y="129"/>
                  </a:lnTo>
                  <a:lnTo>
                    <a:pt x="29" y="131"/>
                  </a:lnTo>
                  <a:lnTo>
                    <a:pt x="29" y="132"/>
                  </a:lnTo>
                  <a:lnTo>
                    <a:pt x="26" y="133"/>
                  </a:lnTo>
                  <a:lnTo>
                    <a:pt x="24" y="133"/>
                  </a:lnTo>
                  <a:lnTo>
                    <a:pt x="22" y="129"/>
                  </a:lnTo>
                  <a:lnTo>
                    <a:pt x="23" y="128"/>
                  </a:lnTo>
                  <a:lnTo>
                    <a:pt x="23" y="125"/>
                  </a:lnTo>
                  <a:lnTo>
                    <a:pt x="22" y="125"/>
                  </a:lnTo>
                  <a:lnTo>
                    <a:pt x="22" y="124"/>
                  </a:lnTo>
                  <a:lnTo>
                    <a:pt x="20" y="122"/>
                  </a:lnTo>
                  <a:lnTo>
                    <a:pt x="15" y="125"/>
                  </a:lnTo>
                  <a:lnTo>
                    <a:pt x="11" y="122"/>
                  </a:lnTo>
                  <a:lnTo>
                    <a:pt x="11" y="117"/>
                  </a:lnTo>
                  <a:lnTo>
                    <a:pt x="0" y="110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1"/>
                  </a:lnTo>
                  <a:lnTo>
                    <a:pt x="3" y="99"/>
                  </a:lnTo>
                  <a:lnTo>
                    <a:pt x="5" y="101"/>
                  </a:lnTo>
                  <a:lnTo>
                    <a:pt x="14" y="99"/>
                  </a:lnTo>
                  <a:lnTo>
                    <a:pt x="16" y="99"/>
                  </a:lnTo>
                  <a:lnTo>
                    <a:pt x="19" y="98"/>
                  </a:lnTo>
                  <a:lnTo>
                    <a:pt x="24" y="98"/>
                  </a:lnTo>
                  <a:lnTo>
                    <a:pt x="26" y="98"/>
                  </a:lnTo>
                  <a:lnTo>
                    <a:pt x="30" y="97"/>
                  </a:lnTo>
                  <a:lnTo>
                    <a:pt x="33" y="95"/>
                  </a:lnTo>
                  <a:lnTo>
                    <a:pt x="37" y="94"/>
                  </a:lnTo>
                  <a:lnTo>
                    <a:pt x="42" y="91"/>
                  </a:lnTo>
                  <a:lnTo>
                    <a:pt x="44" y="88"/>
                  </a:lnTo>
                  <a:lnTo>
                    <a:pt x="44" y="84"/>
                  </a:lnTo>
                  <a:lnTo>
                    <a:pt x="46" y="83"/>
                  </a:lnTo>
                  <a:lnTo>
                    <a:pt x="46" y="72"/>
                  </a:lnTo>
                  <a:lnTo>
                    <a:pt x="48" y="49"/>
                  </a:lnTo>
                  <a:lnTo>
                    <a:pt x="65" y="45"/>
                  </a:lnTo>
                  <a:lnTo>
                    <a:pt x="79" y="33"/>
                  </a:lnTo>
                  <a:lnTo>
                    <a:pt x="132" y="0"/>
                  </a:lnTo>
                  <a:lnTo>
                    <a:pt x="152" y="4"/>
                  </a:lnTo>
                  <a:lnTo>
                    <a:pt x="155" y="7"/>
                  </a:lnTo>
                  <a:lnTo>
                    <a:pt x="165" y="3"/>
                  </a:lnTo>
                  <a:lnTo>
                    <a:pt x="166" y="4"/>
                  </a:lnTo>
                  <a:lnTo>
                    <a:pt x="171" y="20"/>
                  </a:lnTo>
                  <a:lnTo>
                    <a:pt x="171" y="23"/>
                  </a:lnTo>
                  <a:lnTo>
                    <a:pt x="171" y="25"/>
                  </a:lnTo>
                  <a:lnTo>
                    <a:pt x="178" y="34"/>
                  </a:lnTo>
                  <a:lnTo>
                    <a:pt x="178" y="38"/>
                  </a:lnTo>
                  <a:lnTo>
                    <a:pt x="177" y="40"/>
                  </a:lnTo>
                  <a:lnTo>
                    <a:pt x="174" y="63"/>
                  </a:lnTo>
                  <a:lnTo>
                    <a:pt x="174" y="79"/>
                  </a:lnTo>
                  <a:lnTo>
                    <a:pt x="155" y="99"/>
                  </a:lnTo>
                  <a:lnTo>
                    <a:pt x="154" y="101"/>
                  </a:lnTo>
                  <a:lnTo>
                    <a:pt x="152" y="101"/>
                  </a:lnTo>
                  <a:lnTo>
                    <a:pt x="151" y="101"/>
                  </a:lnTo>
                  <a:lnTo>
                    <a:pt x="151" y="102"/>
                  </a:lnTo>
                  <a:lnTo>
                    <a:pt x="152" y="117"/>
                  </a:lnTo>
                  <a:lnTo>
                    <a:pt x="150" y="117"/>
                  </a:lnTo>
                  <a:lnTo>
                    <a:pt x="148" y="118"/>
                  </a:lnTo>
                  <a:lnTo>
                    <a:pt x="148" y="120"/>
                  </a:lnTo>
                  <a:lnTo>
                    <a:pt x="147" y="121"/>
                  </a:lnTo>
                  <a:lnTo>
                    <a:pt x="146" y="120"/>
                  </a:lnTo>
                  <a:lnTo>
                    <a:pt x="144" y="120"/>
                  </a:lnTo>
                  <a:lnTo>
                    <a:pt x="143" y="121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2" y="124"/>
                  </a:lnTo>
                  <a:lnTo>
                    <a:pt x="128" y="121"/>
                  </a:lnTo>
                  <a:lnTo>
                    <a:pt x="122" y="121"/>
                  </a:lnTo>
                  <a:lnTo>
                    <a:pt x="121" y="122"/>
                  </a:lnTo>
                  <a:lnTo>
                    <a:pt x="114" y="121"/>
                  </a:lnTo>
                  <a:lnTo>
                    <a:pt x="112" y="122"/>
                  </a:lnTo>
                  <a:lnTo>
                    <a:pt x="109" y="127"/>
                  </a:lnTo>
                  <a:lnTo>
                    <a:pt x="106" y="128"/>
                  </a:lnTo>
                  <a:lnTo>
                    <a:pt x="103" y="128"/>
                  </a:lnTo>
                  <a:lnTo>
                    <a:pt x="99" y="127"/>
                  </a:lnTo>
                  <a:lnTo>
                    <a:pt x="97" y="125"/>
                  </a:lnTo>
                  <a:lnTo>
                    <a:pt x="92" y="124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88" y="120"/>
                  </a:lnTo>
                  <a:lnTo>
                    <a:pt x="87" y="120"/>
                  </a:lnTo>
                  <a:lnTo>
                    <a:pt x="86" y="121"/>
                  </a:lnTo>
                  <a:lnTo>
                    <a:pt x="83" y="121"/>
                  </a:lnTo>
                  <a:lnTo>
                    <a:pt x="82" y="122"/>
                  </a:lnTo>
                  <a:lnTo>
                    <a:pt x="79" y="122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5" y="122"/>
                  </a:lnTo>
                  <a:lnTo>
                    <a:pt x="72" y="120"/>
                  </a:lnTo>
                  <a:lnTo>
                    <a:pt x="71" y="118"/>
                  </a:lnTo>
                  <a:lnTo>
                    <a:pt x="68" y="117"/>
                  </a:lnTo>
                  <a:lnTo>
                    <a:pt x="65" y="116"/>
                  </a:lnTo>
                  <a:lnTo>
                    <a:pt x="64" y="116"/>
                  </a:lnTo>
                  <a:lnTo>
                    <a:pt x="61" y="116"/>
                  </a:lnTo>
                  <a:lnTo>
                    <a:pt x="60" y="114"/>
                  </a:lnTo>
                  <a:lnTo>
                    <a:pt x="57" y="114"/>
                  </a:lnTo>
                  <a:lnTo>
                    <a:pt x="57" y="116"/>
                  </a:lnTo>
                  <a:lnTo>
                    <a:pt x="53" y="116"/>
                  </a:lnTo>
                  <a:lnTo>
                    <a:pt x="52" y="116"/>
                  </a:lnTo>
                  <a:lnTo>
                    <a:pt x="50" y="116"/>
                  </a:lnTo>
                  <a:lnTo>
                    <a:pt x="48" y="116"/>
                  </a:lnTo>
                  <a:lnTo>
                    <a:pt x="48" y="117"/>
                  </a:lnTo>
                  <a:lnTo>
                    <a:pt x="46" y="117"/>
                  </a:lnTo>
                  <a:lnTo>
                    <a:pt x="44" y="120"/>
                  </a:lnTo>
                  <a:lnTo>
                    <a:pt x="42" y="120"/>
                  </a:lnTo>
                  <a:lnTo>
                    <a:pt x="44" y="121"/>
                  </a:lnTo>
                  <a:lnTo>
                    <a:pt x="44" y="122"/>
                  </a:lnTo>
                  <a:lnTo>
                    <a:pt x="42" y="122"/>
                  </a:lnTo>
                  <a:lnTo>
                    <a:pt x="44" y="125"/>
                  </a:lnTo>
                  <a:lnTo>
                    <a:pt x="44" y="127"/>
                  </a:lnTo>
                  <a:lnTo>
                    <a:pt x="44" y="128"/>
                  </a:lnTo>
                  <a:lnTo>
                    <a:pt x="42" y="128"/>
                  </a:lnTo>
                  <a:lnTo>
                    <a:pt x="39" y="131"/>
                  </a:lnTo>
                  <a:lnTo>
                    <a:pt x="39" y="132"/>
                  </a:lnTo>
                  <a:lnTo>
                    <a:pt x="39" y="133"/>
                  </a:lnTo>
                  <a:lnTo>
                    <a:pt x="41" y="136"/>
                  </a:lnTo>
                  <a:lnTo>
                    <a:pt x="42" y="136"/>
                  </a:lnTo>
                  <a:lnTo>
                    <a:pt x="42" y="137"/>
                  </a:lnTo>
                  <a:lnTo>
                    <a:pt x="41" y="13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5" name="Freeform 115"/>
            <p:cNvSpPr>
              <a:spLocks/>
            </p:cNvSpPr>
            <p:nvPr/>
          </p:nvSpPr>
          <p:spPr bwMode="auto">
            <a:xfrm>
              <a:off x="2004" y="1836"/>
              <a:ext cx="135" cy="116"/>
            </a:xfrm>
            <a:custGeom>
              <a:avLst/>
              <a:gdLst>
                <a:gd name="T0" fmla="*/ 126 w 135"/>
                <a:gd name="T1" fmla="*/ 7 h 116"/>
                <a:gd name="T2" fmla="*/ 118 w 135"/>
                <a:gd name="T3" fmla="*/ 4 h 116"/>
                <a:gd name="T4" fmla="*/ 116 w 135"/>
                <a:gd name="T5" fmla="*/ 6 h 116"/>
                <a:gd name="T6" fmla="*/ 110 w 135"/>
                <a:gd name="T7" fmla="*/ 8 h 116"/>
                <a:gd name="T8" fmla="*/ 106 w 135"/>
                <a:gd name="T9" fmla="*/ 10 h 116"/>
                <a:gd name="T10" fmla="*/ 92 w 135"/>
                <a:gd name="T11" fmla="*/ 7 h 116"/>
                <a:gd name="T12" fmla="*/ 82 w 135"/>
                <a:gd name="T13" fmla="*/ 8 h 116"/>
                <a:gd name="T14" fmla="*/ 73 w 135"/>
                <a:gd name="T15" fmla="*/ 14 h 116"/>
                <a:gd name="T16" fmla="*/ 62 w 135"/>
                <a:gd name="T17" fmla="*/ 10 h 116"/>
                <a:gd name="T18" fmla="*/ 58 w 135"/>
                <a:gd name="T19" fmla="*/ 6 h 116"/>
                <a:gd name="T20" fmla="*/ 53 w 135"/>
                <a:gd name="T21" fmla="*/ 7 h 116"/>
                <a:gd name="T22" fmla="*/ 48 w 135"/>
                <a:gd name="T23" fmla="*/ 10 h 116"/>
                <a:gd name="T24" fmla="*/ 42 w 135"/>
                <a:gd name="T25" fmla="*/ 6 h 116"/>
                <a:gd name="T26" fmla="*/ 35 w 135"/>
                <a:gd name="T27" fmla="*/ 2 h 116"/>
                <a:gd name="T28" fmla="*/ 30 w 135"/>
                <a:gd name="T29" fmla="*/ 0 h 116"/>
                <a:gd name="T30" fmla="*/ 23 w 135"/>
                <a:gd name="T31" fmla="*/ 2 h 116"/>
                <a:gd name="T32" fmla="*/ 18 w 135"/>
                <a:gd name="T33" fmla="*/ 2 h 116"/>
                <a:gd name="T34" fmla="*/ 14 w 135"/>
                <a:gd name="T35" fmla="*/ 6 h 116"/>
                <a:gd name="T36" fmla="*/ 14 w 135"/>
                <a:gd name="T37" fmla="*/ 8 h 116"/>
                <a:gd name="T38" fmla="*/ 14 w 135"/>
                <a:gd name="T39" fmla="*/ 13 h 116"/>
                <a:gd name="T40" fmla="*/ 9 w 135"/>
                <a:gd name="T41" fmla="*/ 17 h 116"/>
                <a:gd name="T42" fmla="*/ 11 w 135"/>
                <a:gd name="T43" fmla="*/ 22 h 116"/>
                <a:gd name="T44" fmla="*/ 9 w 135"/>
                <a:gd name="T45" fmla="*/ 25 h 116"/>
                <a:gd name="T46" fmla="*/ 14 w 135"/>
                <a:gd name="T47" fmla="*/ 32 h 116"/>
                <a:gd name="T48" fmla="*/ 14 w 135"/>
                <a:gd name="T49" fmla="*/ 40 h 116"/>
                <a:gd name="T50" fmla="*/ 11 w 135"/>
                <a:gd name="T51" fmla="*/ 42 h 116"/>
                <a:gd name="T52" fmla="*/ 11 w 135"/>
                <a:gd name="T53" fmla="*/ 46 h 116"/>
                <a:gd name="T54" fmla="*/ 7 w 135"/>
                <a:gd name="T55" fmla="*/ 53 h 116"/>
                <a:gd name="T56" fmla="*/ 3 w 135"/>
                <a:gd name="T57" fmla="*/ 56 h 116"/>
                <a:gd name="T58" fmla="*/ 0 w 135"/>
                <a:gd name="T59" fmla="*/ 60 h 116"/>
                <a:gd name="T60" fmla="*/ 0 w 135"/>
                <a:gd name="T61" fmla="*/ 66 h 116"/>
                <a:gd name="T62" fmla="*/ 1 w 135"/>
                <a:gd name="T63" fmla="*/ 68 h 116"/>
                <a:gd name="T64" fmla="*/ 1 w 135"/>
                <a:gd name="T65" fmla="*/ 76 h 116"/>
                <a:gd name="T66" fmla="*/ 1 w 135"/>
                <a:gd name="T67" fmla="*/ 86 h 116"/>
                <a:gd name="T68" fmla="*/ 9 w 135"/>
                <a:gd name="T69" fmla="*/ 89 h 116"/>
                <a:gd name="T70" fmla="*/ 26 w 135"/>
                <a:gd name="T71" fmla="*/ 104 h 116"/>
                <a:gd name="T72" fmla="*/ 28 w 135"/>
                <a:gd name="T73" fmla="*/ 112 h 116"/>
                <a:gd name="T74" fmla="*/ 48 w 135"/>
                <a:gd name="T75" fmla="*/ 114 h 116"/>
                <a:gd name="T76" fmla="*/ 57 w 135"/>
                <a:gd name="T77" fmla="*/ 112 h 116"/>
                <a:gd name="T78" fmla="*/ 62 w 135"/>
                <a:gd name="T79" fmla="*/ 109 h 116"/>
                <a:gd name="T80" fmla="*/ 65 w 135"/>
                <a:gd name="T81" fmla="*/ 110 h 116"/>
                <a:gd name="T82" fmla="*/ 71 w 135"/>
                <a:gd name="T83" fmla="*/ 104 h 116"/>
                <a:gd name="T84" fmla="*/ 71 w 135"/>
                <a:gd name="T85" fmla="*/ 97 h 116"/>
                <a:gd name="T86" fmla="*/ 75 w 135"/>
                <a:gd name="T87" fmla="*/ 93 h 116"/>
                <a:gd name="T88" fmla="*/ 79 w 135"/>
                <a:gd name="T89" fmla="*/ 86 h 116"/>
                <a:gd name="T90" fmla="*/ 83 w 135"/>
                <a:gd name="T91" fmla="*/ 83 h 116"/>
                <a:gd name="T92" fmla="*/ 88 w 135"/>
                <a:gd name="T93" fmla="*/ 85 h 116"/>
                <a:gd name="T94" fmla="*/ 94 w 135"/>
                <a:gd name="T95" fmla="*/ 90 h 116"/>
                <a:gd name="T96" fmla="*/ 99 w 135"/>
                <a:gd name="T97" fmla="*/ 86 h 116"/>
                <a:gd name="T98" fmla="*/ 102 w 135"/>
                <a:gd name="T99" fmla="*/ 83 h 116"/>
                <a:gd name="T100" fmla="*/ 103 w 135"/>
                <a:gd name="T101" fmla="*/ 76 h 116"/>
                <a:gd name="T102" fmla="*/ 107 w 135"/>
                <a:gd name="T103" fmla="*/ 70 h 116"/>
                <a:gd name="T104" fmla="*/ 114 w 135"/>
                <a:gd name="T105" fmla="*/ 63 h 116"/>
                <a:gd name="T106" fmla="*/ 114 w 135"/>
                <a:gd name="T107" fmla="*/ 55 h 116"/>
                <a:gd name="T108" fmla="*/ 121 w 135"/>
                <a:gd name="T109" fmla="*/ 49 h 116"/>
                <a:gd name="T110" fmla="*/ 121 w 135"/>
                <a:gd name="T111" fmla="*/ 42 h 116"/>
                <a:gd name="T112" fmla="*/ 126 w 135"/>
                <a:gd name="T113" fmla="*/ 36 h 116"/>
                <a:gd name="T114" fmla="*/ 130 w 135"/>
                <a:gd name="T115" fmla="*/ 33 h 116"/>
                <a:gd name="T116" fmla="*/ 135 w 135"/>
                <a:gd name="T117" fmla="*/ 27 h 116"/>
                <a:gd name="T118" fmla="*/ 133 w 135"/>
                <a:gd name="T119" fmla="*/ 22 h 116"/>
                <a:gd name="T120" fmla="*/ 129 w 135"/>
                <a:gd name="T121" fmla="*/ 15 h 116"/>
                <a:gd name="T122" fmla="*/ 129 w 135"/>
                <a:gd name="T123" fmla="*/ 1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5" h="116">
                  <a:moveTo>
                    <a:pt x="129" y="11"/>
                  </a:moveTo>
                  <a:lnTo>
                    <a:pt x="128" y="11"/>
                  </a:lnTo>
                  <a:lnTo>
                    <a:pt x="126" y="7"/>
                  </a:lnTo>
                  <a:lnTo>
                    <a:pt x="124" y="4"/>
                  </a:lnTo>
                  <a:lnTo>
                    <a:pt x="120" y="3"/>
                  </a:lnTo>
                  <a:lnTo>
                    <a:pt x="118" y="4"/>
                  </a:lnTo>
                  <a:lnTo>
                    <a:pt x="118" y="6"/>
                  </a:lnTo>
                  <a:lnTo>
                    <a:pt x="117" y="7"/>
                  </a:lnTo>
                  <a:lnTo>
                    <a:pt x="116" y="6"/>
                  </a:lnTo>
                  <a:lnTo>
                    <a:pt x="114" y="6"/>
                  </a:lnTo>
                  <a:lnTo>
                    <a:pt x="113" y="7"/>
                  </a:lnTo>
                  <a:lnTo>
                    <a:pt x="110" y="8"/>
                  </a:lnTo>
                  <a:lnTo>
                    <a:pt x="110" y="11"/>
                  </a:lnTo>
                  <a:lnTo>
                    <a:pt x="107" y="11"/>
                  </a:lnTo>
                  <a:lnTo>
                    <a:pt x="106" y="10"/>
                  </a:lnTo>
                  <a:lnTo>
                    <a:pt x="102" y="10"/>
                  </a:lnTo>
                  <a:lnTo>
                    <a:pt x="98" y="7"/>
                  </a:lnTo>
                  <a:lnTo>
                    <a:pt x="92" y="7"/>
                  </a:lnTo>
                  <a:lnTo>
                    <a:pt x="91" y="8"/>
                  </a:lnTo>
                  <a:lnTo>
                    <a:pt x="84" y="7"/>
                  </a:lnTo>
                  <a:lnTo>
                    <a:pt x="82" y="8"/>
                  </a:lnTo>
                  <a:lnTo>
                    <a:pt x="79" y="13"/>
                  </a:lnTo>
                  <a:lnTo>
                    <a:pt x="76" y="14"/>
                  </a:lnTo>
                  <a:lnTo>
                    <a:pt x="73" y="14"/>
                  </a:lnTo>
                  <a:lnTo>
                    <a:pt x="69" y="13"/>
                  </a:lnTo>
                  <a:lnTo>
                    <a:pt x="67" y="11"/>
                  </a:lnTo>
                  <a:lnTo>
                    <a:pt x="62" y="10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8" y="6"/>
                  </a:lnTo>
                  <a:lnTo>
                    <a:pt x="57" y="6"/>
                  </a:lnTo>
                  <a:lnTo>
                    <a:pt x="56" y="7"/>
                  </a:lnTo>
                  <a:lnTo>
                    <a:pt x="53" y="7"/>
                  </a:lnTo>
                  <a:lnTo>
                    <a:pt x="52" y="8"/>
                  </a:lnTo>
                  <a:lnTo>
                    <a:pt x="49" y="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5" y="8"/>
                  </a:lnTo>
                  <a:lnTo>
                    <a:pt x="42" y="6"/>
                  </a:lnTo>
                  <a:lnTo>
                    <a:pt x="41" y="4"/>
                  </a:lnTo>
                  <a:lnTo>
                    <a:pt x="38" y="3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1" y="2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6" y="3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9" y="25"/>
                  </a:lnTo>
                  <a:lnTo>
                    <a:pt x="9" y="27"/>
                  </a:lnTo>
                  <a:lnTo>
                    <a:pt x="9" y="29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5" y="38"/>
                  </a:lnTo>
                  <a:lnTo>
                    <a:pt x="14" y="40"/>
                  </a:lnTo>
                  <a:lnTo>
                    <a:pt x="11" y="41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9" y="48"/>
                  </a:lnTo>
                  <a:lnTo>
                    <a:pt x="8" y="49"/>
                  </a:lnTo>
                  <a:lnTo>
                    <a:pt x="7" y="53"/>
                  </a:lnTo>
                  <a:lnTo>
                    <a:pt x="5" y="55"/>
                  </a:lnTo>
                  <a:lnTo>
                    <a:pt x="4" y="56"/>
                  </a:lnTo>
                  <a:lnTo>
                    <a:pt x="3" y="56"/>
                  </a:lnTo>
                  <a:lnTo>
                    <a:pt x="1" y="56"/>
                  </a:lnTo>
                  <a:lnTo>
                    <a:pt x="0" y="57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7"/>
                  </a:lnTo>
                  <a:lnTo>
                    <a:pt x="0" y="68"/>
                  </a:lnTo>
                  <a:lnTo>
                    <a:pt x="1" y="68"/>
                  </a:lnTo>
                  <a:lnTo>
                    <a:pt x="1" y="70"/>
                  </a:lnTo>
                  <a:lnTo>
                    <a:pt x="0" y="72"/>
                  </a:lnTo>
                  <a:lnTo>
                    <a:pt x="1" y="76"/>
                  </a:lnTo>
                  <a:lnTo>
                    <a:pt x="1" y="79"/>
                  </a:lnTo>
                  <a:lnTo>
                    <a:pt x="1" y="80"/>
                  </a:lnTo>
                  <a:lnTo>
                    <a:pt x="1" y="86"/>
                  </a:lnTo>
                  <a:lnTo>
                    <a:pt x="1" y="89"/>
                  </a:lnTo>
                  <a:lnTo>
                    <a:pt x="5" y="90"/>
                  </a:lnTo>
                  <a:lnTo>
                    <a:pt x="9" y="89"/>
                  </a:lnTo>
                  <a:lnTo>
                    <a:pt x="18" y="93"/>
                  </a:lnTo>
                  <a:lnTo>
                    <a:pt x="23" y="97"/>
                  </a:lnTo>
                  <a:lnTo>
                    <a:pt x="26" y="104"/>
                  </a:lnTo>
                  <a:lnTo>
                    <a:pt x="26" y="106"/>
                  </a:lnTo>
                  <a:lnTo>
                    <a:pt x="27" y="108"/>
                  </a:lnTo>
                  <a:lnTo>
                    <a:pt x="28" y="112"/>
                  </a:lnTo>
                  <a:lnTo>
                    <a:pt x="31" y="114"/>
                  </a:lnTo>
                  <a:lnTo>
                    <a:pt x="35" y="116"/>
                  </a:lnTo>
                  <a:lnTo>
                    <a:pt x="48" y="114"/>
                  </a:lnTo>
                  <a:lnTo>
                    <a:pt x="49" y="113"/>
                  </a:lnTo>
                  <a:lnTo>
                    <a:pt x="52" y="114"/>
                  </a:lnTo>
                  <a:lnTo>
                    <a:pt x="57" y="112"/>
                  </a:lnTo>
                  <a:lnTo>
                    <a:pt x="58" y="113"/>
                  </a:lnTo>
                  <a:lnTo>
                    <a:pt x="61" y="113"/>
                  </a:lnTo>
                  <a:lnTo>
                    <a:pt x="62" y="109"/>
                  </a:lnTo>
                  <a:lnTo>
                    <a:pt x="65" y="112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09"/>
                  </a:lnTo>
                  <a:lnTo>
                    <a:pt x="69" y="106"/>
                  </a:lnTo>
                  <a:lnTo>
                    <a:pt x="71" y="104"/>
                  </a:lnTo>
                  <a:lnTo>
                    <a:pt x="69" y="101"/>
                  </a:lnTo>
                  <a:lnTo>
                    <a:pt x="69" y="98"/>
                  </a:lnTo>
                  <a:lnTo>
                    <a:pt x="71" y="97"/>
                  </a:lnTo>
                  <a:lnTo>
                    <a:pt x="71" y="95"/>
                  </a:lnTo>
                  <a:lnTo>
                    <a:pt x="72" y="93"/>
                  </a:lnTo>
                  <a:lnTo>
                    <a:pt x="75" y="93"/>
                  </a:lnTo>
                  <a:lnTo>
                    <a:pt x="76" y="91"/>
                  </a:lnTo>
                  <a:lnTo>
                    <a:pt x="79" y="89"/>
                  </a:lnTo>
                  <a:lnTo>
                    <a:pt x="79" y="86"/>
                  </a:lnTo>
                  <a:lnTo>
                    <a:pt x="80" y="85"/>
                  </a:lnTo>
                  <a:lnTo>
                    <a:pt x="82" y="85"/>
                  </a:lnTo>
                  <a:lnTo>
                    <a:pt x="83" y="83"/>
                  </a:lnTo>
                  <a:lnTo>
                    <a:pt x="84" y="83"/>
                  </a:lnTo>
                  <a:lnTo>
                    <a:pt x="87" y="85"/>
                  </a:lnTo>
                  <a:lnTo>
                    <a:pt x="88" y="85"/>
                  </a:lnTo>
                  <a:lnTo>
                    <a:pt x="91" y="86"/>
                  </a:lnTo>
                  <a:lnTo>
                    <a:pt x="91" y="89"/>
                  </a:lnTo>
                  <a:lnTo>
                    <a:pt x="94" y="90"/>
                  </a:lnTo>
                  <a:lnTo>
                    <a:pt x="95" y="90"/>
                  </a:lnTo>
                  <a:lnTo>
                    <a:pt x="98" y="89"/>
                  </a:lnTo>
                  <a:lnTo>
                    <a:pt x="99" y="86"/>
                  </a:lnTo>
                  <a:lnTo>
                    <a:pt x="99" y="85"/>
                  </a:lnTo>
                  <a:lnTo>
                    <a:pt x="101" y="83"/>
                  </a:lnTo>
                  <a:lnTo>
                    <a:pt x="102" y="83"/>
                  </a:lnTo>
                  <a:lnTo>
                    <a:pt x="103" y="80"/>
                  </a:lnTo>
                  <a:lnTo>
                    <a:pt x="103" y="79"/>
                  </a:lnTo>
                  <a:lnTo>
                    <a:pt x="103" y="76"/>
                  </a:lnTo>
                  <a:lnTo>
                    <a:pt x="107" y="72"/>
                  </a:lnTo>
                  <a:lnTo>
                    <a:pt x="107" y="71"/>
                  </a:lnTo>
                  <a:lnTo>
                    <a:pt x="107" y="70"/>
                  </a:lnTo>
                  <a:lnTo>
                    <a:pt x="109" y="67"/>
                  </a:lnTo>
                  <a:lnTo>
                    <a:pt x="111" y="64"/>
                  </a:lnTo>
                  <a:lnTo>
                    <a:pt x="114" y="63"/>
                  </a:lnTo>
                  <a:lnTo>
                    <a:pt x="114" y="60"/>
                  </a:lnTo>
                  <a:lnTo>
                    <a:pt x="116" y="59"/>
                  </a:lnTo>
                  <a:lnTo>
                    <a:pt x="114" y="55"/>
                  </a:lnTo>
                  <a:lnTo>
                    <a:pt x="117" y="53"/>
                  </a:lnTo>
                  <a:lnTo>
                    <a:pt x="120" y="52"/>
                  </a:lnTo>
                  <a:lnTo>
                    <a:pt x="121" y="49"/>
                  </a:lnTo>
                  <a:lnTo>
                    <a:pt x="122" y="46"/>
                  </a:lnTo>
                  <a:lnTo>
                    <a:pt x="122" y="44"/>
                  </a:lnTo>
                  <a:lnTo>
                    <a:pt x="121" y="42"/>
                  </a:lnTo>
                  <a:lnTo>
                    <a:pt x="122" y="40"/>
                  </a:lnTo>
                  <a:lnTo>
                    <a:pt x="125" y="36"/>
                  </a:lnTo>
                  <a:lnTo>
                    <a:pt x="126" y="36"/>
                  </a:lnTo>
                  <a:lnTo>
                    <a:pt x="126" y="34"/>
                  </a:lnTo>
                  <a:lnTo>
                    <a:pt x="129" y="32"/>
                  </a:lnTo>
                  <a:lnTo>
                    <a:pt x="130" y="33"/>
                  </a:lnTo>
                  <a:lnTo>
                    <a:pt x="132" y="30"/>
                  </a:lnTo>
                  <a:lnTo>
                    <a:pt x="135" y="29"/>
                  </a:lnTo>
                  <a:lnTo>
                    <a:pt x="135" y="27"/>
                  </a:lnTo>
                  <a:lnTo>
                    <a:pt x="133" y="25"/>
                  </a:lnTo>
                  <a:lnTo>
                    <a:pt x="133" y="23"/>
                  </a:lnTo>
                  <a:lnTo>
                    <a:pt x="133" y="22"/>
                  </a:lnTo>
                  <a:lnTo>
                    <a:pt x="130" y="21"/>
                  </a:lnTo>
                  <a:lnTo>
                    <a:pt x="129" y="19"/>
                  </a:lnTo>
                  <a:lnTo>
                    <a:pt x="129" y="15"/>
                  </a:lnTo>
                  <a:lnTo>
                    <a:pt x="129" y="14"/>
                  </a:lnTo>
                  <a:lnTo>
                    <a:pt x="128" y="11"/>
                  </a:lnTo>
                  <a:lnTo>
                    <a:pt x="129" y="1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6" name="Freeform 116"/>
            <p:cNvSpPr>
              <a:spLocks/>
            </p:cNvSpPr>
            <p:nvPr/>
          </p:nvSpPr>
          <p:spPr bwMode="auto">
            <a:xfrm>
              <a:off x="2069" y="1847"/>
              <a:ext cx="90" cy="133"/>
            </a:xfrm>
            <a:custGeom>
              <a:avLst/>
              <a:gdLst>
                <a:gd name="T0" fmla="*/ 4 w 90"/>
                <a:gd name="T1" fmla="*/ 95 h 133"/>
                <a:gd name="T2" fmla="*/ 4 w 90"/>
                <a:gd name="T3" fmla="*/ 87 h 133"/>
                <a:gd name="T4" fmla="*/ 7 w 90"/>
                <a:gd name="T5" fmla="*/ 82 h 133"/>
                <a:gd name="T6" fmla="*/ 14 w 90"/>
                <a:gd name="T7" fmla="*/ 78 h 133"/>
                <a:gd name="T8" fmla="*/ 17 w 90"/>
                <a:gd name="T9" fmla="*/ 74 h 133"/>
                <a:gd name="T10" fmla="*/ 22 w 90"/>
                <a:gd name="T11" fmla="*/ 74 h 133"/>
                <a:gd name="T12" fmla="*/ 26 w 90"/>
                <a:gd name="T13" fmla="*/ 78 h 133"/>
                <a:gd name="T14" fmla="*/ 33 w 90"/>
                <a:gd name="T15" fmla="*/ 78 h 133"/>
                <a:gd name="T16" fmla="*/ 36 w 90"/>
                <a:gd name="T17" fmla="*/ 72 h 133"/>
                <a:gd name="T18" fmla="*/ 38 w 90"/>
                <a:gd name="T19" fmla="*/ 68 h 133"/>
                <a:gd name="T20" fmla="*/ 42 w 90"/>
                <a:gd name="T21" fmla="*/ 60 h 133"/>
                <a:gd name="T22" fmla="*/ 46 w 90"/>
                <a:gd name="T23" fmla="*/ 53 h 133"/>
                <a:gd name="T24" fmla="*/ 51 w 90"/>
                <a:gd name="T25" fmla="*/ 48 h 133"/>
                <a:gd name="T26" fmla="*/ 55 w 90"/>
                <a:gd name="T27" fmla="*/ 41 h 133"/>
                <a:gd name="T28" fmla="*/ 57 w 90"/>
                <a:gd name="T29" fmla="*/ 33 h 133"/>
                <a:gd name="T30" fmla="*/ 60 w 90"/>
                <a:gd name="T31" fmla="*/ 25 h 133"/>
                <a:gd name="T32" fmla="*/ 64 w 90"/>
                <a:gd name="T33" fmla="*/ 21 h 133"/>
                <a:gd name="T34" fmla="*/ 70 w 90"/>
                <a:gd name="T35" fmla="*/ 18 h 133"/>
                <a:gd name="T36" fmla="*/ 68 w 90"/>
                <a:gd name="T37" fmla="*/ 12 h 133"/>
                <a:gd name="T38" fmla="*/ 64 w 90"/>
                <a:gd name="T39" fmla="*/ 8 h 133"/>
                <a:gd name="T40" fmla="*/ 63 w 90"/>
                <a:gd name="T41" fmla="*/ 0 h 133"/>
                <a:gd name="T42" fmla="*/ 72 w 90"/>
                <a:gd name="T43" fmla="*/ 8 h 133"/>
                <a:gd name="T44" fmla="*/ 75 w 90"/>
                <a:gd name="T45" fmla="*/ 15 h 133"/>
                <a:gd name="T46" fmla="*/ 75 w 90"/>
                <a:gd name="T47" fmla="*/ 19 h 133"/>
                <a:gd name="T48" fmla="*/ 74 w 90"/>
                <a:gd name="T49" fmla="*/ 25 h 133"/>
                <a:gd name="T50" fmla="*/ 78 w 90"/>
                <a:gd name="T51" fmla="*/ 30 h 133"/>
                <a:gd name="T52" fmla="*/ 82 w 90"/>
                <a:gd name="T53" fmla="*/ 37 h 133"/>
                <a:gd name="T54" fmla="*/ 78 w 90"/>
                <a:gd name="T55" fmla="*/ 35 h 133"/>
                <a:gd name="T56" fmla="*/ 72 w 90"/>
                <a:gd name="T57" fmla="*/ 35 h 133"/>
                <a:gd name="T58" fmla="*/ 67 w 90"/>
                <a:gd name="T59" fmla="*/ 35 h 133"/>
                <a:gd name="T60" fmla="*/ 64 w 90"/>
                <a:gd name="T61" fmla="*/ 40 h 133"/>
                <a:gd name="T62" fmla="*/ 67 w 90"/>
                <a:gd name="T63" fmla="*/ 44 h 133"/>
                <a:gd name="T64" fmla="*/ 72 w 90"/>
                <a:gd name="T65" fmla="*/ 49 h 133"/>
                <a:gd name="T66" fmla="*/ 80 w 90"/>
                <a:gd name="T67" fmla="*/ 59 h 133"/>
                <a:gd name="T68" fmla="*/ 80 w 90"/>
                <a:gd name="T69" fmla="*/ 67 h 133"/>
                <a:gd name="T70" fmla="*/ 75 w 90"/>
                <a:gd name="T71" fmla="*/ 74 h 133"/>
                <a:gd name="T72" fmla="*/ 71 w 90"/>
                <a:gd name="T73" fmla="*/ 80 h 133"/>
                <a:gd name="T74" fmla="*/ 71 w 90"/>
                <a:gd name="T75" fmla="*/ 87 h 133"/>
                <a:gd name="T76" fmla="*/ 72 w 90"/>
                <a:gd name="T77" fmla="*/ 97 h 133"/>
                <a:gd name="T78" fmla="*/ 76 w 90"/>
                <a:gd name="T79" fmla="*/ 103 h 133"/>
                <a:gd name="T80" fmla="*/ 82 w 90"/>
                <a:gd name="T81" fmla="*/ 113 h 133"/>
                <a:gd name="T82" fmla="*/ 89 w 90"/>
                <a:gd name="T83" fmla="*/ 120 h 133"/>
                <a:gd name="T84" fmla="*/ 90 w 90"/>
                <a:gd name="T85" fmla="*/ 125 h 133"/>
                <a:gd name="T86" fmla="*/ 89 w 90"/>
                <a:gd name="T87" fmla="*/ 128 h 133"/>
                <a:gd name="T88" fmla="*/ 89 w 90"/>
                <a:gd name="T89" fmla="*/ 132 h 133"/>
                <a:gd name="T90" fmla="*/ 86 w 90"/>
                <a:gd name="T91" fmla="*/ 133 h 133"/>
                <a:gd name="T92" fmla="*/ 83 w 90"/>
                <a:gd name="T93" fmla="*/ 132 h 133"/>
                <a:gd name="T94" fmla="*/ 78 w 90"/>
                <a:gd name="T95" fmla="*/ 132 h 133"/>
                <a:gd name="T96" fmla="*/ 75 w 90"/>
                <a:gd name="T97" fmla="*/ 132 h 133"/>
                <a:gd name="T98" fmla="*/ 72 w 90"/>
                <a:gd name="T99" fmla="*/ 131 h 133"/>
                <a:gd name="T100" fmla="*/ 70 w 90"/>
                <a:gd name="T101" fmla="*/ 131 h 133"/>
                <a:gd name="T102" fmla="*/ 52 w 90"/>
                <a:gd name="T103" fmla="*/ 129 h 133"/>
                <a:gd name="T104" fmla="*/ 48 w 90"/>
                <a:gd name="T105" fmla="*/ 129 h 133"/>
                <a:gd name="T106" fmla="*/ 44 w 90"/>
                <a:gd name="T107" fmla="*/ 129 h 133"/>
                <a:gd name="T108" fmla="*/ 38 w 90"/>
                <a:gd name="T109" fmla="*/ 128 h 133"/>
                <a:gd name="T110" fmla="*/ 33 w 90"/>
                <a:gd name="T111" fmla="*/ 129 h 133"/>
                <a:gd name="T112" fmla="*/ 31 w 90"/>
                <a:gd name="T113" fmla="*/ 129 h 133"/>
                <a:gd name="T114" fmla="*/ 15 w 90"/>
                <a:gd name="T115" fmla="*/ 129 h 133"/>
                <a:gd name="T116" fmla="*/ 14 w 90"/>
                <a:gd name="T117" fmla="*/ 127 h 133"/>
                <a:gd name="T118" fmla="*/ 12 w 90"/>
                <a:gd name="T119" fmla="*/ 114 h 133"/>
                <a:gd name="T120" fmla="*/ 12 w 90"/>
                <a:gd name="T121" fmla="*/ 108 h 133"/>
                <a:gd name="T122" fmla="*/ 6 w 90"/>
                <a:gd name="T123" fmla="*/ 108 h 133"/>
                <a:gd name="T124" fmla="*/ 0 w 90"/>
                <a:gd name="T125" fmla="*/ 9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33">
                  <a:moveTo>
                    <a:pt x="0" y="99"/>
                  </a:moveTo>
                  <a:lnTo>
                    <a:pt x="0" y="98"/>
                  </a:lnTo>
                  <a:lnTo>
                    <a:pt x="4" y="95"/>
                  </a:lnTo>
                  <a:lnTo>
                    <a:pt x="6" y="93"/>
                  </a:lnTo>
                  <a:lnTo>
                    <a:pt x="4" y="90"/>
                  </a:lnTo>
                  <a:lnTo>
                    <a:pt x="4" y="87"/>
                  </a:lnTo>
                  <a:lnTo>
                    <a:pt x="6" y="86"/>
                  </a:lnTo>
                  <a:lnTo>
                    <a:pt x="6" y="84"/>
                  </a:lnTo>
                  <a:lnTo>
                    <a:pt x="7" y="82"/>
                  </a:lnTo>
                  <a:lnTo>
                    <a:pt x="10" y="82"/>
                  </a:lnTo>
                  <a:lnTo>
                    <a:pt x="11" y="80"/>
                  </a:lnTo>
                  <a:lnTo>
                    <a:pt x="14" y="78"/>
                  </a:lnTo>
                  <a:lnTo>
                    <a:pt x="14" y="75"/>
                  </a:lnTo>
                  <a:lnTo>
                    <a:pt x="15" y="74"/>
                  </a:lnTo>
                  <a:lnTo>
                    <a:pt x="17" y="74"/>
                  </a:lnTo>
                  <a:lnTo>
                    <a:pt x="18" y="72"/>
                  </a:lnTo>
                  <a:lnTo>
                    <a:pt x="19" y="72"/>
                  </a:lnTo>
                  <a:lnTo>
                    <a:pt x="22" y="74"/>
                  </a:lnTo>
                  <a:lnTo>
                    <a:pt x="23" y="74"/>
                  </a:lnTo>
                  <a:lnTo>
                    <a:pt x="26" y="75"/>
                  </a:lnTo>
                  <a:lnTo>
                    <a:pt x="26" y="78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3" y="78"/>
                  </a:lnTo>
                  <a:lnTo>
                    <a:pt x="34" y="75"/>
                  </a:lnTo>
                  <a:lnTo>
                    <a:pt x="34" y="74"/>
                  </a:lnTo>
                  <a:lnTo>
                    <a:pt x="36" y="72"/>
                  </a:lnTo>
                  <a:lnTo>
                    <a:pt x="37" y="72"/>
                  </a:lnTo>
                  <a:lnTo>
                    <a:pt x="38" y="69"/>
                  </a:lnTo>
                  <a:lnTo>
                    <a:pt x="38" y="68"/>
                  </a:lnTo>
                  <a:lnTo>
                    <a:pt x="38" y="65"/>
                  </a:lnTo>
                  <a:lnTo>
                    <a:pt x="42" y="61"/>
                  </a:lnTo>
                  <a:lnTo>
                    <a:pt x="42" y="60"/>
                  </a:lnTo>
                  <a:lnTo>
                    <a:pt x="42" y="59"/>
                  </a:lnTo>
                  <a:lnTo>
                    <a:pt x="44" y="56"/>
                  </a:lnTo>
                  <a:lnTo>
                    <a:pt x="46" y="53"/>
                  </a:lnTo>
                  <a:lnTo>
                    <a:pt x="49" y="52"/>
                  </a:lnTo>
                  <a:lnTo>
                    <a:pt x="49" y="49"/>
                  </a:lnTo>
                  <a:lnTo>
                    <a:pt x="51" y="48"/>
                  </a:lnTo>
                  <a:lnTo>
                    <a:pt x="49" y="44"/>
                  </a:lnTo>
                  <a:lnTo>
                    <a:pt x="52" y="42"/>
                  </a:lnTo>
                  <a:lnTo>
                    <a:pt x="55" y="41"/>
                  </a:lnTo>
                  <a:lnTo>
                    <a:pt x="56" y="38"/>
                  </a:lnTo>
                  <a:lnTo>
                    <a:pt x="57" y="35"/>
                  </a:lnTo>
                  <a:lnTo>
                    <a:pt x="57" y="33"/>
                  </a:lnTo>
                  <a:lnTo>
                    <a:pt x="56" y="31"/>
                  </a:lnTo>
                  <a:lnTo>
                    <a:pt x="57" y="29"/>
                  </a:lnTo>
                  <a:lnTo>
                    <a:pt x="60" y="25"/>
                  </a:lnTo>
                  <a:lnTo>
                    <a:pt x="61" y="25"/>
                  </a:lnTo>
                  <a:lnTo>
                    <a:pt x="61" y="23"/>
                  </a:lnTo>
                  <a:lnTo>
                    <a:pt x="64" y="21"/>
                  </a:lnTo>
                  <a:lnTo>
                    <a:pt x="65" y="22"/>
                  </a:lnTo>
                  <a:lnTo>
                    <a:pt x="67" y="19"/>
                  </a:lnTo>
                  <a:lnTo>
                    <a:pt x="70" y="18"/>
                  </a:lnTo>
                  <a:lnTo>
                    <a:pt x="70" y="16"/>
                  </a:lnTo>
                  <a:lnTo>
                    <a:pt x="68" y="14"/>
                  </a:lnTo>
                  <a:lnTo>
                    <a:pt x="68" y="12"/>
                  </a:lnTo>
                  <a:lnTo>
                    <a:pt x="68" y="11"/>
                  </a:lnTo>
                  <a:lnTo>
                    <a:pt x="65" y="10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3"/>
                  </a:lnTo>
                  <a:lnTo>
                    <a:pt x="63" y="0"/>
                  </a:lnTo>
                  <a:lnTo>
                    <a:pt x="70" y="3"/>
                  </a:lnTo>
                  <a:lnTo>
                    <a:pt x="72" y="6"/>
                  </a:lnTo>
                  <a:lnTo>
                    <a:pt x="72" y="8"/>
                  </a:lnTo>
                  <a:lnTo>
                    <a:pt x="74" y="10"/>
                  </a:lnTo>
                  <a:lnTo>
                    <a:pt x="74" y="11"/>
                  </a:lnTo>
                  <a:lnTo>
                    <a:pt x="75" y="15"/>
                  </a:lnTo>
                  <a:lnTo>
                    <a:pt x="75" y="16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6" y="21"/>
                  </a:lnTo>
                  <a:lnTo>
                    <a:pt x="75" y="23"/>
                  </a:lnTo>
                  <a:lnTo>
                    <a:pt x="74" y="25"/>
                  </a:lnTo>
                  <a:lnTo>
                    <a:pt x="74" y="27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78" y="33"/>
                  </a:lnTo>
                  <a:lnTo>
                    <a:pt x="82" y="35"/>
                  </a:lnTo>
                  <a:lnTo>
                    <a:pt x="82" y="37"/>
                  </a:lnTo>
                  <a:lnTo>
                    <a:pt x="80" y="37"/>
                  </a:lnTo>
                  <a:lnTo>
                    <a:pt x="79" y="37"/>
                  </a:lnTo>
                  <a:lnTo>
                    <a:pt x="78" y="35"/>
                  </a:lnTo>
                  <a:lnTo>
                    <a:pt x="75" y="35"/>
                  </a:lnTo>
                  <a:lnTo>
                    <a:pt x="74" y="35"/>
                  </a:lnTo>
                  <a:lnTo>
                    <a:pt x="72" y="35"/>
                  </a:lnTo>
                  <a:lnTo>
                    <a:pt x="71" y="35"/>
                  </a:lnTo>
                  <a:lnTo>
                    <a:pt x="70" y="35"/>
                  </a:lnTo>
                  <a:lnTo>
                    <a:pt x="67" y="35"/>
                  </a:lnTo>
                  <a:lnTo>
                    <a:pt x="65" y="35"/>
                  </a:lnTo>
                  <a:lnTo>
                    <a:pt x="65" y="38"/>
                  </a:lnTo>
                  <a:lnTo>
                    <a:pt x="64" y="40"/>
                  </a:lnTo>
                  <a:lnTo>
                    <a:pt x="64" y="41"/>
                  </a:lnTo>
                  <a:lnTo>
                    <a:pt x="65" y="42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72" y="49"/>
                  </a:lnTo>
                  <a:lnTo>
                    <a:pt x="76" y="53"/>
                  </a:lnTo>
                  <a:lnTo>
                    <a:pt x="79" y="55"/>
                  </a:lnTo>
                  <a:lnTo>
                    <a:pt x="80" y="59"/>
                  </a:lnTo>
                  <a:lnTo>
                    <a:pt x="83" y="61"/>
                  </a:lnTo>
                  <a:lnTo>
                    <a:pt x="83" y="64"/>
                  </a:lnTo>
                  <a:lnTo>
                    <a:pt x="80" y="67"/>
                  </a:lnTo>
                  <a:lnTo>
                    <a:pt x="79" y="68"/>
                  </a:lnTo>
                  <a:lnTo>
                    <a:pt x="78" y="69"/>
                  </a:lnTo>
                  <a:lnTo>
                    <a:pt x="75" y="74"/>
                  </a:lnTo>
                  <a:lnTo>
                    <a:pt x="75" y="76"/>
                  </a:lnTo>
                  <a:lnTo>
                    <a:pt x="72" y="80"/>
                  </a:lnTo>
                  <a:lnTo>
                    <a:pt x="71" y="80"/>
                  </a:lnTo>
                  <a:lnTo>
                    <a:pt x="70" y="82"/>
                  </a:lnTo>
                  <a:lnTo>
                    <a:pt x="70" y="84"/>
                  </a:lnTo>
                  <a:lnTo>
                    <a:pt x="71" y="87"/>
                  </a:lnTo>
                  <a:lnTo>
                    <a:pt x="71" y="91"/>
                  </a:lnTo>
                  <a:lnTo>
                    <a:pt x="71" y="94"/>
                  </a:lnTo>
                  <a:lnTo>
                    <a:pt x="72" y="97"/>
                  </a:lnTo>
                  <a:lnTo>
                    <a:pt x="72" y="101"/>
                  </a:lnTo>
                  <a:lnTo>
                    <a:pt x="72" y="102"/>
                  </a:lnTo>
                  <a:lnTo>
                    <a:pt x="76" y="103"/>
                  </a:lnTo>
                  <a:lnTo>
                    <a:pt x="78" y="106"/>
                  </a:lnTo>
                  <a:lnTo>
                    <a:pt x="79" y="109"/>
                  </a:lnTo>
                  <a:lnTo>
                    <a:pt x="82" y="113"/>
                  </a:lnTo>
                  <a:lnTo>
                    <a:pt x="83" y="116"/>
                  </a:lnTo>
                  <a:lnTo>
                    <a:pt x="85" y="117"/>
                  </a:lnTo>
                  <a:lnTo>
                    <a:pt x="89" y="120"/>
                  </a:lnTo>
                  <a:lnTo>
                    <a:pt x="89" y="122"/>
                  </a:lnTo>
                  <a:lnTo>
                    <a:pt x="89" y="124"/>
                  </a:lnTo>
                  <a:lnTo>
                    <a:pt x="90" y="125"/>
                  </a:lnTo>
                  <a:lnTo>
                    <a:pt x="90" y="125"/>
                  </a:lnTo>
                  <a:lnTo>
                    <a:pt x="90" y="127"/>
                  </a:lnTo>
                  <a:lnTo>
                    <a:pt x="89" y="128"/>
                  </a:lnTo>
                  <a:lnTo>
                    <a:pt x="87" y="129"/>
                  </a:lnTo>
                  <a:lnTo>
                    <a:pt x="87" y="131"/>
                  </a:lnTo>
                  <a:lnTo>
                    <a:pt x="89" y="132"/>
                  </a:lnTo>
                  <a:lnTo>
                    <a:pt x="87" y="133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3" y="132"/>
                  </a:lnTo>
                  <a:lnTo>
                    <a:pt x="80" y="132"/>
                  </a:lnTo>
                  <a:lnTo>
                    <a:pt x="79" y="133"/>
                  </a:lnTo>
                  <a:lnTo>
                    <a:pt x="78" y="132"/>
                  </a:lnTo>
                  <a:lnTo>
                    <a:pt x="76" y="131"/>
                  </a:lnTo>
                  <a:lnTo>
                    <a:pt x="76" y="132"/>
                  </a:lnTo>
                  <a:lnTo>
                    <a:pt x="75" y="132"/>
                  </a:lnTo>
                  <a:lnTo>
                    <a:pt x="75" y="132"/>
                  </a:lnTo>
                  <a:lnTo>
                    <a:pt x="74" y="131"/>
                  </a:lnTo>
                  <a:lnTo>
                    <a:pt x="72" y="131"/>
                  </a:lnTo>
                  <a:lnTo>
                    <a:pt x="71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53" y="129"/>
                  </a:lnTo>
                  <a:lnTo>
                    <a:pt x="52" y="129"/>
                  </a:lnTo>
                  <a:lnTo>
                    <a:pt x="52" y="129"/>
                  </a:lnTo>
                  <a:lnTo>
                    <a:pt x="51" y="129"/>
                  </a:lnTo>
                  <a:lnTo>
                    <a:pt x="48" y="129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4" y="129"/>
                  </a:lnTo>
                  <a:lnTo>
                    <a:pt x="44" y="128"/>
                  </a:lnTo>
                  <a:lnTo>
                    <a:pt x="40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4" y="129"/>
                  </a:lnTo>
                  <a:lnTo>
                    <a:pt x="33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18" y="129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5" y="128"/>
                  </a:lnTo>
                  <a:lnTo>
                    <a:pt x="14" y="127"/>
                  </a:lnTo>
                  <a:lnTo>
                    <a:pt x="15" y="122"/>
                  </a:lnTo>
                  <a:lnTo>
                    <a:pt x="15" y="117"/>
                  </a:lnTo>
                  <a:lnTo>
                    <a:pt x="12" y="114"/>
                  </a:lnTo>
                  <a:lnTo>
                    <a:pt x="12" y="112"/>
                  </a:lnTo>
                  <a:lnTo>
                    <a:pt x="14" y="110"/>
                  </a:lnTo>
                  <a:lnTo>
                    <a:pt x="12" y="108"/>
                  </a:lnTo>
                  <a:lnTo>
                    <a:pt x="8" y="109"/>
                  </a:lnTo>
                  <a:lnTo>
                    <a:pt x="7" y="108"/>
                  </a:lnTo>
                  <a:lnTo>
                    <a:pt x="6" y="108"/>
                  </a:lnTo>
                  <a:lnTo>
                    <a:pt x="4" y="99"/>
                  </a:lnTo>
                  <a:lnTo>
                    <a:pt x="2" y="101"/>
                  </a:lnTo>
                  <a:lnTo>
                    <a:pt x="0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7" name="Freeform 117"/>
            <p:cNvSpPr>
              <a:spLocks/>
            </p:cNvSpPr>
            <p:nvPr/>
          </p:nvSpPr>
          <p:spPr bwMode="auto">
            <a:xfrm>
              <a:off x="2069" y="1974"/>
              <a:ext cx="66" cy="73"/>
            </a:xfrm>
            <a:custGeom>
              <a:avLst/>
              <a:gdLst>
                <a:gd name="T0" fmla="*/ 29 w 66"/>
                <a:gd name="T1" fmla="*/ 1 h 73"/>
                <a:gd name="T2" fmla="*/ 32 w 66"/>
                <a:gd name="T3" fmla="*/ 1 h 73"/>
                <a:gd name="T4" fmla="*/ 36 w 66"/>
                <a:gd name="T5" fmla="*/ 0 h 73"/>
                <a:gd name="T6" fmla="*/ 42 w 66"/>
                <a:gd name="T7" fmla="*/ 0 h 73"/>
                <a:gd name="T8" fmla="*/ 44 w 66"/>
                <a:gd name="T9" fmla="*/ 0 h 73"/>
                <a:gd name="T10" fmla="*/ 46 w 66"/>
                <a:gd name="T11" fmla="*/ 1 h 73"/>
                <a:gd name="T12" fmla="*/ 50 w 66"/>
                <a:gd name="T13" fmla="*/ 1 h 73"/>
                <a:gd name="T14" fmla="*/ 51 w 66"/>
                <a:gd name="T15" fmla="*/ 1 h 73"/>
                <a:gd name="T16" fmla="*/ 50 w 66"/>
                <a:gd name="T17" fmla="*/ 4 h 73"/>
                <a:gd name="T18" fmla="*/ 51 w 66"/>
                <a:gd name="T19" fmla="*/ 9 h 73"/>
                <a:gd name="T20" fmla="*/ 51 w 66"/>
                <a:gd name="T21" fmla="*/ 12 h 73"/>
                <a:gd name="T22" fmla="*/ 54 w 66"/>
                <a:gd name="T23" fmla="*/ 12 h 73"/>
                <a:gd name="T24" fmla="*/ 58 w 66"/>
                <a:gd name="T25" fmla="*/ 12 h 73"/>
                <a:gd name="T26" fmla="*/ 65 w 66"/>
                <a:gd name="T27" fmla="*/ 11 h 73"/>
                <a:gd name="T28" fmla="*/ 66 w 66"/>
                <a:gd name="T29" fmla="*/ 15 h 73"/>
                <a:gd name="T30" fmla="*/ 66 w 66"/>
                <a:gd name="T31" fmla="*/ 18 h 73"/>
                <a:gd name="T32" fmla="*/ 63 w 66"/>
                <a:gd name="T33" fmla="*/ 20 h 73"/>
                <a:gd name="T34" fmla="*/ 61 w 66"/>
                <a:gd name="T35" fmla="*/ 24 h 73"/>
                <a:gd name="T36" fmla="*/ 62 w 66"/>
                <a:gd name="T37" fmla="*/ 26 h 73"/>
                <a:gd name="T38" fmla="*/ 61 w 66"/>
                <a:gd name="T39" fmla="*/ 27 h 73"/>
                <a:gd name="T40" fmla="*/ 59 w 66"/>
                <a:gd name="T41" fmla="*/ 28 h 73"/>
                <a:gd name="T42" fmla="*/ 61 w 66"/>
                <a:gd name="T43" fmla="*/ 30 h 73"/>
                <a:gd name="T44" fmla="*/ 62 w 66"/>
                <a:gd name="T45" fmla="*/ 33 h 73"/>
                <a:gd name="T46" fmla="*/ 65 w 66"/>
                <a:gd name="T47" fmla="*/ 35 h 73"/>
                <a:gd name="T48" fmla="*/ 66 w 66"/>
                <a:gd name="T49" fmla="*/ 38 h 73"/>
                <a:gd name="T50" fmla="*/ 62 w 66"/>
                <a:gd name="T51" fmla="*/ 52 h 73"/>
                <a:gd name="T52" fmla="*/ 62 w 66"/>
                <a:gd name="T53" fmla="*/ 56 h 73"/>
                <a:gd name="T54" fmla="*/ 61 w 66"/>
                <a:gd name="T55" fmla="*/ 54 h 73"/>
                <a:gd name="T56" fmla="*/ 55 w 66"/>
                <a:gd name="T57" fmla="*/ 53 h 73"/>
                <a:gd name="T58" fmla="*/ 53 w 66"/>
                <a:gd name="T59" fmla="*/ 54 h 73"/>
                <a:gd name="T60" fmla="*/ 49 w 66"/>
                <a:gd name="T61" fmla="*/ 53 h 73"/>
                <a:gd name="T62" fmla="*/ 44 w 66"/>
                <a:gd name="T63" fmla="*/ 48 h 73"/>
                <a:gd name="T64" fmla="*/ 43 w 66"/>
                <a:gd name="T65" fmla="*/ 52 h 73"/>
                <a:gd name="T66" fmla="*/ 39 w 66"/>
                <a:gd name="T67" fmla="*/ 54 h 73"/>
                <a:gd name="T68" fmla="*/ 36 w 66"/>
                <a:gd name="T69" fmla="*/ 56 h 73"/>
                <a:gd name="T70" fmla="*/ 34 w 66"/>
                <a:gd name="T71" fmla="*/ 56 h 73"/>
                <a:gd name="T72" fmla="*/ 29 w 66"/>
                <a:gd name="T73" fmla="*/ 57 h 73"/>
                <a:gd name="T74" fmla="*/ 31 w 66"/>
                <a:gd name="T75" fmla="*/ 61 h 73"/>
                <a:gd name="T76" fmla="*/ 34 w 66"/>
                <a:gd name="T77" fmla="*/ 60 h 73"/>
                <a:gd name="T78" fmla="*/ 36 w 66"/>
                <a:gd name="T79" fmla="*/ 62 h 73"/>
                <a:gd name="T80" fmla="*/ 38 w 66"/>
                <a:gd name="T81" fmla="*/ 69 h 73"/>
                <a:gd name="T82" fmla="*/ 34 w 66"/>
                <a:gd name="T83" fmla="*/ 67 h 73"/>
                <a:gd name="T84" fmla="*/ 29 w 66"/>
                <a:gd name="T85" fmla="*/ 68 h 73"/>
                <a:gd name="T86" fmla="*/ 28 w 66"/>
                <a:gd name="T87" fmla="*/ 71 h 73"/>
                <a:gd name="T88" fmla="*/ 27 w 66"/>
                <a:gd name="T89" fmla="*/ 72 h 73"/>
                <a:gd name="T90" fmla="*/ 24 w 66"/>
                <a:gd name="T91" fmla="*/ 69 h 73"/>
                <a:gd name="T92" fmla="*/ 19 w 66"/>
                <a:gd name="T93" fmla="*/ 65 h 73"/>
                <a:gd name="T94" fmla="*/ 10 w 66"/>
                <a:gd name="T95" fmla="*/ 57 h 73"/>
                <a:gd name="T96" fmla="*/ 8 w 66"/>
                <a:gd name="T97" fmla="*/ 54 h 73"/>
                <a:gd name="T98" fmla="*/ 5 w 66"/>
                <a:gd name="T99" fmla="*/ 50 h 73"/>
                <a:gd name="T100" fmla="*/ 4 w 66"/>
                <a:gd name="T101" fmla="*/ 43 h 73"/>
                <a:gd name="T102" fmla="*/ 2 w 66"/>
                <a:gd name="T103" fmla="*/ 41 h 73"/>
                <a:gd name="T104" fmla="*/ 0 w 66"/>
                <a:gd name="T105" fmla="*/ 34 h 73"/>
                <a:gd name="T106" fmla="*/ 5 w 66"/>
                <a:gd name="T107" fmla="*/ 34 h 73"/>
                <a:gd name="T108" fmla="*/ 5 w 66"/>
                <a:gd name="T109" fmla="*/ 24 h 73"/>
                <a:gd name="T110" fmla="*/ 12 w 66"/>
                <a:gd name="T111" fmla="*/ 24 h 73"/>
                <a:gd name="T112" fmla="*/ 6 w 66"/>
                <a:gd name="T113" fmla="*/ 19 h 73"/>
                <a:gd name="T114" fmla="*/ 9 w 66"/>
                <a:gd name="T115" fmla="*/ 16 h 73"/>
                <a:gd name="T116" fmla="*/ 12 w 66"/>
                <a:gd name="T117" fmla="*/ 15 h 73"/>
                <a:gd name="T118" fmla="*/ 13 w 66"/>
                <a:gd name="T119" fmla="*/ 16 h 73"/>
                <a:gd name="T120" fmla="*/ 29 w 66"/>
                <a:gd name="T121" fmla="*/ 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6" h="73">
                  <a:moveTo>
                    <a:pt x="29" y="1"/>
                  </a:moveTo>
                  <a:lnTo>
                    <a:pt x="29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0" y="4"/>
                  </a:lnTo>
                  <a:lnTo>
                    <a:pt x="51" y="7"/>
                  </a:lnTo>
                  <a:lnTo>
                    <a:pt x="51" y="9"/>
                  </a:lnTo>
                  <a:lnTo>
                    <a:pt x="51" y="11"/>
                  </a:lnTo>
                  <a:lnTo>
                    <a:pt x="51" y="12"/>
                  </a:lnTo>
                  <a:lnTo>
                    <a:pt x="53" y="14"/>
                  </a:lnTo>
                  <a:lnTo>
                    <a:pt x="54" y="12"/>
                  </a:lnTo>
                  <a:lnTo>
                    <a:pt x="55" y="12"/>
                  </a:lnTo>
                  <a:lnTo>
                    <a:pt x="58" y="12"/>
                  </a:lnTo>
                  <a:lnTo>
                    <a:pt x="61" y="11"/>
                  </a:lnTo>
                  <a:lnTo>
                    <a:pt x="65" y="11"/>
                  </a:lnTo>
                  <a:lnTo>
                    <a:pt x="66" y="12"/>
                  </a:lnTo>
                  <a:lnTo>
                    <a:pt x="66" y="15"/>
                  </a:lnTo>
                  <a:lnTo>
                    <a:pt x="65" y="18"/>
                  </a:lnTo>
                  <a:lnTo>
                    <a:pt x="66" y="18"/>
                  </a:lnTo>
                  <a:lnTo>
                    <a:pt x="66" y="20"/>
                  </a:lnTo>
                  <a:lnTo>
                    <a:pt x="63" y="20"/>
                  </a:lnTo>
                  <a:lnTo>
                    <a:pt x="61" y="22"/>
                  </a:lnTo>
                  <a:lnTo>
                    <a:pt x="61" y="24"/>
                  </a:lnTo>
                  <a:lnTo>
                    <a:pt x="62" y="24"/>
                  </a:lnTo>
                  <a:lnTo>
                    <a:pt x="62" y="26"/>
                  </a:lnTo>
                  <a:lnTo>
                    <a:pt x="61" y="26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59" y="28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5" y="34"/>
                  </a:lnTo>
                  <a:lnTo>
                    <a:pt x="65" y="35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5" y="43"/>
                  </a:lnTo>
                  <a:lnTo>
                    <a:pt x="62" y="52"/>
                  </a:lnTo>
                  <a:lnTo>
                    <a:pt x="62" y="54"/>
                  </a:lnTo>
                  <a:lnTo>
                    <a:pt x="62" y="56"/>
                  </a:lnTo>
                  <a:lnTo>
                    <a:pt x="61" y="56"/>
                  </a:lnTo>
                  <a:lnTo>
                    <a:pt x="61" y="54"/>
                  </a:lnTo>
                  <a:lnTo>
                    <a:pt x="58" y="53"/>
                  </a:lnTo>
                  <a:lnTo>
                    <a:pt x="55" y="53"/>
                  </a:lnTo>
                  <a:lnTo>
                    <a:pt x="54" y="54"/>
                  </a:lnTo>
                  <a:lnTo>
                    <a:pt x="53" y="54"/>
                  </a:lnTo>
                  <a:lnTo>
                    <a:pt x="50" y="54"/>
                  </a:lnTo>
                  <a:lnTo>
                    <a:pt x="49" y="53"/>
                  </a:lnTo>
                  <a:lnTo>
                    <a:pt x="47" y="49"/>
                  </a:lnTo>
                  <a:lnTo>
                    <a:pt x="44" y="48"/>
                  </a:lnTo>
                  <a:lnTo>
                    <a:pt x="43" y="49"/>
                  </a:lnTo>
                  <a:lnTo>
                    <a:pt x="43" y="52"/>
                  </a:lnTo>
                  <a:lnTo>
                    <a:pt x="43" y="54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6" y="56"/>
                  </a:lnTo>
                  <a:lnTo>
                    <a:pt x="35" y="57"/>
                  </a:lnTo>
                  <a:lnTo>
                    <a:pt x="34" y="56"/>
                  </a:lnTo>
                  <a:lnTo>
                    <a:pt x="31" y="56"/>
                  </a:lnTo>
                  <a:lnTo>
                    <a:pt x="29" y="57"/>
                  </a:lnTo>
                  <a:lnTo>
                    <a:pt x="31" y="58"/>
                  </a:lnTo>
                  <a:lnTo>
                    <a:pt x="31" y="61"/>
                  </a:lnTo>
                  <a:lnTo>
                    <a:pt x="32" y="60"/>
                  </a:lnTo>
                  <a:lnTo>
                    <a:pt x="34" y="60"/>
                  </a:lnTo>
                  <a:lnTo>
                    <a:pt x="35" y="61"/>
                  </a:lnTo>
                  <a:lnTo>
                    <a:pt x="36" y="62"/>
                  </a:lnTo>
                  <a:lnTo>
                    <a:pt x="38" y="68"/>
                  </a:lnTo>
                  <a:lnTo>
                    <a:pt x="38" y="69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2" y="68"/>
                  </a:lnTo>
                  <a:lnTo>
                    <a:pt x="29" y="68"/>
                  </a:lnTo>
                  <a:lnTo>
                    <a:pt x="29" y="69"/>
                  </a:lnTo>
                  <a:lnTo>
                    <a:pt x="28" y="71"/>
                  </a:lnTo>
                  <a:lnTo>
                    <a:pt x="27" y="73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4" y="69"/>
                  </a:lnTo>
                  <a:lnTo>
                    <a:pt x="20" y="68"/>
                  </a:lnTo>
                  <a:lnTo>
                    <a:pt x="19" y="65"/>
                  </a:lnTo>
                  <a:lnTo>
                    <a:pt x="13" y="61"/>
                  </a:lnTo>
                  <a:lnTo>
                    <a:pt x="10" y="57"/>
                  </a:lnTo>
                  <a:lnTo>
                    <a:pt x="12" y="57"/>
                  </a:lnTo>
                  <a:lnTo>
                    <a:pt x="8" y="54"/>
                  </a:lnTo>
                  <a:lnTo>
                    <a:pt x="6" y="52"/>
                  </a:lnTo>
                  <a:lnTo>
                    <a:pt x="5" y="50"/>
                  </a:lnTo>
                  <a:lnTo>
                    <a:pt x="5" y="46"/>
                  </a:lnTo>
                  <a:lnTo>
                    <a:pt x="4" y="43"/>
                  </a:lnTo>
                  <a:lnTo>
                    <a:pt x="4" y="42"/>
                  </a:lnTo>
                  <a:lnTo>
                    <a:pt x="2" y="41"/>
                  </a:lnTo>
                  <a:lnTo>
                    <a:pt x="0" y="35"/>
                  </a:lnTo>
                  <a:lnTo>
                    <a:pt x="0" y="34"/>
                  </a:lnTo>
                  <a:lnTo>
                    <a:pt x="2" y="35"/>
                  </a:lnTo>
                  <a:lnTo>
                    <a:pt x="5" y="34"/>
                  </a:lnTo>
                  <a:lnTo>
                    <a:pt x="5" y="27"/>
                  </a:lnTo>
                  <a:lnTo>
                    <a:pt x="5" y="24"/>
                  </a:lnTo>
                  <a:lnTo>
                    <a:pt x="6" y="26"/>
                  </a:lnTo>
                  <a:lnTo>
                    <a:pt x="12" y="24"/>
                  </a:lnTo>
                  <a:lnTo>
                    <a:pt x="8" y="23"/>
                  </a:lnTo>
                  <a:lnTo>
                    <a:pt x="6" y="19"/>
                  </a:lnTo>
                  <a:lnTo>
                    <a:pt x="8" y="19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2" y="15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29" y="16"/>
                  </a:lnTo>
                  <a:lnTo>
                    <a:pt x="2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8" name="Freeform 118"/>
            <p:cNvSpPr>
              <a:spLocks/>
            </p:cNvSpPr>
            <p:nvPr/>
          </p:nvSpPr>
          <p:spPr bwMode="auto">
            <a:xfrm>
              <a:off x="2076" y="1976"/>
              <a:ext cx="24" cy="15"/>
            </a:xfrm>
            <a:custGeom>
              <a:avLst/>
              <a:gdLst>
                <a:gd name="T0" fmla="*/ 4 w 24"/>
                <a:gd name="T1" fmla="*/ 15 h 15"/>
                <a:gd name="T2" fmla="*/ 5 w 24"/>
                <a:gd name="T3" fmla="*/ 15 h 15"/>
                <a:gd name="T4" fmla="*/ 7 w 24"/>
                <a:gd name="T5" fmla="*/ 14 h 15"/>
                <a:gd name="T6" fmla="*/ 8 w 24"/>
                <a:gd name="T7" fmla="*/ 14 h 15"/>
                <a:gd name="T8" fmla="*/ 8 w 24"/>
                <a:gd name="T9" fmla="*/ 15 h 15"/>
                <a:gd name="T10" fmla="*/ 24 w 24"/>
                <a:gd name="T11" fmla="*/ 15 h 15"/>
                <a:gd name="T12" fmla="*/ 24 w 24"/>
                <a:gd name="T13" fmla="*/ 0 h 15"/>
                <a:gd name="T14" fmla="*/ 11 w 24"/>
                <a:gd name="T15" fmla="*/ 0 h 15"/>
                <a:gd name="T16" fmla="*/ 10 w 24"/>
                <a:gd name="T17" fmla="*/ 0 h 15"/>
                <a:gd name="T18" fmla="*/ 8 w 24"/>
                <a:gd name="T19" fmla="*/ 0 h 15"/>
                <a:gd name="T20" fmla="*/ 7 w 24"/>
                <a:gd name="T21" fmla="*/ 0 h 15"/>
                <a:gd name="T22" fmla="*/ 7 w 24"/>
                <a:gd name="T23" fmla="*/ 2 h 15"/>
                <a:gd name="T24" fmla="*/ 7 w 24"/>
                <a:gd name="T25" fmla="*/ 3 h 15"/>
                <a:gd name="T26" fmla="*/ 4 w 24"/>
                <a:gd name="T27" fmla="*/ 7 h 15"/>
                <a:gd name="T28" fmla="*/ 0 w 24"/>
                <a:gd name="T29" fmla="*/ 13 h 15"/>
                <a:gd name="T30" fmla="*/ 4 w 24"/>
                <a:gd name="T31" fmla="*/ 14 h 15"/>
                <a:gd name="T32" fmla="*/ 4 w 24"/>
                <a:gd name="T3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15">
                  <a:moveTo>
                    <a:pt x="4" y="15"/>
                  </a:moveTo>
                  <a:lnTo>
                    <a:pt x="5" y="15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24" y="15"/>
                  </a:lnTo>
                  <a:lnTo>
                    <a:pt x="24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2"/>
                  </a:lnTo>
                  <a:lnTo>
                    <a:pt x="7" y="3"/>
                  </a:lnTo>
                  <a:lnTo>
                    <a:pt x="4" y="7"/>
                  </a:lnTo>
                  <a:lnTo>
                    <a:pt x="0" y="13"/>
                  </a:lnTo>
                  <a:lnTo>
                    <a:pt x="4" y="14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19" name="Freeform 119"/>
            <p:cNvSpPr>
              <a:spLocks/>
            </p:cNvSpPr>
            <p:nvPr/>
          </p:nvSpPr>
          <p:spPr bwMode="auto">
            <a:xfrm>
              <a:off x="2098" y="1956"/>
              <a:ext cx="90" cy="106"/>
            </a:xfrm>
            <a:custGeom>
              <a:avLst/>
              <a:gdLst>
                <a:gd name="T0" fmla="*/ 2 w 90"/>
                <a:gd name="T1" fmla="*/ 88 h 106"/>
                <a:gd name="T2" fmla="*/ 7 w 90"/>
                <a:gd name="T3" fmla="*/ 86 h 106"/>
                <a:gd name="T4" fmla="*/ 11 w 90"/>
                <a:gd name="T5" fmla="*/ 87 h 106"/>
                <a:gd name="T6" fmla="*/ 7 w 90"/>
                <a:gd name="T7" fmla="*/ 79 h 106"/>
                <a:gd name="T8" fmla="*/ 4 w 90"/>
                <a:gd name="T9" fmla="*/ 77 h 106"/>
                <a:gd name="T10" fmla="*/ 7 w 90"/>
                <a:gd name="T11" fmla="*/ 75 h 106"/>
                <a:gd name="T12" fmla="*/ 11 w 90"/>
                <a:gd name="T13" fmla="*/ 73 h 106"/>
                <a:gd name="T14" fmla="*/ 16 w 90"/>
                <a:gd name="T15" fmla="*/ 71 h 106"/>
                <a:gd name="T16" fmla="*/ 20 w 90"/>
                <a:gd name="T17" fmla="*/ 68 h 106"/>
                <a:gd name="T18" fmla="*/ 26 w 90"/>
                <a:gd name="T19" fmla="*/ 73 h 106"/>
                <a:gd name="T20" fmla="*/ 31 w 90"/>
                <a:gd name="T21" fmla="*/ 72 h 106"/>
                <a:gd name="T22" fmla="*/ 35 w 90"/>
                <a:gd name="T23" fmla="*/ 75 h 106"/>
                <a:gd name="T24" fmla="*/ 38 w 90"/>
                <a:gd name="T25" fmla="*/ 62 h 106"/>
                <a:gd name="T26" fmla="*/ 38 w 90"/>
                <a:gd name="T27" fmla="*/ 54 h 106"/>
                <a:gd name="T28" fmla="*/ 35 w 90"/>
                <a:gd name="T29" fmla="*/ 50 h 106"/>
                <a:gd name="T30" fmla="*/ 32 w 90"/>
                <a:gd name="T31" fmla="*/ 47 h 106"/>
                <a:gd name="T32" fmla="*/ 34 w 90"/>
                <a:gd name="T33" fmla="*/ 45 h 106"/>
                <a:gd name="T34" fmla="*/ 34 w 90"/>
                <a:gd name="T35" fmla="*/ 43 h 106"/>
                <a:gd name="T36" fmla="*/ 39 w 90"/>
                <a:gd name="T37" fmla="*/ 39 h 106"/>
                <a:gd name="T38" fmla="*/ 39 w 90"/>
                <a:gd name="T39" fmla="*/ 34 h 106"/>
                <a:gd name="T40" fmla="*/ 34 w 90"/>
                <a:gd name="T41" fmla="*/ 30 h 106"/>
                <a:gd name="T42" fmla="*/ 27 w 90"/>
                <a:gd name="T43" fmla="*/ 31 h 106"/>
                <a:gd name="T44" fmla="*/ 24 w 90"/>
                <a:gd name="T45" fmla="*/ 30 h 106"/>
                <a:gd name="T46" fmla="*/ 23 w 90"/>
                <a:gd name="T47" fmla="*/ 23 h 106"/>
                <a:gd name="T48" fmla="*/ 41 w 90"/>
                <a:gd name="T49" fmla="*/ 22 h 106"/>
                <a:gd name="T50" fmla="*/ 43 w 90"/>
                <a:gd name="T51" fmla="*/ 22 h 106"/>
                <a:gd name="T52" fmla="*/ 46 w 90"/>
                <a:gd name="T53" fmla="*/ 23 h 106"/>
                <a:gd name="T54" fmla="*/ 49 w 90"/>
                <a:gd name="T55" fmla="*/ 23 h 106"/>
                <a:gd name="T56" fmla="*/ 54 w 90"/>
                <a:gd name="T57" fmla="*/ 23 h 106"/>
                <a:gd name="T58" fmla="*/ 57 w 90"/>
                <a:gd name="T59" fmla="*/ 24 h 106"/>
                <a:gd name="T60" fmla="*/ 60 w 90"/>
                <a:gd name="T61" fmla="*/ 23 h 106"/>
                <a:gd name="T62" fmla="*/ 60 w 90"/>
                <a:gd name="T63" fmla="*/ 19 h 106"/>
                <a:gd name="T64" fmla="*/ 69 w 90"/>
                <a:gd name="T65" fmla="*/ 5 h 106"/>
                <a:gd name="T66" fmla="*/ 77 w 90"/>
                <a:gd name="T67" fmla="*/ 1 h 106"/>
                <a:gd name="T68" fmla="*/ 81 w 90"/>
                <a:gd name="T69" fmla="*/ 0 h 106"/>
                <a:gd name="T70" fmla="*/ 87 w 90"/>
                <a:gd name="T71" fmla="*/ 3 h 106"/>
                <a:gd name="T72" fmla="*/ 88 w 90"/>
                <a:gd name="T73" fmla="*/ 3 h 106"/>
                <a:gd name="T74" fmla="*/ 88 w 90"/>
                <a:gd name="T75" fmla="*/ 11 h 106"/>
                <a:gd name="T76" fmla="*/ 83 w 90"/>
                <a:gd name="T77" fmla="*/ 23 h 106"/>
                <a:gd name="T78" fmla="*/ 80 w 90"/>
                <a:gd name="T79" fmla="*/ 31 h 106"/>
                <a:gd name="T80" fmla="*/ 80 w 90"/>
                <a:gd name="T81" fmla="*/ 39 h 106"/>
                <a:gd name="T82" fmla="*/ 79 w 90"/>
                <a:gd name="T83" fmla="*/ 43 h 106"/>
                <a:gd name="T84" fmla="*/ 73 w 90"/>
                <a:gd name="T85" fmla="*/ 58 h 106"/>
                <a:gd name="T86" fmla="*/ 68 w 90"/>
                <a:gd name="T87" fmla="*/ 60 h 106"/>
                <a:gd name="T88" fmla="*/ 62 w 90"/>
                <a:gd name="T89" fmla="*/ 67 h 106"/>
                <a:gd name="T90" fmla="*/ 58 w 90"/>
                <a:gd name="T91" fmla="*/ 76 h 106"/>
                <a:gd name="T92" fmla="*/ 58 w 90"/>
                <a:gd name="T93" fmla="*/ 87 h 106"/>
                <a:gd name="T94" fmla="*/ 54 w 90"/>
                <a:gd name="T95" fmla="*/ 92 h 106"/>
                <a:gd name="T96" fmla="*/ 46 w 90"/>
                <a:gd name="T97" fmla="*/ 100 h 106"/>
                <a:gd name="T98" fmla="*/ 39 w 90"/>
                <a:gd name="T99" fmla="*/ 102 h 106"/>
                <a:gd name="T100" fmla="*/ 39 w 90"/>
                <a:gd name="T101" fmla="*/ 98 h 106"/>
                <a:gd name="T102" fmla="*/ 34 w 90"/>
                <a:gd name="T103" fmla="*/ 99 h 106"/>
                <a:gd name="T104" fmla="*/ 30 w 90"/>
                <a:gd name="T105" fmla="*/ 102 h 106"/>
                <a:gd name="T106" fmla="*/ 27 w 90"/>
                <a:gd name="T107" fmla="*/ 102 h 106"/>
                <a:gd name="T108" fmla="*/ 23 w 90"/>
                <a:gd name="T109" fmla="*/ 102 h 106"/>
                <a:gd name="T110" fmla="*/ 22 w 90"/>
                <a:gd name="T111" fmla="*/ 99 h 106"/>
                <a:gd name="T112" fmla="*/ 17 w 90"/>
                <a:gd name="T113" fmla="*/ 99 h 106"/>
                <a:gd name="T114" fmla="*/ 13 w 90"/>
                <a:gd name="T115" fmla="*/ 103 h 106"/>
                <a:gd name="T116" fmla="*/ 9 w 90"/>
                <a:gd name="T117" fmla="*/ 106 h 106"/>
                <a:gd name="T118" fmla="*/ 7 w 90"/>
                <a:gd name="T119" fmla="*/ 100 h 106"/>
                <a:gd name="T120" fmla="*/ 2 w 90"/>
                <a:gd name="T121" fmla="*/ 9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" h="106">
                  <a:moveTo>
                    <a:pt x="0" y="92"/>
                  </a:moveTo>
                  <a:lnTo>
                    <a:pt x="1" y="90"/>
                  </a:lnTo>
                  <a:lnTo>
                    <a:pt x="2" y="88"/>
                  </a:lnTo>
                  <a:lnTo>
                    <a:pt x="2" y="87"/>
                  </a:lnTo>
                  <a:lnTo>
                    <a:pt x="5" y="87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9" y="81"/>
                  </a:lnTo>
                  <a:lnTo>
                    <a:pt x="8" y="80"/>
                  </a:lnTo>
                  <a:lnTo>
                    <a:pt x="7" y="79"/>
                  </a:lnTo>
                  <a:lnTo>
                    <a:pt x="5" y="79"/>
                  </a:lnTo>
                  <a:lnTo>
                    <a:pt x="4" y="80"/>
                  </a:lnTo>
                  <a:lnTo>
                    <a:pt x="4" y="77"/>
                  </a:lnTo>
                  <a:lnTo>
                    <a:pt x="2" y="76"/>
                  </a:lnTo>
                  <a:lnTo>
                    <a:pt x="4" y="75"/>
                  </a:lnTo>
                  <a:lnTo>
                    <a:pt x="7" y="75"/>
                  </a:lnTo>
                  <a:lnTo>
                    <a:pt x="8" y="76"/>
                  </a:lnTo>
                  <a:lnTo>
                    <a:pt x="9" y="75"/>
                  </a:lnTo>
                  <a:lnTo>
                    <a:pt x="11" y="73"/>
                  </a:lnTo>
                  <a:lnTo>
                    <a:pt x="12" y="73"/>
                  </a:lnTo>
                  <a:lnTo>
                    <a:pt x="16" y="73"/>
                  </a:lnTo>
                  <a:lnTo>
                    <a:pt x="16" y="71"/>
                  </a:lnTo>
                  <a:lnTo>
                    <a:pt x="16" y="68"/>
                  </a:lnTo>
                  <a:lnTo>
                    <a:pt x="17" y="67"/>
                  </a:lnTo>
                  <a:lnTo>
                    <a:pt x="20" y="68"/>
                  </a:lnTo>
                  <a:lnTo>
                    <a:pt x="22" y="72"/>
                  </a:lnTo>
                  <a:lnTo>
                    <a:pt x="23" y="73"/>
                  </a:lnTo>
                  <a:lnTo>
                    <a:pt x="26" y="73"/>
                  </a:lnTo>
                  <a:lnTo>
                    <a:pt x="27" y="73"/>
                  </a:lnTo>
                  <a:lnTo>
                    <a:pt x="28" y="72"/>
                  </a:lnTo>
                  <a:lnTo>
                    <a:pt x="31" y="72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5" y="73"/>
                  </a:lnTo>
                  <a:lnTo>
                    <a:pt x="35" y="71"/>
                  </a:lnTo>
                  <a:lnTo>
                    <a:pt x="38" y="62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5" y="52"/>
                  </a:lnTo>
                  <a:lnTo>
                    <a:pt x="35" y="50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4" y="46"/>
                  </a:lnTo>
                  <a:lnTo>
                    <a:pt x="34" y="45"/>
                  </a:lnTo>
                  <a:lnTo>
                    <a:pt x="35" y="45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1"/>
                  </a:lnTo>
                  <a:lnTo>
                    <a:pt x="36" y="39"/>
                  </a:lnTo>
                  <a:lnTo>
                    <a:pt x="39" y="39"/>
                  </a:lnTo>
                  <a:lnTo>
                    <a:pt x="39" y="37"/>
                  </a:lnTo>
                  <a:lnTo>
                    <a:pt x="38" y="37"/>
                  </a:lnTo>
                  <a:lnTo>
                    <a:pt x="39" y="34"/>
                  </a:lnTo>
                  <a:lnTo>
                    <a:pt x="39" y="31"/>
                  </a:lnTo>
                  <a:lnTo>
                    <a:pt x="38" y="30"/>
                  </a:lnTo>
                  <a:lnTo>
                    <a:pt x="34" y="30"/>
                  </a:lnTo>
                  <a:lnTo>
                    <a:pt x="31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6" y="33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28"/>
                  </a:lnTo>
                  <a:lnTo>
                    <a:pt x="24" y="26"/>
                  </a:lnTo>
                  <a:lnTo>
                    <a:pt x="23" y="23"/>
                  </a:lnTo>
                  <a:lnTo>
                    <a:pt x="24" y="20"/>
                  </a:lnTo>
                  <a:lnTo>
                    <a:pt x="39" y="22"/>
                  </a:lnTo>
                  <a:lnTo>
                    <a:pt x="41" y="22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3" y="22"/>
                  </a:lnTo>
                  <a:lnTo>
                    <a:pt x="45" y="22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7" y="23"/>
                  </a:lnTo>
                  <a:lnTo>
                    <a:pt x="47" y="22"/>
                  </a:lnTo>
                  <a:lnTo>
                    <a:pt x="49" y="23"/>
                  </a:lnTo>
                  <a:lnTo>
                    <a:pt x="50" y="24"/>
                  </a:lnTo>
                  <a:lnTo>
                    <a:pt x="51" y="23"/>
                  </a:lnTo>
                  <a:lnTo>
                    <a:pt x="54" y="23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60" y="23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60" y="19"/>
                  </a:lnTo>
                  <a:lnTo>
                    <a:pt x="61" y="18"/>
                  </a:lnTo>
                  <a:lnTo>
                    <a:pt x="66" y="8"/>
                  </a:lnTo>
                  <a:lnTo>
                    <a:pt x="69" y="5"/>
                  </a:lnTo>
                  <a:lnTo>
                    <a:pt x="70" y="4"/>
                  </a:lnTo>
                  <a:lnTo>
                    <a:pt x="72" y="3"/>
                  </a:lnTo>
                  <a:lnTo>
                    <a:pt x="77" y="1"/>
                  </a:lnTo>
                  <a:lnTo>
                    <a:pt x="79" y="1"/>
                  </a:lnTo>
                  <a:lnTo>
                    <a:pt x="80" y="0"/>
                  </a:lnTo>
                  <a:lnTo>
                    <a:pt x="81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1"/>
                  </a:lnTo>
                  <a:lnTo>
                    <a:pt x="88" y="3"/>
                  </a:lnTo>
                  <a:lnTo>
                    <a:pt x="90" y="5"/>
                  </a:lnTo>
                  <a:lnTo>
                    <a:pt x="90" y="9"/>
                  </a:lnTo>
                  <a:lnTo>
                    <a:pt x="88" y="11"/>
                  </a:lnTo>
                  <a:lnTo>
                    <a:pt x="87" y="13"/>
                  </a:lnTo>
                  <a:lnTo>
                    <a:pt x="83" y="19"/>
                  </a:lnTo>
                  <a:lnTo>
                    <a:pt x="83" y="23"/>
                  </a:lnTo>
                  <a:lnTo>
                    <a:pt x="83" y="26"/>
                  </a:lnTo>
                  <a:lnTo>
                    <a:pt x="83" y="28"/>
                  </a:lnTo>
                  <a:lnTo>
                    <a:pt x="80" y="31"/>
                  </a:lnTo>
                  <a:lnTo>
                    <a:pt x="80" y="34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79" y="43"/>
                  </a:lnTo>
                  <a:lnTo>
                    <a:pt x="77" y="47"/>
                  </a:lnTo>
                  <a:lnTo>
                    <a:pt x="77" y="52"/>
                  </a:lnTo>
                  <a:lnTo>
                    <a:pt x="73" y="58"/>
                  </a:lnTo>
                  <a:lnTo>
                    <a:pt x="72" y="58"/>
                  </a:lnTo>
                  <a:lnTo>
                    <a:pt x="69" y="60"/>
                  </a:lnTo>
                  <a:lnTo>
                    <a:pt x="68" y="60"/>
                  </a:lnTo>
                  <a:lnTo>
                    <a:pt x="65" y="61"/>
                  </a:lnTo>
                  <a:lnTo>
                    <a:pt x="62" y="64"/>
                  </a:lnTo>
                  <a:lnTo>
                    <a:pt x="62" y="67"/>
                  </a:lnTo>
                  <a:lnTo>
                    <a:pt x="60" y="71"/>
                  </a:lnTo>
                  <a:lnTo>
                    <a:pt x="58" y="73"/>
                  </a:lnTo>
                  <a:lnTo>
                    <a:pt x="58" y="76"/>
                  </a:lnTo>
                  <a:lnTo>
                    <a:pt x="60" y="77"/>
                  </a:lnTo>
                  <a:lnTo>
                    <a:pt x="58" y="84"/>
                  </a:lnTo>
                  <a:lnTo>
                    <a:pt x="58" y="87"/>
                  </a:lnTo>
                  <a:lnTo>
                    <a:pt x="58" y="90"/>
                  </a:lnTo>
                  <a:lnTo>
                    <a:pt x="56" y="92"/>
                  </a:lnTo>
                  <a:lnTo>
                    <a:pt x="54" y="92"/>
                  </a:lnTo>
                  <a:lnTo>
                    <a:pt x="51" y="94"/>
                  </a:lnTo>
                  <a:lnTo>
                    <a:pt x="51" y="95"/>
                  </a:lnTo>
                  <a:lnTo>
                    <a:pt x="46" y="100"/>
                  </a:lnTo>
                  <a:lnTo>
                    <a:pt x="45" y="103"/>
                  </a:lnTo>
                  <a:lnTo>
                    <a:pt x="42" y="105"/>
                  </a:lnTo>
                  <a:lnTo>
                    <a:pt x="39" y="102"/>
                  </a:lnTo>
                  <a:lnTo>
                    <a:pt x="39" y="100"/>
                  </a:lnTo>
                  <a:lnTo>
                    <a:pt x="38" y="100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36" y="98"/>
                  </a:lnTo>
                  <a:lnTo>
                    <a:pt x="34" y="99"/>
                  </a:lnTo>
                  <a:lnTo>
                    <a:pt x="32" y="99"/>
                  </a:lnTo>
                  <a:lnTo>
                    <a:pt x="30" y="99"/>
                  </a:lnTo>
                  <a:lnTo>
                    <a:pt x="30" y="102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7" y="102"/>
                  </a:lnTo>
                  <a:lnTo>
                    <a:pt x="26" y="100"/>
                  </a:lnTo>
                  <a:lnTo>
                    <a:pt x="24" y="102"/>
                  </a:lnTo>
                  <a:lnTo>
                    <a:pt x="23" y="102"/>
                  </a:lnTo>
                  <a:lnTo>
                    <a:pt x="23" y="102"/>
                  </a:lnTo>
                  <a:lnTo>
                    <a:pt x="23" y="100"/>
                  </a:lnTo>
                  <a:lnTo>
                    <a:pt x="22" y="99"/>
                  </a:lnTo>
                  <a:lnTo>
                    <a:pt x="20" y="98"/>
                  </a:lnTo>
                  <a:lnTo>
                    <a:pt x="19" y="98"/>
                  </a:lnTo>
                  <a:lnTo>
                    <a:pt x="17" y="99"/>
                  </a:lnTo>
                  <a:lnTo>
                    <a:pt x="16" y="99"/>
                  </a:lnTo>
                  <a:lnTo>
                    <a:pt x="15" y="102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1" y="106"/>
                  </a:lnTo>
                  <a:lnTo>
                    <a:pt x="9" y="106"/>
                  </a:lnTo>
                  <a:lnTo>
                    <a:pt x="8" y="105"/>
                  </a:lnTo>
                  <a:lnTo>
                    <a:pt x="9" y="102"/>
                  </a:lnTo>
                  <a:lnTo>
                    <a:pt x="7" y="100"/>
                  </a:lnTo>
                  <a:lnTo>
                    <a:pt x="7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0" name="Freeform 120"/>
            <p:cNvSpPr>
              <a:spLocks/>
            </p:cNvSpPr>
            <p:nvPr/>
          </p:nvSpPr>
          <p:spPr bwMode="auto">
            <a:xfrm>
              <a:off x="2107" y="2054"/>
              <a:ext cx="14" cy="16"/>
            </a:xfrm>
            <a:custGeom>
              <a:avLst/>
              <a:gdLst>
                <a:gd name="T0" fmla="*/ 14 w 14"/>
                <a:gd name="T1" fmla="*/ 4 h 16"/>
                <a:gd name="T2" fmla="*/ 14 w 14"/>
                <a:gd name="T3" fmla="*/ 2 h 16"/>
                <a:gd name="T4" fmla="*/ 13 w 14"/>
                <a:gd name="T5" fmla="*/ 1 h 16"/>
                <a:gd name="T6" fmla="*/ 11 w 14"/>
                <a:gd name="T7" fmla="*/ 0 h 16"/>
                <a:gd name="T8" fmla="*/ 10 w 14"/>
                <a:gd name="T9" fmla="*/ 0 h 16"/>
                <a:gd name="T10" fmla="*/ 8 w 14"/>
                <a:gd name="T11" fmla="*/ 1 h 16"/>
                <a:gd name="T12" fmla="*/ 7 w 14"/>
                <a:gd name="T13" fmla="*/ 1 h 16"/>
                <a:gd name="T14" fmla="*/ 6 w 14"/>
                <a:gd name="T15" fmla="*/ 4 h 16"/>
                <a:gd name="T16" fmla="*/ 4 w 14"/>
                <a:gd name="T17" fmla="*/ 5 h 16"/>
                <a:gd name="T18" fmla="*/ 3 w 14"/>
                <a:gd name="T19" fmla="*/ 5 h 16"/>
                <a:gd name="T20" fmla="*/ 2 w 14"/>
                <a:gd name="T21" fmla="*/ 8 h 16"/>
                <a:gd name="T22" fmla="*/ 0 w 14"/>
                <a:gd name="T23" fmla="*/ 8 h 16"/>
                <a:gd name="T24" fmla="*/ 2 w 14"/>
                <a:gd name="T25" fmla="*/ 9 h 16"/>
                <a:gd name="T26" fmla="*/ 3 w 14"/>
                <a:gd name="T27" fmla="*/ 13 h 16"/>
                <a:gd name="T28" fmla="*/ 2 w 14"/>
                <a:gd name="T29" fmla="*/ 15 h 16"/>
                <a:gd name="T30" fmla="*/ 3 w 14"/>
                <a:gd name="T31" fmla="*/ 16 h 16"/>
                <a:gd name="T32" fmla="*/ 4 w 14"/>
                <a:gd name="T33" fmla="*/ 15 h 16"/>
                <a:gd name="T34" fmla="*/ 7 w 14"/>
                <a:gd name="T35" fmla="*/ 15 h 16"/>
                <a:gd name="T36" fmla="*/ 8 w 14"/>
                <a:gd name="T37" fmla="*/ 13 h 16"/>
                <a:gd name="T38" fmla="*/ 8 w 14"/>
                <a:gd name="T39" fmla="*/ 9 h 16"/>
                <a:gd name="T40" fmla="*/ 8 w 14"/>
                <a:gd name="T41" fmla="*/ 8 h 16"/>
                <a:gd name="T42" fmla="*/ 11 w 14"/>
                <a:gd name="T43" fmla="*/ 7 h 16"/>
                <a:gd name="T44" fmla="*/ 14 w 14"/>
                <a:gd name="T45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" h="16">
                  <a:moveTo>
                    <a:pt x="14" y="4"/>
                  </a:moveTo>
                  <a:lnTo>
                    <a:pt x="14" y="2"/>
                  </a:lnTo>
                  <a:lnTo>
                    <a:pt x="13" y="1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7" y="1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8"/>
                  </a:lnTo>
                  <a:lnTo>
                    <a:pt x="0" y="8"/>
                  </a:lnTo>
                  <a:lnTo>
                    <a:pt x="2" y="9"/>
                  </a:lnTo>
                  <a:lnTo>
                    <a:pt x="3" y="13"/>
                  </a:lnTo>
                  <a:lnTo>
                    <a:pt x="2" y="15"/>
                  </a:lnTo>
                  <a:lnTo>
                    <a:pt x="3" y="16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8" y="13"/>
                  </a:lnTo>
                  <a:lnTo>
                    <a:pt x="8" y="9"/>
                  </a:lnTo>
                  <a:lnTo>
                    <a:pt x="8" y="8"/>
                  </a:lnTo>
                  <a:lnTo>
                    <a:pt x="11" y="7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1" name="Freeform 121"/>
            <p:cNvSpPr>
              <a:spLocks/>
            </p:cNvSpPr>
            <p:nvPr/>
          </p:nvSpPr>
          <p:spPr bwMode="auto">
            <a:xfrm>
              <a:off x="2311" y="2012"/>
              <a:ext cx="132" cy="134"/>
            </a:xfrm>
            <a:custGeom>
              <a:avLst/>
              <a:gdLst>
                <a:gd name="T0" fmla="*/ 17 w 132"/>
                <a:gd name="T1" fmla="*/ 2 h 134"/>
                <a:gd name="T2" fmla="*/ 56 w 132"/>
                <a:gd name="T3" fmla="*/ 0 h 134"/>
                <a:gd name="T4" fmla="*/ 101 w 132"/>
                <a:gd name="T5" fmla="*/ 31 h 134"/>
                <a:gd name="T6" fmla="*/ 117 w 132"/>
                <a:gd name="T7" fmla="*/ 43 h 134"/>
                <a:gd name="T8" fmla="*/ 117 w 132"/>
                <a:gd name="T9" fmla="*/ 46 h 134"/>
                <a:gd name="T10" fmla="*/ 112 w 132"/>
                <a:gd name="T11" fmla="*/ 59 h 134"/>
                <a:gd name="T12" fmla="*/ 119 w 132"/>
                <a:gd name="T13" fmla="*/ 68 h 134"/>
                <a:gd name="T14" fmla="*/ 121 w 132"/>
                <a:gd name="T15" fmla="*/ 73 h 134"/>
                <a:gd name="T16" fmla="*/ 117 w 132"/>
                <a:gd name="T17" fmla="*/ 77 h 134"/>
                <a:gd name="T18" fmla="*/ 120 w 132"/>
                <a:gd name="T19" fmla="*/ 85 h 134"/>
                <a:gd name="T20" fmla="*/ 120 w 132"/>
                <a:gd name="T21" fmla="*/ 92 h 134"/>
                <a:gd name="T22" fmla="*/ 120 w 132"/>
                <a:gd name="T23" fmla="*/ 96 h 134"/>
                <a:gd name="T24" fmla="*/ 121 w 132"/>
                <a:gd name="T25" fmla="*/ 102 h 134"/>
                <a:gd name="T26" fmla="*/ 127 w 132"/>
                <a:gd name="T27" fmla="*/ 110 h 134"/>
                <a:gd name="T28" fmla="*/ 132 w 132"/>
                <a:gd name="T29" fmla="*/ 114 h 134"/>
                <a:gd name="T30" fmla="*/ 131 w 132"/>
                <a:gd name="T31" fmla="*/ 115 h 134"/>
                <a:gd name="T32" fmla="*/ 125 w 132"/>
                <a:gd name="T33" fmla="*/ 118 h 134"/>
                <a:gd name="T34" fmla="*/ 119 w 132"/>
                <a:gd name="T35" fmla="*/ 121 h 134"/>
                <a:gd name="T36" fmla="*/ 114 w 132"/>
                <a:gd name="T37" fmla="*/ 122 h 134"/>
                <a:gd name="T38" fmla="*/ 106 w 132"/>
                <a:gd name="T39" fmla="*/ 125 h 134"/>
                <a:gd name="T40" fmla="*/ 101 w 132"/>
                <a:gd name="T41" fmla="*/ 122 h 134"/>
                <a:gd name="T42" fmla="*/ 100 w 132"/>
                <a:gd name="T43" fmla="*/ 126 h 134"/>
                <a:gd name="T44" fmla="*/ 93 w 132"/>
                <a:gd name="T45" fmla="*/ 127 h 134"/>
                <a:gd name="T46" fmla="*/ 90 w 132"/>
                <a:gd name="T47" fmla="*/ 125 h 134"/>
                <a:gd name="T48" fmla="*/ 85 w 132"/>
                <a:gd name="T49" fmla="*/ 129 h 134"/>
                <a:gd name="T50" fmla="*/ 80 w 132"/>
                <a:gd name="T51" fmla="*/ 127 h 134"/>
                <a:gd name="T52" fmla="*/ 76 w 132"/>
                <a:gd name="T53" fmla="*/ 125 h 134"/>
                <a:gd name="T54" fmla="*/ 74 w 132"/>
                <a:gd name="T55" fmla="*/ 126 h 134"/>
                <a:gd name="T56" fmla="*/ 59 w 132"/>
                <a:gd name="T57" fmla="*/ 134 h 134"/>
                <a:gd name="T58" fmla="*/ 55 w 132"/>
                <a:gd name="T59" fmla="*/ 106 h 134"/>
                <a:gd name="T60" fmla="*/ 52 w 132"/>
                <a:gd name="T61" fmla="*/ 103 h 134"/>
                <a:gd name="T62" fmla="*/ 48 w 132"/>
                <a:gd name="T63" fmla="*/ 102 h 134"/>
                <a:gd name="T64" fmla="*/ 45 w 132"/>
                <a:gd name="T65" fmla="*/ 102 h 134"/>
                <a:gd name="T66" fmla="*/ 44 w 132"/>
                <a:gd name="T67" fmla="*/ 100 h 134"/>
                <a:gd name="T68" fmla="*/ 40 w 132"/>
                <a:gd name="T69" fmla="*/ 98 h 134"/>
                <a:gd name="T70" fmla="*/ 37 w 132"/>
                <a:gd name="T71" fmla="*/ 95 h 134"/>
                <a:gd name="T72" fmla="*/ 27 w 132"/>
                <a:gd name="T73" fmla="*/ 93 h 134"/>
                <a:gd name="T74" fmla="*/ 25 w 132"/>
                <a:gd name="T75" fmla="*/ 89 h 134"/>
                <a:gd name="T76" fmla="*/ 21 w 132"/>
                <a:gd name="T77" fmla="*/ 89 h 134"/>
                <a:gd name="T78" fmla="*/ 6 w 132"/>
                <a:gd name="T79" fmla="*/ 66 h 134"/>
                <a:gd name="T80" fmla="*/ 7 w 132"/>
                <a:gd name="T81" fmla="*/ 43 h 134"/>
                <a:gd name="T82" fmla="*/ 15 w 132"/>
                <a:gd name="T83" fmla="*/ 35 h 134"/>
                <a:gd name="T84" fmla="*/ 21 w 132"/>
                <a:gd name="T85" fmla="*/ 31 h 134"/>
                <a:gd name="T86" fmla="*/ 18 w 132"/>
                <a:gd name="T87" fmla="*/ 25 h 134"/>
                <a:gd name="T88" fmla="*/ 17 w 132"/>
                <a:gd name="T89" fmla="*/ 21 h 134"/>
                <a:gd name="T90" fmla="*/ 17 w 132"/>
                <a:gd name="T91" fmla="*/ 20 h 134"/>
                <a:gd name="T92" fmla="*/ 19 w 132"/>
                <a:gd name="T93" fmla="*/ 19 h 134"/>
                <a:gd name="T94" fmla="*/ 21 w 132"/>
                <a:gd name="T95" fmla="*/ 13 h 134"/>
                <a:gd name="T96" fmla="*/ 18 w 132"/>
                <a:gd name="T97" fmla="*/ 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2" h="134">
                  <a:moveTo>
                    <a:pt x="15" y="4"/>
                  </a:moveTo>
                  <a:lnTo>
                    <a:pt x="17" y="2"/>
                  </a:lnTo>
                  <a:lnTo>
                    <a:pt x="17" y="2"/>
                  </a:lnTo>
                  <a:lnTo>
                    <a:pt x="18" y="1"/>
                  </a:lnTo>
                  <a:lnTo>
                    <a:pt x="33" y="1"/>
                  </a:lnTo>
                  <a:lnTo>
                    <a:pt x="56" y="0"/>
                  </a:lnTo>
                  <a:lnTo>
                    <a:pt x="100" y="25"/>
                  </a:lnTo>
                  <a:lnTo>
                    <a:pt x="102" y="30"/>
                  </a:lnTo>
                  <a:lnTo>
                    <a:pt x="101" y="31"/>
                  </a:lnTo>
                  <a:lnTo>
                    <a:pt x="102" y="32"/>
                  </a:lnTo>
                  <a:lnTo>
                    <a:pt x="102" y="34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4"/>
                  </a:lnTo>
                  <a:lnTo>
                    <a:pt x="117" y="46"/>
                  </a:lnTo>
                  <a:lnTo>
                    <a:pt x="117" y="47"/>
                  </a:lnTo>
                  <a:lnTo>
                    <a:pt x="114" y="55"/>
                  </a:lnTo>
                  <a:lnTo>
                    <a:pt x="112" y="59"/>
                  </a:lnTo>
                  <a:lnTo>
                    <a:pt x="113" y="62"/>
                  </a:lnTo>
                  <a:lnTo>
                    <a:pt x="116" y="65"/>
                  </a:lnTo>
                  <a:lnTo>
                    <a:pt x="119" y="68"/>
                  </a:lnTo>
                  <a:lnTo>
                    <a:pt x="120" y="68"/>
                  </a:lnTo>
                  <a:lnTo>
                    <a:pt x="121" y="72"/>
                  </a:lnTo>
                  <a:lnTo>
                    <a:pt x="121" y="73"/>
                  </a:lnTo>
                  <a:lnTo>
                    <a:pt x="120" y="73"/>
                  </a:lnTo>
                  <a:lnTo>
                    <a:pt x="119" y="74"/>
                  </a:lnTo>
                  <a:lnTo>
                    <a:pt x="117" y="77"/>
                  </a:lnTo>
                  <a:lnTo>
                    <a:pt x="117" y="81"/>
                  </a:lnTo>
                  <a:lnTo>
                    <a:pt x="120" y="83"/>
                  </a:lnTo>
                  <a:lnTo>
                    <a:pt x="120" y="85"/>
                  </a:lnTo>
                  <a:lnTo>
                    <a:pt x="117" y="87"/>
                  </a:lnTo>
                  <a:lnTo>
                    <a:pt x="119" y="89"/>
                  </a:lnTo>
                  <a:lnTo>
                    <a:pt x="120" y="92"/>
                  </a:lnTo>
                  <a:lnTo>
                    <a:pt x="119" y="93"/>
                  </a:lnTo>
                  <a:lnTo>
                    <a:pt x="120" y="95"/>
                  </a:lnTo>
                  <a:lnTo>
                    <a:pt x="120" y="96"/>
                  </a:lnTo>
                  <a:lnTo>
                    <a:pt x="121" y="98"/>
                  </a:lnTo>
                  <a:lnTo>
                    <a:pt x="120" y="100"/>
                  </a:lnTo>
                  <a:lnTo>
                    <a:pt x="121" y="102"/>
                  </a:lnTo>
                  <a:lnTo>
                    <a:pt x="123" y="104"/>
                  </a:lnTo>
                  <a:lnTo>
                    <a:pt x="123" y="106"/>
                  </a:lnTo>
                  <a:lnTo>
                    <a:pt x="127" y="110"/>
                  </a:lnTo>
                  <a:lnTo>
                    <a:pt x="129" y="111"/>
                  </a:lnTo>
                  <a:lnTo>
                    <a:pt x="132" y="112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1" y="115"/>
                  </a:lnTo>
                  <a:lnTo>
                    <a:pt x="128" y="115"/>
                  </a:lnTo>
                  <a:lnTo>
                    <a:pt x="127" y="117"/>
                  </a:lnTo>
                  <a:lnTo>
                    <a:pt x="125" y="118"/>
                  </a:lnTo>
                  <a:lnTo>
                    <a:pt x="123" y="119"/>
                  </a:lnTo>
                  <a:lnTo>
                    <a:pt x="121" y="121"/>
                  </a:lnTo>
                  <a:lnTo>
                    <a:pt x="119" y="121"/>
                  </a:lnTo>
                  <a:lnTo>
                    <a:pt x="117" y="122"/>
                  </a:lnTo>
                  <a:lnTo>
                    <a:pt x="116" y="122"/>
                  </a:lnTo>
                  <a:lnTo>
                    <a:pt x="114" y="122"/>
                  </a:lnTo>
                  <a:lnTo>
                    <a:pt x="110" y="123"/>
                  </a:lnTo>
                  <a:lnTo>
                    <a:pt x="109" y="123"/>
                  </a:lnTo>
                  <a:lnTo>
                    <a:pt x="106" y="125"/>
                  </a:lnTo>
                  <a:lnTo>
                    <a:pt x="105" y="123"/>
                  </a:lnTo>
                  <a:lnTo>
                    <a:pt x="104" y="123"/>
                  </a:lnTo>
                  <a:lnTo>
                    <a:pt x="101" y="122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0" y="126"/>
                  </a:lnTo>
                  <a:lnTo>
                    <a:pt x="97" y="127"/>
                  </a:lnTo>
                  <a:lnTo>
                    <a:pt x="94" y="127"/>
                  </a:lnTo>
                  <a:lnTo>
                    <a:pt x="93" y="127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0" y="125"/>
                  </a:lnTo>
                  <a:lnTo>
                    <a:pt x="89" y="126"/>
                  </a:lnTo>
                  <a:lnTo>
                    <a:pt x="87" y="126"/>
                  </a:lnTo>
                  <a:lnTo>
                    <a:pt x="85" y="129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0" y="127"/>
                  </a:lnTo>
                  <a:lnTo>
                    <a:pt x="79" y="127"/>
                  </a:lnTo>
                  <a:lnTo>
                    <a:pt x="78" y="126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5" y="125"/>
                  </a:lnTo>
                  <a:lnTo>
                    <a:pt x="74" y="126"/>
                  </a:lnTo>
                  <a:lnTo>
                    <a:pt x="72" y="126"/>
                  </a:lnTo>
                  <a:lnTo>
                    <a:pt x="61" y="126"/>
                  </a:lnTo>
                  <a:lnTo>
                    <a:pt x="59" y="134"/>
                  </a:lnTo>
                  <a:lnTo>
                    <a:pt x="59" y="115"/>
                  </a:lnTo>
                  <a:lnTo>
                    <a:pt x="59" y="110"/>
                  </a:lnTo>
                  <a:lnTo>
                    <a:pt x="55" y="106"/>
                  </a:lnTo>
                  <a:lnTo>
                    <a:pt x="53" y="104"/>
                  </a:lnTo>
                  <a:lnTo>
                    <a:pt x="52" y="104"/>
                  </a:lnTo>
                  <a:lnTo>
                    <a:pt x="52" y="103"/>
                  </a:lnTo>
                  <a:lnTo>
                    <a:pt x="51" y="103"/>
                  </a:lnTo>
                  <a:lnTo>
                    <a:pt x="49" y="103"/>
                  </a:lnTo>
                  <a:lnTo>
                    <a:pt x="48" y="102"/>
                  </a:lnTo>
                  <a:lnTo>
                    <a:pt x="48" y="103"/>
                  </a:lnTo>
                  <a:lnTo>
                    <a:pt x="46" y="102"/>
                  </a:lnTo>
                  <a:lnTo>
                    <a:pt x="45" y="102"/>
                  </a:lnTo>
                  <a:lnTo>
                    <a:pt x="45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0" y="98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7" y="95"/>
                  </a:lnTo>
                  <a:lnTo>
                    <a:pt x="36" y="95"/>
                  </a:lnTo>
                  <a:lnTo>
                    <a:pt x="30" y="93"/>
                  </a:lnTo>
                  <a:lnTo>
                    <a:pt x="27" y="93"/>
                  </a:lnTo>
                  <a:lnTo>
                    <a:pt x="26" y="92"/>
                  </a:lnTo>
                  <a:lnTo>
                    <a:pt x="26" y="91"/>
                  </a:lnTo>
                  <a:lnTo>
                    <a:pt x="25" y="89"/>
                  </a:lnTo>
                  <a:lnTo>
                    <a:pt x="23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17" y="87"/>
                  </a:lnTo>
                  <a:lnTo>
                    <a:pt x="14" y="78"/>
                  </a:lnTo>
                  <a:lnTo>
                    <a:pt x="6" y="66"/>
                  </a:lnTo>
                  <a:lnTo>
                    <a:pt x="3" y="53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1" y="42"/>
                  </a:lnTo>
                  <a:lnTo>
                    <a:pt x="12" y="39"/>
                  </a:lnTo>
                  <a:lnTo>
                    <a:pt x="15" y="35"/>
                  </a:lnTo>
                  <a:lnTo>
                    <a:pt x="17" y="35"/>
                  </a:lnTo>
                  <a:lnTo>
                    <a:pt x="18" y="32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25"/>
                  </a:lnTo>
                  <a:lnTo>
                    <a:pt x="18" y="25"/>
                  </a:lnTo>
                  <a:lnTo>
                    <a:pt x="18" y="24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21" y="13"/>
                  </a:lnTo>
                  <a:lnTo>
                    <a:pt x="19" y="9"/>
                  </a:lnTo>
                  <a:lnTo>
                    <a:pt x="18" y="8"/>
                  </a:lnTo>
                  <a:lnTo>
                    <a:pt x="18" y="6"/>
                  </a:lnTo>
                  <a:lnTo>
                    <a:pt x="17" y="5"/>
                  </a:lnTo>
                  <a:lnTo>
                    <a:pt x="15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2" name="Freeform 122"/>
            <p:cNvSpPr>
              <a:spLocks/>
            </p:cNvSpPr>
            <p:nvPr/>
          </p:nvSpPr>
          <p:spPr bwMode="auto">
            <a:xfrm>
              <a:off x="2309" y="2014"/>
              <a:ext cx="23" cy="21"/>
            </a:xfrm>
            <a:custGeom>
              <a:avLst/>
              <a:gdLst>
                <a:gd name="T0" fmla="*/ 6 w 23"/>
                <a:gd name="T1" fmla="*/ 3 h 21"/>
                <a:gd name="T2" fmla="*/ 6 w 23"/>
                <a:gd name="T3" fmla="*/ 4 h 21"/>
                <a:gd name="T4" fmla="*/ 9 w 23"/>
                <a:gd name="T5" fmla="*/ 3 h 21"/>
                <a:gd name="T6" fmla="*/ 10 w 23"/>
                <a:gd name="T7" fmla="*/ 2 h 21"/>
                <a:gd name="T8" fmla="*/ 12 w 23"/>
                <a:gd name="T9" fmla="*/ 3 h 21"/>
                <a:gd name="T10" fmla="*/ 13 w 23"/>
                <a:gd name="T11" fmla="*/ 3 h 21"/>
                <a:gd name="T12" fmla="*/ 14 w 23"/>
                <a:gd name="T13" fmla="*/ 3 h 21"/>
                <a:gd name="T14" fmla="*/ 14 w 23"/>
                <a:gd name="T15" fmla="*/ 3 h 21"/>
                <a:gd name="T16" fmla="*/ 14 w 23"/>
                <a:gd name="T17" fmla="*/ 2 h 21"/>
                <a:gd name="T18" fmla="*/ 17 w 23"/>
                <a:gd name="T19" fmla="*/ 0 h 21"/>
                <a:gd name="T20" fmla="*/ 19 w 23"/>
                <a:gd name="T21" fmla="*/ 3 h 21"/>
                <a:gd name="T22" fmla="*/ 20 w 23"/>
                <a:gd name="T23" fmla="*/ 4 h 21"/>
                <a:gd name="T24" fmla="*/ 20 w 23"/>
                <a:gd name="T25" fmla="*/ 6 h 21"/>
                <a:gd name="T26" fmla="*/ 21 w 23"/>
                <a:gd name="T27" fmla="*/ 7 h 21"/>
                <a:gd name="T28" fmla="*/ 23 w 23"/>
                <a:gd name="T29" fmla="*/ 11 h 21"/>
                <a:gd name="T30" fmla="*/ 23 w 23"/>
                <a:gd name="T31" fmla="*/ 13 h 21"/>
                <a:gd name="T32" fmla="*/ 23 w 23"/>
                <a:gd name="T33" fmla="*/ 15 h 21"/>
                <a:gd name="T34" fmla="*/ 21 w 23"/>
                <a:gd name="T35" fmla="*/ 17 h 21"/>
                <a:gd name="T36" fmla="*/ 21 w 23"/>
                <a:gd name="T37" fmla="*/ 18 h 21"/>
                <a:gd name="T38" fmla="*/ 20 w 23"/>
                <a:gd name="T39" fmla="*/ 18 h 21"/>
                <a:gd name="T40" fmla="*/ 19 w 23"/>
                <a:gd name="T41" fmla="*/ 18 h 21"/>
                <a:gd name="T42" fmla="*/ 17 w 23"/>
                <a:gd name="T43" fmla="*/ 17 h 21"/>
                <a:gd name="T44" fmla="*/ 17 w 23"/>
                <a:gd name="T45" fmla="*/ 17 h 21"/>
                <a:gd name="T46" fmla="*/ 16 w 23"/>
                <a:gd name="T47" fmla="*/ 15 h 21"/>
                <a:gd name="T48" fmla="*/ 16 w 23"/>
                <a:gd name="T49" fmla="*/ 14 h 21"/>
                <a:gd name="T50" fmla="*/ 14 w 23"/>
                <a:gd name="T51" fmla="*/ 14 h 21"/>
                <a:gd name="T52" fmla="*/ 13 w 23"/>
                <a:gd name="T53" fmla="*/ 13 h 21"/>
                <a:gd name="T54" fmla="*/ 13 w 23"/>
                <a:gd name="T55" fmla="*/ 13 h 21"/>
                <a:gd name="T56" fmla="*/ 13 w 23"/>
                <a:gd name="T57" fmla="*/ 15 h 21"/>
                <a:gd name="T58" fmla="*/ 12 w 23"/>
                <a:gd name="T59" fmla="*/ 18 h 21"/>
                <a:gd name="T60" fmla="*/ 12 w 23"/>
                <a:gd name="T61" fmla="*/ 19 h 21"/>
                <a:gd name="T62" fmla="*/ 9 w 23"/>
                <a:gd name="T63" fmla="*/ 21 h 21"/>
                <a:gd name="T64" fmla="*/ 8 w 23"/>
                <a:gd name="T65" fmla="*/ 19 h 21"/>
                <a:gd name="T66" fmla="*/ 6 w 23"/>
                <a:gd name="T67" fmla="*/ 19 h 21"/>
                <a:gd name="T68" fmla="*/ 6 w 23"/>
                <a:gd name="T69" fmla="*/ 21 h 21"/>
                <a:gd name="T70" fmla="*/ 4 w 23"/>
                <a:gd name="T71" fmla="*/ 19 h 21"/>
                <a:gd name="T72" fmla="*/ 4 w 23"/>
                <a:gd name="T73" fmla="*/ 18 h 21"/>
                <a:gd name="T74" fmla="*/ 2 w 23"/>
                <a:gd name="T75" fmla="*/ 17 h 21"/>
                <a:gd name="T76" fmla="*/ 0 w 23"/>
                <a:gd name="T77" fmla="*/ 17 h 21"/>
                <a:gd name="T78" fmla="*/ 0 w 23"/>
                <a:gd name="T79" fmla="*/ 18 h 21"/>
                <a:gd name="T80" fmla="*/ 0 w 23"/>
                <a:gd name="T81" fmla="*/ 15 h 21"/>
                <a:gd name="T82" fmla="*/ 1 w 23"/>
                <a:gd name="T83" fmla="*/ 9 h 21"/>
                <a:gd name="T84" fmla="*/ 4 w 23"/>
                <a:gd name="T85" fmla="*/ 6 h 21"/>
                <a:gd name="T86" fmla="*/ 6 w 23"/>
                <a:gd name="T87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" h="21">
                  <a:moveTo>
                    <a:pt x="6" y="3"/>
                  </a:moveTo>
                  <a:lnTo>
                    <a:pt x="6" y="4"/>
                  </a:lnTo>
                  <a:lnTo>
                    <a:pt x="9" y="3"/>
                  </a:lnTo>
                  <a:lnTo>
                    <a:pt x="10" y="2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7" y="0"/>
                  </a:lnTo>
                  <a:lnTo>
                    <a:pt x="19" y="3"/>
                  </a:lnTo>
                  <a:lnTo>
                    <a:pt x="20" y="4"/>
                  </a:lnTo>
                  <a:lnTo>
                    <a:pt x="20" y="6"/>
                  </a:lnTo>
                  <a:lnTo>
                    <a:pt x="21" y="7"/>
                  </a:lnTo>
                  <a:lnTo>
                    <a:pt x="23" y="11"/>
                  </a:lnTo>
                  <a:lnTo>
                    <a:pt x="23" y="13"/>
                  </a:lnTo>
                  <a:lnTo>
                    <a:pt x="23" y="15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0" y="18"/>
                  </a:lnTo>
                  <a:lnTo>
                    <a:pt x="19" y="18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6" y="15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5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9" y="21"/>
                  </a:lnTo>
                  <a:lnTo>
                    <a:pt x="8" y="19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2" y="17"/>
                  </a:lnTo>
                  <a:lnTo>
                    <a:pt x="0" y="17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1" y="9"/>
                  </a:lnTo>
                  <a:lnTo>
                    <a:pt x="4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3" name="Freeform 123"/>
            <p:cNvSpPr>
              <a:spLocks/>
            </p:cNvSpPr>
            <p:nvPr/>
          </p:nvSpPr>
          <p:spPr bwMode="auto">
            <a:xfrm>
              <a:off x="2309" y="2027"/>
              <a:ext cx="23" cy="28"/>
            </a:xfrm>
            <a:custGeom>
              <a:avLst/>
              <a:gdLst>
                <a:gd name="T0" fmla="*/ 2 w 23"/>
                <a:gd name="T1" fmla="*/ 28 h 28"/>
                <a:gd name="T2" fmla="*/ 9 w 23"/>
                <a:gd name="T3" fmla="*/ 28 h 28"/>
                <a:gd name="T4" fmla="*/ 13 w 23"/>
                <a:gd name="T5" fmla="*/ 27 h 28"/>
                <a:gd name="T6" fmla="*/ 14 w 23"/>
                <a:gd name="T7" fmla="*/ 24 h 28"/>
                <a:gd name="T8" fmla="*/ 17 w 23"/>
                <a:gd name="T9" fmla="*/ 20 h 28"/>
                <a:gd name="T10" fmla="*/ 19 w 23"/>
                <a:gd name="T11" fmla="*/ 20 h 28"/>
                <a:gd name="T12" fmla="*/ 20 w 23"/>
                <a:gd name="T13" fmla="*/ 17 h 28"/>
                <a:gd name="T14" fmla="*/ 23 w 23"/>
                <a:gd name="T15" fmla="*/ 16 h 28"/>
                <a:gd name="T16" fmla="*/ 23 w 23"/>
                <a:gd name="T17" fmla="*/ 15 h 28"/>
                <a:gd name="T18" fmla="*/ 23 w 23"/>
                <a:gd name="T19" fmla="*/ 10 h 28"/>
                <a:gd name="T20" fmla="*/ 20 w 23"/>
                <a:gd name="T21" fmla="*/ 10 h 28"/>
                <a:gd name="T22" fmla="*/ 20 w 23"/>
                <a:gd name="T23" fmla="*/ 9 h 28"/>
                <a:gd name="T24" fmla="*/ 19 w 23"/>
                <a:gd name="T25" fmla="*/ 8 h 28"/>
                <a:gd name="T26" fmla="*/ 19 w 23"/>
                <a:gd name="T27" fmla="*/ 6 h 28"/>
                <a:gd name="T28" fmla="*/ 17 w 23"/>
                <a:gd name="T29" fmla="*/ 5 h 28"/>
                <a:gd name="T30" fmla="*/ 17 w 23"/>
                <a:gd name="T31" fmla="*/ 4 h 28"/>
                <a:gd name="T32" fmla="*/ 16 w 23"/>
                <a:gd name="T33" fmla="*/ 2 h 28"/>
                <a:gd name="T34" fmla="*/ 16 w 23"/>
                <a:gd name="T35" fmla="*/ 1 h 28"/>
                <a:gd name="T36" fmla="*/ 14 w 23"/>
                <a:gd name="T37" fmla="*/ 1 h 28"/>
                <a:gd name="T38" fmla="*/ 13 w 23"/>
                <a:gd name="T39" fmla="*/ 0 h 28"/>
                <a:gd name="T40" fmla="*/ 13 w 23"/>
                <a:gd name="T41" fmla="*/ 0 h 28"/>
                <a:gd name="T42" fmla="*/ 13 w 23"/>
                <a:gd name="T43" fmla="*/ 2 h 28"/>
                <a:gd name="T44" fmla="*/ 12 w 23"/>
                <a:gd name="T45" fmla="*/ 5 h 28"/>
                <a:gd name="T46" fmla="*/ 12 w 23"/>
                <a:gd name="T47" fmla="*/ 6 h 28"/>
                <a:gd name="T48" fmla="*/ 9 w 23"/>
                <a:gd name="T49" fmla="*/ 8 h 28"/>
                <a:gd name="T50" fmla="*/ 8 w 23"/>
                <a:gd name="T51" fmla="*/ 6 h 28"/>
                <a:gd name="T52" fmla="*/ 6 w 23"/>
                <a:gd name="T53" fmla="*/ 6 h 28"/>
                <a:gd name="T54" fmla="*/ 6 w 23"/>
                <a:gd name="T55" fmla="*/ 8 h 28"/>
                <a:gd name="T56" fmla="*/ 4 w 23"/>
                <a:gd name="T57" fmla="*/ 6 h 28"/>
                <a:gd name="T58" fmla="*/ 4 w 23"/>
                <a:gd name="T59" fmla="*/ 5 h 28"/>
                <a:gd name="T60" fmla="*/ 2 w 23"/>
                <a:gd name="T61" fmla="*/ 4 h 28"/>
                <a:gd name="T62" fmla="*/ 0 w 23"/>
                <a:gd name="T63" fmla="*/ 4 h 28"/>
                <a:gd name="T64" fmla="*/ 0 w 23"/>
                <a:gd name="T65" fmla="*/ 5 h 28"/>
                <a:gd name="T66" fmla="*/ 0 w 23"/>
                <a:gd name="T67" fmla="*/ 6 h 28"/>
                <a:gd name="T68" fmla="*/ 1 w 23"/>
                <a:gd name="T69" fmla="*/ 8 h 28"/>
                <a:gd name="T70" fmla="*/ 1 w 23"/>
                <a:gd name="T71" fmla="*/ 10 h 28"/>
                <a:gd name="T72" fmla="*/ 1 w 23"/>
                <a:gd name="T73" fmla="*/ 15 h 28"/>
                <a:gd name="T74" fmla="*/ 2 w 23"/>
                <a:gd name="T7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" h="28">
                  <a:moveTo>
                    <a:pt x="2" y="28"/>
                  </a:moveTo>
                  <a:lnTo>
                    <a:pt x="9" y="28"/>
                  </a:lnTo>
                  <a:lnTo>
                    <a:pt x="13" y="27"/>
                  </a:lnTo>
                  <a:lnTo>
                    <a:pt x="14" y="24"/>
                  </a:lnTo>
                  <a:lnTo>
                    <a:pt x="17" y="20"/>
                  </a:lnTo>
                  <a:lnTo>
                    <a:pt x="19" y="20"/>
                  </a:lnTo>
                  <a:lnTo>
                    <a:pt x="20" y="17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3" y="10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19" y="8"/>
                  </a:lnTo>
                  <a:lnTo>
                    <a:pt x="19" y="6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4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9" y="8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6"/>
                  </a:lnTo>
                  <a:lnTo>
                    <a:pt x="4" y="5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8"/>
                  </a:lnTo>
                  <a:lnTo>
                    <a:pt x="1" y="10"/>
                  </a:lnTo>
                  <a:lnTo>
                    <a:pt x="1" y="15"/>
                  </a:lnTo>
                  <a:lnTo>
                    <a:pt x="2" y="2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4" name="Freeform 124"/>
            <p:cNvSpPr>
              <a:spLocks/>
            </p:cNvSpPr>
            <p:nvPr/>
          </p:nvSpPr>
          <p:spPr bwMode="auto">
            <a:xfrm>
              <a:off x="2110" y="1938"/>
              <a:ext cx="223" cy="222"/>
            </a:xfrm>
            <a:custGeom>
              <a:avLst/>
              <a:gdLst>
                <a:gd name="T0" fmla="*/ 5 w 223"/>
                <a:gd name="T1" fmla="*/ 124 h 222"/>
                <a:gd name="T2" fmla="*/ 15 w 223"/>
                <a:gd name="T3" fmla="*/ 121 h 222"/>
                <a:gd name="T4" fmla="*/ 24 w 223"/>
                <a:gd name="T5" fmla="*/ 116 h 222"/>
                <a:gd name="T6" fmla="*/ 30 w 223"/>
                <a:gd name="T7" fmla="*/ 123 h 222"/>
                <a:gd name="T8" fmla="*/ 44 w 223"/>
                <a:gd name="T9" fmla="*/ 110 h 222"/>
                <a:gd name="T10" fmla="*/ 46 w 223"/>
                <a:gd name="T11" fmla="*/ 91 h 222"/>
                <a:gd name="T12" fmla="*/ 57 w 223"/>
                <a:gd name="T13" fmla="*/ 78 h 222"/>
                <a:gd name="T14" fmla="*/ 68 w 223"/>
                <a:gd name="T15" fmla="*/ 61 h 222"/>
                <a:gd name="T16" fmla="*/ 71 w 223"/>
                <a:gd name="T17" fmla="*/ 46 h 222"/>
                <a:gd name="T18" fmla="*/ 78 w 223"/>
                <a:gd name="T19" fmla="*/ 27 h 222"/>
                <a:gd name="T20" fmla="*/ 76 w 223"/>
                <a:gd name="T21" fmla="*/ 12 h 222"/>
                <a:gd name="T22" fmla="*/ 80 w 223"/>
                <a:gd name="T23" fmla="*/ 7 h 222"/>
                <a:gd name="T24" fmla="*/ 88 w 223"/>
                <a:gd name="T25" fmla="*/ 3 h 222"/>
                <a:gd name="T26" fmla="*/ 99 w 223"/>
                <a:gd name="T27" fmla="*/ 11 h 222"/>
                <a:gd name="T28" fmla="*/ 113 w 223"/>
                <a:gd name="T29" fmla="*/ 12 h 222"/>
                <a:gd name="T30" fmla="*/ 121 w 223"/>
                <a:gd name="T31" fmla="*/ 12 h 222"/>
                <a:gd name="T32" fmla="*/ 129 w 223"/>
                <a:gd name="T33" fmla="*/ 8 h 222"/>
                <a:gd name="T34" fmla="*/ 145 w 223"/>
                <a:gd name="T35" fmla="*/ 3 h 222"/>
                <a:gd name="T36" fmla="*/ 152 w 223"/>
                <a:gd name="T37" fmla="*/ 4 h 222"/>
                <a:gd name="T38" fmla="*/ 158 w 223"/>
                <a:gd name="T39" fmla="*/ 0 h 222"/>
                <a:gd name="T40" fmla="*/ 167 w 223"/>
                <a:gd name="T41" fmla="*/ 4 h 222"/>
                <a:gd name="T42" fmla="*/ 182 w 223"/>
                <a:gd name="T43" fmla="*/ 4 h 222"/>
                <a:gd name="T44" fmla="*/ 190 w 223"/>
                <a:gd name="T45" fmla="*/ 12 h 222"/>
                <a:gd name="T46" fmla="*/ 199 w 223"/>
                <a:gd name="T47" fmla="*/ 10 h 222"/>
                <a:gd name="T48" fmla="*/ 208 w 223"/>
                <a:gd name="T49" fmla="*/ 7 h 222"/>
                <a:gd name="T50" fmla="*/ 218 w 223"/>
                <a:gd name="T51" fmla="*/ 18 h 222"/>
                <a:gd name="T52" fmla="*/ 223 w 223"/>
                <a:gd name="T53" fmla="*/ 22 h 222"/>
                <a:gd name="T54" fmla="*/ 222 w 223"/>
                <a:gd name="T55" fmla="*/ 37 h 222"/>
                <a:gd name="T56" fmla="*/ 212 w 223"/>
                <a:gd name="T57" fmla="*/ 56 h 222"/>
                <a:gd name="T58" fmla="*/ 205 w 223"/>
                <a:gd name="T59" fmla="*/ 79 h 222"/>
                <a:gd name="T60" fmla="*/ 200 w 223"/>
                <a:gd name="T61" fmla="*/ 99 h 222"/>
                <a:gd name="T62" fmla="*/ 216 w 223"/>
                <a:gd name="T63" fmla="*/ 161 h 222"/>
                <a:gd name="T64" fmla="*/ 194 w 223"/>
                <a:gd name="T65" fmla="*/ 180 h 222"/>
                <a:gd name="T66" fmla="*/ 193 w 223"/>
                <a:gd name="T67" fmla="*/ 189 h 222"/>
                <a:gd name="T68" fmla="*/ 190 w 223"/>
                <a:gd name="T69" fmla="*/ 204 h 222"/>
                <a:gd name="T70" fmla="*/ 203 w 223"/>
                <a:gd name="T71" fmla="*/ 211 h 222"/>
                <a:gd name="T72" fmla="*/ 205 w 223"/>
                <a:gd name="T73" fmla="*/ 222 h 222"/>
                <a:gd name="T74" fmla="*/ 197 w 223"/>
                <a:gd name="T75" fmla="*/ 222 h 222"/>
                <a:gd name="T76" fmla="*/ 181 w 223"/>
                <a:gd name="T77" fmla="*/ 210 h 222"/>
                <a:gd name="T78" fmla="*/ 174 w 223"/>
                <a:gd name="T79" fmla="*/ 201 h 222"/>
                <a:gd name="T80" fmla="*/ 166 w 223"/>
                <a:gd name="T81" fmla="*/ 205 h 222"/>
                <a:gd name="T82" fmla="*/ 154 w 223"/>
                <a:gd name="T83" fmla="*/ 203 h 222"/>
                <a:gd name="T84" fmla="*/ 150 w 223"/>
                <a:gd name="T85" fmla="*/ 197 h 222"/>
                <a:gd name="T86" fmla="*/ 143 w 223"/>
                <a:gd name="T87" fmla="*/ 199 h 222"/>
                <a:gd name="T88" fmla="*/ 137 w 223"/>
                <a:gd name="T89" fmla="*/ 195 h 222"/>
                <a:gd name="T90" fmla="*/ 128 w 223"/>
                <a:gd name="T91" fmla="*/ 197 h 222"/>
                <a:gd name="T92" fmla="*/ 120 w 223"/>
                <a:gd name="T93" fmla="*/ 196 h 222"/>
                <a:gd name="T94" fmla="*/ 118 w 223"/>
                <a:gd name="T95" fmla="*/ 192 h 222"/>
                <a:gd name="T96" fmla="*/ 116 w 223"/>
                <a:gd name="T97" fmla="*/ 184 h 222"/>
                <a:gd name="T98" fmla="*/ 113 w 223"/>
                <a:gd name="T99" fmla="*/ 177 h 222"/>
                <a:gd name="T100" fmla="*/ 113 w 223"/>
                <a:gd name="T101" fmla="*/ 166 h 222"/>
                <a:gd name="T102" fmla="*/ 112 w 223"/>
                <a:gd name="T103" fmla="*/ 157 h 222"/>
                <a:gd name="T104" fmla="*/ 99 w 223"/>
                <a:gd name="T105" fmla="*/ 148 h 222"/>
                <a:gd name="T106" fmla="*/ 84 w 223"/>
                <a:gd name="T107" fmla="*/ 150 h 222"/>
                <a:gd name="T108" fmla="*/ 72 w 223"/>
                <a:gd name="T109" fmla="*/ 159 h 222"/>
                <a:gd name="T110" fmla="*/ 60 w 223"/>
                <a:gd name="T111" fmla="*/ 154 h 222"/>
                <a:gd name="T112" fmla="*/ 56 w 223"/>
                <a:gd name="T113" fmla="*/ 144 h 222"/>
                <a:gd name="T114" fmla="*/ 53 w 223"/>
                <a:gd name="T115" fmla="*/ 136 h 222"/>
                <a:gd name="T116" fmla="*/ 24 w 223"/>
                <a:gd name="T117" fmla="*/ 133 h 222"/>
                <a:gd name="T118" fmla="*/ 11 w 223"/>
                <a:gd name="T119" fmla="*/ 133 h 222"/>
                <a:gd name="T120" fmla="*/ 5 w 223"/>
                <a:gd name="T121" fmla="*/ 13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3" h="222">
                  <a:moveTo>
                    <a:pt x="0" y="132"/>
                  </a:moveTo>
                  <a:lnTo>
                    <a:pt x="1" y="131"/>
                  </a:lnTo>
                  <a:lnTo>
                    <a:pt x="4" y="131"/>
                  </a:lnTo>
                  <a:lnTo>
                    <a:pt x="5" y="129"/>
                  </a:lnTo>
                  <a:lnTo>
                    <a:pt x="5" y="125"/>
                  </a:lnTo>
                  <a:lnTo>
                    <a:pt x="5" y="124"/>
                  </a:lnTo>
                  <a:lnTo>
                    <a:pt x="8" y="123"/>
                  </a:lnTo>
                  <a:lnTo>
                    <a:pt x="11" y="120"/>
                  </a:lnTo>
                  <a:lnTo>
                    <a:pt x="12" y="120"/>
                  </a:lnTo>
                  <a:lnTo>
                    <a:pt x="14" y="118"/>
                  </a:lnTo>
                  <a:lnTo>
                    <a:pt x="15" y="120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8" y="120"/>
                  </a:lnTo>
                  <a:lnTo>
                    <a:pt x="18" y="117"/>
                  </a:lnTo>
                  <a:lnTo>
                    <a:pt x="20" y="117"/>
                  </a:lnTo>
                  <a:lnTo>
                    <a:pt x="22" y="117"/>
                  </a:lnTo>
                  <a:lnTo>
                    <a:pt x="24" y="116"/>
                  </a:lnTo>
                  <a:lnTo>
                    <a:pt x="27" y="114"/>
                  </a:lnTo>
                  <a:lnTo>
                    <a:pt x="27" y="116"/>
                  </a:lnTo>
                  <a:lnTo>
                    <a:pt x="26" y="118"/>
                  </a:lnTo>
                  <a:lnTo>
                    <a:pt x="27" y="118"/>
                  </a:lnTo>
                  <a:lnTo>
                    <a:pt x="27" y="120"/>
                  </a:lnTo>
                  <a:lnTo>
                    <a:pt x="30" y="123"/>
                  </a:lnTo>
                  <a:lnTo>
                    <a:pt x="33" y="121"/>
                  </a:lnTo>
                  <a:lnTo>
                    <a:pt x="34" y="118"/>
                  </a:lnTo>
                  <a:lnTo>
                    <a:pt x="39" y="113"/>
                  </a:lnTo>
                  <a:lnTo>
                    <a:pt x="39" y="112"/>
                  </a:lnTo>
                  <a:lnTo>
                    <a:pt x="42" y="110"/>
                  </a:lnTo>
                  <a:lnTo>
                    <a:pt x="44" y="110"/>
                  </a:lnTo>
                  <a:lnTo>
                    <a:pt x="46" y="108"/>
                  </a:lnTo>
                  <a:lnTo>
                    <a:pt x="46" y="105"/>
                  </a:lnTo>
                  <a:lnTo>
                    <a:pt x="46" y="102"/>
                  </a:lnTo>
                  <a:lnTo>
                    <a:pt x="48" y="95"/>
                  </a:lnTo>
                  <a:lnTo>
                    <a:pt x="46" y="94"/>
                  </a:lnTo>
                  <a:lnTo>
                    <a:pt x="46" y="91"/>
                  </a:lnTo>
                  <a:lnTo>
                    <a:pt x="48" y="89"/>
                  </a:lnTo>
                  <a:lnTo>
                    <a:pt x="50" y="85"/>
                  </a:lnTo>
                  <a:lnTo>
                    <a:pt x="50" y="82"/>
                  </a:lnTo>
                  <a:lnTo>
                    <a:pt x="53" y="79"/>
                  </a:lnTo>
                  <a:lnTo>
                    <a:pt x="56" y="78"/>
                  </a:lnTo>
                  <a:lnTo>
                    <a:pt x="57" y="78"/>
                  </a:lnTo>
                  <a:lnTo>
                    <a:pt x="60" y="76"/>
                  </a:lnTo>
                  <a:lnTo>
                    <a:pt x="61" y="76"/>
                  </a:lnTo>
                  <a:lnTo>
                    <a:pt x="65" y="70"/>
                  </a:lnTo>
                  <a:lnTo>
                    <a:pt x="65" y="65"/>
                  </a:lnTo>
                  <a:lnTo>
                    <a:pt x="67" y="61"/>
                  </a:lnTo>
                  <a:lnTo>
                    <a:pt x="68" y="61"/>
                  </a:lnTo>
                  <a:lnTo>
                    <a:pt x="68" y="57"/>
                  </a:lnTo>
                  <a:lnTo>
                    <a:pt x="68" y="57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8" y="49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71" y="41"/>
                  </a:lnTo>
                  <a:lnTo>
                    <a:pt x="71" y="37"/>
                  </a:lnTo>
                  <a:lnTo>
                    <a:pt x="75" y="31"/>
                  </a:lnTo>
                  <a:lnTo>
                    <a:pt x="76" y="29"/>
                  </a:lnTo>
                  <a:lnTo>
                    <a:pt x="78" y="27"/>
                  </a:lnTo>
                  <a:lnTo>
                    <a:pt x="78" y="23"/>
                  </a:lnTo>
                  <a:lnTo>
                    <a:pt x="76" y="21"/>
                  </a:lnTo>
                  <a:lnTo>
                    <a:pt x="78" y="18"/>
                  </a:lnTo>
                  <a:lnTo>
                    <a:pt x="78" y="17"/>
                  </a:lnTo>
                  <a:lnTo>
                    <a:pt x="79" y="15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0"/>
                  </a:lnTo>
                  <a:lnTo>
                    <a:pt x="80" y="8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4" y="4"/>
                  </a:lnTo>
                  <a:lnTo>
                    <a:pt x="87" y="4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4" y="7"/>
                  </a:lnTo>
                  <a:lnTo>
                    <a:pt x="97" y="8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2" y="11"/>
                  </a:lnTo>
                  <a:lnTo>
                    <a:pt x="105" y="12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2" y="12"/>
                  </a:lnTo>
                  <a:lnTo>
                    <a:pt x="113" y="12"/>
                  </a:lnTo>
                  <a:lnTo>
                    <a:pt x="114" y="14"/>
                  </a:lnTo>
                  <a:lnTo>
                    <a:pt x="117" y="14"/>
                  </a:lnTo>
                  <a:lnTo>
                    <a:pt x="118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0" y="11"/>
                  </a:lnTo>
                  <a:lnTo>
                    <a:pt x="122" y="8"/>
                  </a:lnTo>
                  <a:lnTo>
                    <a:pt x="124" y="7"/>
                  </a:lnTo>
                  <a:lnTo>
                    <a:pt x="126" y="7"/>
                  </a:lnTo>
                  <a:lnTo>
                    <a:pt x="128" y="7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6" y="7"/>
                  </a:lnTo>
                  <a:lnTo>
                    <a:pt x="137" y="6"/>
                  </a:lnTo>
                  <a:lnTo>
                    <a:pt x="139" y="6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5" y="4"/>
                  </a:lnTo>
                  <a:lnTo>
                    <a:pt x="147" y="4"/>
                  </a:lnTo>
                  <a:lnTo>
                    <a:pt x="147" y="6"/>
                  </a:lnTo>
                  <a:lnTo>
                    <a:pt x="148" y="6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4" y="4"/>
                  </a:lnTo>
                  <a:lnTo>
                    <a:pt x="155" y="4"/>
                  </a:lnTo>
                  <a:lnTo>
                    <a:pt x="156" y="2"/>
                  </a:lnTo>
                  <a:lnTo>
                    <a:pt x="156" y="2"/>
                  </a:lnTo>
                  <a:lnTo>
                    <a:pt x="156" y="0"/>
                  </a:lnTo>
                  <a:lnTo>
                    <a:pt x="158" y="0"/>
                  </a:lnTo>
                  <a:lnTo>
                    <a:pt x="159" y="2"/>
                  </a:lnTo>
                  <a:lnTo>
                    <a:pt x="162" y="2"/>
                  </a:lnTo>
                  <a:lnTo>
                    <a:pt x="163" y="2"/>
                  </a:lnTo>
                  <a:lnTo>
                    <a:pt x="165" y="2"/>
                  </a:lnTo>
                  <a:lnTo>
                    <a:pt x="166" y="3"/>
                  </a:lnTo>
                  <a:lnTo>
                    <a:pt x="167" y="4"/>
                  </a:lnTo>
                  <a:lnTo>
                    <a:pt x="171" y="4"/>
                  </a:lnTo>
                  <a:lnTo>
                    <a:pt x="173" y="4"/>
                  </a:lnTo>
                  <a:lnTo>
                    <a:pt x="177" y="3"/>
                  </a:lnTo>
                  <a:lnTo>
                    <a:pt x="179" y="3"/>
                  </a:lnTo>
                  <a:lnTo>
                    <a:pt x="181" y="4"/>
                  </a:lnTo>
                  <a:lnTo>
                    <a:pt x="182" y="4"/>
                  </a:lnTo>
                  <a:lnTo>
                    <a:pt x="182" y="6"/>
                  </a:lnTo>
                  <a:lnTo>
                    <a:pt x="184" y="7"/>
                  </a:lnTo>
                  <a:lnTo>
                    <a:pt x="185" y="8"/>
                  </a:lnTo>
                  <a:lnTo>
                    <a:pt x="186" y="10"/>
                  </a:lnTo>
                  <a:lnTo>
                    <a:pt x="189" y="11"/>
                  </a:lnTo>
                  <a:lnTo>
                    <a:pt x="190" y="12"/>
                  </a:lnTo>
                  <a:lnTo>
                    <a:pt x="192" y="12"/>
                  </a:lnTo>
                  <a:lnTo>
                    <a:pt x="193" y="11"/>
                  </a:lnTo>
                  <a:lnTo>
                    <a:pt x="194" y="10"/>
                  </a:lnTo>
                  <a:lnTo>
                    <a:pt x="197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200" y="11"/>
                  </a:lnTo>
                  <a:lnTo>
                    <a:pt x="203" y="10"/>
                  </a:lnTo>
                  <a:lnTo>
                    <a:pt x="204" y="8"/>
                  </a:lnTo>
                  <a:lnTo>
                    <a:pt x="205" y="7"/>
                  </a:lnTo>
                  <a:lnTo>
                    <a:pt x="208" y="7"/>
                  </a:lnTo>
                  <a:lnTo>
                    <a:pt x="208" y="7"/>
                  </a:lnTo>
                  <a:lnTo>
                    <a:pt x="209" y="11"/>
                  </a:lnTo>
                  <a:lnTo>
                    <a:pt x="211" y="12"/>
                  </a:lnTo>
                  <a:lnTo>
                    <a:pt x="212" y="14"/>
                  </a:lnTo>
                  <a:lnTo>
                    <a:pt x="215" y="14"/>
                  </a:lnTo>
                  <a:lnTo>
                    <a:pt x="216" y="15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9" y="19"/>
                  </a:lnTo>
                  <a:lnTo>
                    <a:pt x="219" y="21"/>
                  </a:lnTo>
                  <a:lnTo>
                    <a:pt x="219" y="21"/>
                  </a:lnTo>
                  <a:lnTo>
                    <a:pt x="222" y="21"/>
                  </a:lnTo>
                  <a:lnTo>
                    <a:pt x="223" y="22"/>
                  </a:lnTo>
                  <a:lnTo>
                    <a:pt x="222" y="23"/>
                  </a:lnTo>
                  <a:lnTo>
                    <a:pt x="222" y="26"/>
                  </a:lnTo>
                  <a:lnTo>
                    <a:pt x="222" y="29"/>
                  </a:lnTo>
                  <a:lnTo>
                    <a:pt x="220" y="33"/>
                  </a:lnTo>
                  <a:lnTo>
                    <a:pt x="220" y="36"/>
                  </a:lnTo>
                  <a:lnTo>
                    <a:pt x="222" y="37"/>
                  </a:lnTo>
                  <a:lnTo>
                    <a:pt x="223" y="38"/>
                  </a:lnTo>
                  <a:lnTo>
                    <a:pt x="223" y="40"/>
                  </a:lnTo>
                  <a:lnTo>
                    <a:pt x="223" y="41"/>
                  </a:lnTo>
                  <a:lnTo>
                    <a:pt x="218" y="49"/>
                  </a:lnTo>
                  <a:lnTo>
                    <a:pt x="213" y="53"/>
                  </a:lnTo>
                  <a:lnTo>
                    <a:pt x="212" y="56"/>
                  </a:lnTo>
                  <a:lnTo>
                    <a:pt x="208" y="64"/>
                  </a:lnTo>
                  <a:lnTo>
                    <a:pt x="207" y="65"/>
                  </a:lnTo>
                  <a:lnTo>
                    <a:pt x="207" y="68"/>
                  </a:lnTo>
                  <a:lnTo>
                    <a:pt x="207" y="72"/>
                  </a:lnTo>
                  <a:lnTo>
                    <a:pt x="205" y="76"/>
                  </a:lnTo>
                  <a:lnTo>
                    <a:pt x="205" y="79"/>
                  </a:lnTo>
                  <a:lnTo>
                    <a:pt x="203" y="82"/>
                  </a:lnTo>
                  <a:lnTo>
                    <a:pt x="200" y="85"/>
                  </a:lnTo>
                  <a:lnTo>
                    <a:pt x="199" y="91"/>
                  </a:lnTo>
                  <a:lnTo>
                    <a:pt x="199" y="95"/>
                  </a:lnTo>
                  <a:lnTo>
                    <a:pt x="200" y="97"/>
                  </a:lnTo>
                  <a:lnTo>
                    <a:pt x="200" y="99"/>
                  </a:lnTo>
                  <a:lnTo>
                    <a:pt x="200" y="104"/>
                  </a:lnTo>
                  <a:lnTo>
                    <a:pt x="204" y="127"/>
                  </a:lnTo>
                  <a:lnTo>
                    <a:pt x="207" y="140"/>
                  </a:lnTo>
                  <a:lnTo>
                    <a:pt x="215" y="152"/>
                  </a:lnTo>
                  <a:lnTo>
                    <a:pt x="218" y="161"/>
                  </a:lnTo>
                  <a:lnTo>
                    <a:pt x="216" y="161"/>
                  </a:lnTo>
                  <a:lnTo>
                    <a:pt x="196" y="165"/>
                  </a:lnTo>
                  <a:lnTo>
                    <a:pt x="192" y="174"/>
                  </a:lnTo>
                  <a:lnTo>
                    <a:pt x="192" y="177"/>
                  </a:lnTo>
                  <a:lnTo>
                    <a:pt x="193" y="178"/>
                  </a:lnTo>
                  <a:lnTo>
                    <a:pt x="194" y="178"/>
                  </a:lnTo>
                  <a:lnTo>
                    <a:pt x="194" y="180"/>
                  </a:lnTo>
                  <a:lnTo>
                    <a:pt x="194" y="181"/>
                  </a:lnTo>
                  <a:lnTo>
                    <a:pt x="194" y="182"/>
                  </a:lnTo>
                  <a:lnTo>
                    <a:pt x="194" y="184"/>
                  </a:lnTo>
                  <a:lnTo>
                    <a:pt x="194" y="185"/>
                  </a:lnTo>
                  <a:lnTo>
                    <a:pt x="194" y="188"/>
                  </a:lnTo>
                  <a:lnTo>
                    <a:pt x="193" y="189"/>
                  </a:lnTo>
                  <a:lnTo>
                    <a:pt x="193" y="189"/>
                  </a:lnTo>
                  <a:lnTo>
                    <a:pt x="193" y="191"/>
                  </a:lnTo>
                  <a:lnTo>
                    <a:pt x="190" y="192"/>
                  </a:lnTo>
                  <a:lnTo>
                    <a:pt x="190" y="195"/>
                  </a:lnTo>
                  <a:lnTo>
                    <a:pt x="190" y="200"/>
                  </a:lnTo>
                  <a:lnTo>
                    <a:pt x="190" y="204"/>
                  </a:lnTo>
                  <a:lnTo>
                    <a:pt x="192" y="205"/>
                  </a:lnTo>
                  <a:lnTo>
                    <a:pt x="194" y="208"/>
                  </a:lnTo>
                  <a:lnTo>
                    <a:pt x="196" y="210"/>
                  </a:lnTo>
                  <a:lnTo>
                    <a:pt x="197" y="211"/>
                  </a:lnTo>
                  <a:lnTo>
                    <a:pt x="201" y="212"/>
                  </a:lnTo>
                  <a:lnTo>
                    <a:pt x="203" y="211"/>
                  </a:lnTo>
                  <a:lnTo>
                    <a:pt x="201" y="210"/>
                  </a:lnTo>
                  <a:lnTo>
                    <a:pt x="201" y="208"/>
                  </a:lnTo>
                  <a:lnTo>
                    <a:pt x="204" y="208"/>
                  </a:lnTo>
                  <a:lnTo>
                    <a:pt x="205" y="210"/>
                  </a:lnTo>
                  <a:lnTo>
                    <a:pt x="205" y="222"/>
                  </a:lnTo>
                  <a:lnTo>
                    <a:pt x="205" y="222"/>
                  </a:lnTo>
                  <a:lnTo>
                    <a:pt x="204" y="222"/>
                  </a:lnTo>
                  <a:lnTo>
                    <a:pt x="203" y="222"/>
                  </a:lnTo>
                  <a:lnTo>
                    <a:pt x="203" y="222"/>
                  </a:lnTo>
                  <a:lnTo>
                    <a:pt x="200" y="222"/>
                  </a:lnTo>
                  <a:lnTo>
                    <a:pt x="199" y="222"/>
                  </a:lnTo>
                  <a:lnTo>
                    <a:pt x="197" y="222"/>
                  </a:lnTo>
                  <a:lnTo>
                    <a:pt x="194" y="220"/>
                  </a:lnTo>
                  <a:lnTo>
                    <a:pt x="192" y="218"/>
                  </a:lnTo>
                  <a:lnTo>
                    <a:pt x="190" y="215"/>
                  </a:lnTo>
                  <a:lnTo>
                    <a:pt x="188" y="212"/>
                  </a:lnTo>
                  <a:lnTo>
                    <a:pt x="185" y="211"/>
                  </a:lnTo>
                  <a:lnTo>
                    <a:pt x="181" y="210"/>
                  </a:lnTo>
                  <a:lnTo>
                    <a:pt x="178" y="208"/>
                  </a:lnTo>
                  <a:lnTo>
                    <a:pt x="178" y="207"/>
                  </a:lnTo>
                  <a:lnTo>
                    <a:pt x="175" y="204"/>
                  </a:lnTo>
                  <a:lnTo>
                    <a:pt x="175" y="201"/>
                  </a:lnTo>
                  <a:lnTo>
                    <a:pt x="175" y="200"/>
                  </a:lnTo>
                  <a:lnTo>
                    <a:pt x="174" y="201"/>
                  </a:lnTo>
                  <a:lnTo>
                    <a:pt x="173" y="201"/>
                  </a:lnTo>
                  <a:lnTo>
                    <a:pt x="171" y="204"/>
                  </a:lnTo>
                  <a:lnTo>
                    <a:pt x="171" y="205"/>
                  </a:lnTo>
                  <a:lnTo>
                    <a:pt x="167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3" y="205"/>
                  </a:lnTo>
                  <a:lnTo>
                    <a:pt x="160" y="205"/>
                  </a:lnTo>
                  <a:lnTo>
                    <a:pt x="158" y="203"/>
                  </a:lnTo>
                  <a:lnTo>
                    <a:pt x="156" y="203"/>
                  </a:lnTo>
                  <a:lnTo>
                    <a:pt x="155" y="203"/>
                  </a:lnTo>
                  <a:lnTo>
                    <a:pt x="154" y="203"/>
                  </a:lnTo>
                  <a:lnTo>
                    <a:pt x="154" y="201"/>
                  </a:lnTo>
                  <a:lnTo>
                    <a:pt x="154" y="200"/>
                  </a:lnTo>
                  <a:lnTo>
                    <a:pt x="152" y="199"/>
                  </a:lnTo>
                  <a:lnTo>
                    <a:pt x="152" y="196"/>
                  </a:lnTo>
                  <a:lnTo>
                    <a:pt x="152" y="196"/>
                  </a:lnTo>
                  <a:lnTo>
                    <a:pt x="150" y="197"/>
                  </a:lnTo>
                  <a:lnTo>
                    <a:pt x="148" y="197"/>
                  </a:lnTo>
                  <a:lnTo>
                    <a:pt x="147" y="197"/>
                  </a:lnTo>
                  <a:lnTo>
                    <a:pt x="144" y="199"/>
                  </a:lnTo>
                  <a:lnTo>
                    <a:pt x="144" y="200"/>
                  </a:lnTo>
                  <a:lnTo>
                    <a:pt x="143" y="200"/>
                  </a:lnTo>
                  <a:lnTo>
                    <a:pt x="143" y="199"/>
                  </a:lnTo>
                  <a:lnTo>
                    <a:pt x="143" y="196"/>
                  </a:lnTo>
                  <a:lnTo>
                    <a:pt x="141" y="196"/>
                  </a:lnTo>
                  <a:lnTo>
                    <a:pt x="140" y="195"/>
                  </a:lnTo>
                  <a:lnTo>
                    <a:pt x="139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6" y="195"/>
                  </a:lnTo>
                  <a:lnTo>
                    <a:pt x="133" y="195"/>
                  </a:lnTo>
                  <a:lnTo>
                    <a:pt x="132" y="196"/>
                  </a:lnTo>
                  <a:lnTo>
                    <a:pt x="131" y="196"/>
                  </a:lnTo>
                  <a:lnTo>
                    <a:pt x="129" y="197"/>
                  </a:lnTo>
                  <a:lnTo>
                    <a:pt x="128" y="197"/>
                  </a:lnTo>
                  <a:lnTo>
                    <a:pt x="125" y="196"/>
                  </a:lnTo>
                  <a:lnTo>
                    <a:pt x="124" y="196"/>
                  </a:lnTo>
                  <a:lnTo>
                    <a:pt x="122" y="195"/>
                  </a:lnTo>
                  <a:lnTo>
                    <a:pt x="121" y="195"/>
                  </a:lnTo>
                  <a:lnTo>
                    <a:pt x="120" y="196"/>
                  </a:lnTo>
                  <a:lnTo>
                    <a:pt x="120" y="196"/>
                  </a:lnTo>
                  <a:lnTo>
                    <a:pt x="118" y="196"/>
                  </a:lnTo>
                  <a:lnTo>
                    <a:pt x="117" y="197"/>
                  </a:lnTo>
                  <a:lnTo>
                    <a:pt x="117" y="196"/>
                  </a:lnTo>
                  <a:lnTo>
                    <a:pt x="117" y="193"/>
                  </a:lnTo>
                  <a:lnTo>
                    <a:pt x="118" y="193"/>
                  </a:lnTo>
                  <a:lnTo>
                    <a:pt x="118" y="192"/>
                  </a:lnTo>
                  <a:lnTo>
                    <a:pt x="118" y="191"/>
                  </a:lnTo>
                  <a:lnTo>
                    <a:pt x="117" y="189"/>
                  </a:lnTo>
                  <a:lnTo>
                    <a:pt x="117" y="186"/>
                  </a:lnTo>
                  <a:lnTo>
                    <a:pt x="117" y="186"/>
                  </a:lnTo>
                  <a:lnTo>
                    <a:pt x="117" y="185"/>
                  </a:lnTo>
                  <a:lnTo>
                    <a:pt x="116" y="184"/>
                  </a:lnTo>
                  <a:lnTo>
                    <a:pt x="116" y="182"/>
                  </a:lnTo>
                  <a:lnTo>
                    <a:pt x="116" y="181"/>
                  </a:lnTo>
                  <a:lnTo>
                    <a:pt x="116" y="180"/>
                  </a:lnTo>
                  <a:lnTo>
                    <a:pt x="116" y="180"/>
                  </a:lnTo>
                  <a:lnTo>
                    <a:pt x="114" y="178"/>
                  </a:lnTo>
                  <a:lnTo>
                    <a:pt x="113" y="177"/>
                  </a:lnTo>
                  <a:lnTo>
                    <a:pt x="113" y="176"/>
                  </a:lnTo>
                  <a:lnTo>
                    <a:pt x="113" y="174"/>
                  </a:lnTo>
                  <a:lnTo>
                    <a:pt x="113" y="173"/>
                  </a:lnTo>
                  <a:lnTo>
                    <a:pt x="112" y="173"/>
                  </a:lnTo>
                  <a:lnTo>
                    <a:pt x="113" y="170"/>
                  </a:lnTo>
                  <a:lnTo>
                    <a:pt x="113" y="166"/>
                  </a:lnTo>
                  <a:lnTo>
                    <a:pt x="112" y="165"/>
                  </a:lnTo>
                  <a:lnTo>
                    <a:pt x="112" y="163"/>
                  </a:lnTo>
                  <a:lnTo>
                    <a:pt x="113" y="163"/>
                  </a:lnTo>
                  <a:lnTo>
                    <a:pt x="113" y="161"/>
                  </a:lnTo>
                  <a:lnTo>
                    <a:pt x="112" y="159"/>
                  </a:lnTo>
                  <a:lnTo>
                    <a:pt x="112" y="157"/>
                  </a:lnTo>
                  <a:lnTo>
                    <a:pt x="113" y="155"/>
                  </a:lnTo>
                  <a:lnTo>
                    <a:pt x="113" y="154"/>
                  </a:lnTo>
                  <a:lnTo>
                    <a:pt x="113" y="152"/>
                  </a:lnTo>
                  <a:lnTo>
                    <a:pt x="113" y="150"/>
                  </a:lnTo>
                  <a:lnTo>
                    <a:pt x="99" y="150"/>
                  </a:lnTo>
                  <a:lnTo>
                    <a:pt x="99" y="148"/>
                  </a:lnTo>
                  <a:lnTo>
                    <a:pt x="99" y="147"/>
                  </a:lnTo>
                  <a:lnTo>
                    <a:pt x="99" y="146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84" y="147"/>
                  </a:lnTo>
                  <a:lnTo>
                    <a:pt x="84" y="150"/>
                  </a:lnTo>
                  <a:lnTo>
                    <a:pt x="83" y="151"/>
                  </a:lnTo>
                  <a:lnTo>
                    <a:pt x="83" y="152"/>
                  </a:lnTo>
                  <a:lnTo>
                    <a:pt x="83" y="154"/>
                  </a:lnTo>
                  <a:lnTo>
                    <a:pt x="83" y="158"/>
                  </a:lnTo>
                  <a:lnTo>
                    <a:pt x="73" y="158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7" y="158"/>
                  </a:lnTo>
                  <a:lnTo>
                    <a:pt x="65" y="159"/>
                  </a:lnTo>
                  <a:lnTo>
                    <a:pt x="61" y="159"/>
                  </a:lnTo>
                  <a:lnTo>
                    <a:pt x="61" y="158"/>
                  </a:lnTo>
                  <a:lnTo>
                    <a:pt x="60" y="154"/>
                  </a:lnTo>
                  <a:lnTo>
                    <a:pt x="58" y="152"/>
                  </a:lnTo>
                  <a:lnTo>
                    <a:pt x="57" y="151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6" y="147"/>
                  </a:lnTo>
                  <a:lnTo>
                    <a:pt x="56" y="144"/>
                  </a:lnTo>
                  <a:lnTo>
                    <a:pt x="54" y="143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4" y="139"/>
                  </a:lnTo>
                  <a:lnTo>
                    <a:pt x="53" y="138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3" y="133"/>
                  </a:lnTo>
                  <a:lnTo>
                    <a:pt x="41" y="133"/>
                  </a:lnTo>
                  <a:lnTo>
                    <a:pt x="33" y="133"/>
                  </a:lnTo>
                  <a:lnTo>
                    <a:pt x="29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19" y="133"/>
                  </a:lnTo>
                  <a:lnTo>
                    <a:pt x="16" y="133"/>
                  </a:lnTo>
                  <a:lnTo>
                    <a:pt x="15" y="133"/>
                  </a:lnTo>
                  <a:lnTo>
                    <a:pt x="14" y="133"/>
                  </a:lnTo>
                  <a:lnTo>
                    <a:pt x="11" y="133"/>
                  </a:lnTo>
                  <a:lnTo>
                    <a:pt x="10" y="133"/>
                  </a:lnTo>
                  <a:lnTo>
                    <a:pt x="7" y="135"/>
                  </a:lnTo>
                  <a:lnTo>
                    <a:pt x="7" y="135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3" y="135"/>
                  </a:lnTo>
                  <a:lnTo>
                    <a:pt x="0" y="135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5" name="Freeform 125"/>
            <p:cNvSpPr>
              <a:spLocks/>
            </p:cNvSpPr>
            <p:nvPr/>
          </p:nvSpPr>
          <p:spPr bwMode="auto">
            <a:xfrm>
              <a:off x="2351" y="2112"/>
              <a:ext cx="36" cy="94"/>
            </a:xfrm>
            <a:custGeom>
              <a:avLst/>
              <a:gdLst>
                <a:gd name="T0" fmla="*/ 4 w 36"/>
                <a:gd name="T1" fmla="*/ 0 h 94"/>
                <a:gd name="T2" fmla="*/ 5 w 36"/>
                <a:gd name="T3" fmla="*/ 2 h 94"/>
                <a:gd name="T4" fmla="*/ 8 w 36"/>
                <a:gd name="T5" fmla="*/ 3 h 94"/>
                <a:gd name="T6" fmla="*/ 9 w 36"/>
                <a:gd name="T7" fmla="*/ 3 h 94"/>
                <a:gd name="T8" fmla="*/ 12 w 36"/>
                <a:gd name="T9" fmla="*/ 3 h 94"/>
                <a:gd name="T10" fmla="*/ 13 w 36"/>
                <a:gd name="T11" fmla="*/ 4 h 94"/>
                <a:gd name="T12" fmla="*/ 19 w 36"/>
                <a:gd name="T13" fmla="*/ 10 h 94"/>
                <a:gd name="T14" fmla="*/ 19 w 36"/>
                <a:gd name="T15" fmla="*/ 34 h 94"/>
                <a:gd name="T16" fmla="*/ 20 w 36"/>
                <a:gd name="T17" fmla="*/ 48 h 94"/>
                <a:gd name="T18" fmla="*/ 26 w 36"/>
                <a:gd name="T19" fmla="*/ 51 h 94"/>
                <a:gd name="T20" fmla="*/ 27 w 36"/>
                <a:gd name="T21" fmla="*/ 52 h 94"/>
                <a:gd name="T22" fmla="*/ 32 w 36"/>
                <a:gd name="T23" fmla="*/ 59 h 94"/>
                <a:gd name="T24" fmla="*/ 36 w 36"/>
                <a:gd name="T25" fmla="*/ 64 h 94"/>
                <a:gd name="T26" fmla="*/ 36 w 36"/>
                <a:gd name="T27" fmla="*/ 67 h 94"/>
                <a:gd name="T28" fmla="*/ 35 w 36"/>
                <a:gd name="T29" fmla="*/ 70 h 94"/>
                <a:gd name="T30" fmla="*/ 34 w 36"/>
                <a:gd name="T31" fmla="*/ 71 h 94"/>
                <a:gd name="T32" fmla="*/ 34 w 36"/>
                <a:gd name="T33" fmla="*/ 72 h 94"/>
                <a:gd name="T34" fmla="*/ 35 w 36"/>
                <a:gd name="T35" fmla="*/ 78 h 94"/>
                <a:gd name="T36" fmla="*/ 32 w 36"/>
                <a:gd name="T37" fmla="*/ 80 h 94"/>
                <a:gd name="T38" fmla="*/ 28 w 36"/>
                <a:gd name="T39" fmla="*/ 85 h 94"/>
                <a:gd name="T40" fmla="*/ 27 w 36"/>
                <a:gd name="T41" fmla="*/ 89 h 94"/>
                <a:gd name="T42" fmla="*/ 27 w 36"/>
                <a:gd name="T43" fmla="*/ 94 h 94"/>
                <a:gd name="T44" fmla="*/ 24 w 36"/>
                <a:gd name="T45" fmla="*/ 93 h 94"/>
                <a:gd name="T46" fmla="*/ 24 w 36"/>
                <a:gd name="T47" fmla="*/ 90 h 94"/>
                <a:gd name="T48" fmla="*/ 21 w 36"/>
                <a:gd name="T49" fmla="*/ 87 h 94"/>
                <a:gd name="T50" fmla="*/ 17 w 36"/>
                <a:gd name="T51" fmla="*/ 83 h 94"/>
                <a:gd name="T52" fmla="*/ 16 w 36"/>
                <a:gd name="T53" fmla="*/ 79 h 94"/>
                <a:gd name="T54" fmla="*/ 17 w 36"/>
                <a:gd name="T55" fmla="*/ 75 h 94"/>
                <a:gd name="T56" fmla="*/ 20 w 36"/>
                <a:gd name="T57" fmla="*/ 70 h 94"/>
                <a:gd name="T58" fmla="*/ 20 w 36"/>
                <a:gd name="T59" fmla="*/ 64 h 94"/>
                <a:gd name="T60" fmla="*/ 16 w 36"/>
                <a:gd name="T61" fmla="*/ 61 h 94"/>
                <a:gd name="T62" fmla="*/ 12 w 36"/>
                <a:gd name="T63" fmla="*/ 61 h 94"/>
                <a:gd name="T64" fmla="*/ 11 w 36"/>
                <a:gd name="T65" fmla="*/ 63 h 94"/>
                <a:gd name="T66" fmla="*/ 8 w 36"/>
                <a:gd name="T67" fmla="*/ 60 h 94"/>
                <a:gd name="T68" fmla="*/ 6 w 36"/>
                <a:gd name="T69" fmla="*/ 57 h 94"/>
                <a:gd name="T70" fmla="*/ 2 w 36"/>
                <a:gd name="T71" fmla="*/ 57 h 94"/>
                <a:gd name="T72" fmla="*/ 1 w 36"/>
                <a:gd name="T73" fmla="*/ 53 h 94"/>
                <a:gd name="T74" fmla="*/ 0 w 36"/>
                <a:gd name="T75" fmla="*/ 51 h 94"/>
                <a:gd name="T76" fmla="*/ 2 w 36"/>
                <a:gd name="T77" fmla="*/ 48 h 94"/>
                <a:gd name="T78" fmla="*/ 2 w 36"/>
                <a:gd name="T79" fmla="*/ 45 h 94"/>
                <a:gd name="T80" fmla="*/ 2 w 36"/>
                <a:gd name="T81" fmla="*/ 42 h 94"/>
                <a:gd name="T82" fmla="*/ 5 w 36"/>
                <a:gd name="T83" fmla="*/ 40 h 94"/>
                <a:gd name="T84" fmla="*/ 8 w 36"/>
                <a:gd name="T85" fmla="*/ 38 h 94"/>
                <a:gd name="T86" fmla="*/ 9 w 36"/>
                <a:gd name="T87" fmla="*/ 37 h 94"/>
                <a:gd name="T88" fmla="*/ 8 w 36"/>
                <a:gd name="T89" fmla="*/ 34 h 94"/>
                <a:gd name="T90" fmla="*/ 8 w 36"/>
                <a:gd name="T91" fmla="*/ 33 h 94"/>
                <a:gd name="T92" fmla="*/ 6 w 36"/>
                <a:gd name="T93" fmla="*/ 29 h 94"/>
                <a:gd name="T94" fmla="*/ 8 w 36"/>
                <a:gd name="T95" fmla="*/ 26 h 94"/>
                <a:gd name="T96" fmla="*/ 6 w 36"/>
                <a:gd name="T97" fmla="*/ 23 h 94"/>
                <a:gd name="T98" fmla="*/ 9 w 36"/>
                <a:gd name="T99" fmla="*/ 18 h 94"/>
                <a:gd name="T100" fmla="*/ 11 w 36"/>
                <a:gd name="T101" fmla="*/ 17 h 94"/>
                <a:gd name="T102" fmla="*/ 9 w 36"/>
                <a:gd name="T103" fmla="*/ 12 h 94"/>
                <a:gd name="T104" fmla="*/ 6 w 36"/>
                <a:gd name="T105" fmla="*/ 10 h 94"/>
                <a:gd name="T106" fmla="*/ 8 w 36"/>
                <a:gd name="T107" fmla="*/ 6 h 94"/>
                <a:gd name="T108" fmla="*/ 5 w 36"/>
                <a:gd name="T109" fmla="*/ 4 h 94"/>
                <a:gd name="T110" fmla="*/ 4 w 36"/>
                <a:gd name="T111" fmla="*/ 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" h="94">
                  <a:moveTo>
                    <a:pt x="4" y="0"/>
                  </a:moveTo>
                  <a:lnTo>
                    <a:pt x="4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6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5" y="6"/>
                  </a:lnTo>
                  <a:lnTo>
                    <a:pt x="19" y="10"/>
                  </a:lnTo>
                  <a:lnTo>
                    <a:pt x="19" y="15"/>
                  </a:lnTo>
                  <a:lnTo>
                    <a:pt x="19" y="34"/>
                  </a:lnTo>
                  <a:lnTo>
                    <a:pt x="19" y="37"/>
                  </a:lnTo>
                  <a:lnTo>
                    <a:pt x="20" y="48"/>
                  </a:lnTo>
                  <a:lnTo>
                    <a:pt x="24" y="49"/>
                  </a:lnTo>
                  <a:lnTo>
                    <a:pt x="26" y="51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6"/>
                  </a:lnTo>
                  <a:lnTo>
                    <a:pt x="32" y="59"/>
                  </a:lnTo>
                  <a:lnTo>
                    <a:pt x="35" y="61"/>
                  </a:lnTo>
                  <a:lnTo>
                    <a:pt x="36" y="64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5" y="68"/>
                  </a:lnTo>
                  <a:lnTo>
                    <a:pt x="35" y="70"/>
                  </a:lnTo>
                  <a:lnTo>
                    <a:pt x="34" y="70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5" y="74"/>
                  </a:lnTo>
                  <a:lnTo>
                    <a:pt x="35" y="78"/>
                  </a:lnTo>
                  <a:lnTo>
                    <a:pt x="34" y="79"/>
                  </a:lnTo>
                  <a:lnTo>
                    <a:pt x="32" y="80"/>
                  </a:lnTo>
                  <a:lnTo>
                    <a:pt x="30" y="82"/>
                  </a:lnTo>
                  <a:lnTo>
                    <a:pt x="28" y="85"/>
                  </a:lnTo>
                  <a:lnTo>
                    <a:pt x="28" y="87"/>
                  </a:lnTo>
                  <a:lnTo>
                    <a:pt x="27" y="89"/>
                  </a:lnTo>
                  <a:lnTo>
                    <a:pt x="28" y="91"/>
                  </a:lnTo>
                  <a:lnTo>
                    <a:pt x="27" y="94"/>
                  </a:lnTo>
                  <a:lnTo>
                    <a:pt x="26" y="94"/>
                  </a:lnTo>
                  <a:lnTo>
                    <a:pt x="24" y="93"/>
                  </a:lnTo>
                  <a:lnTo>
                    <a:pt x="26" y="91"/>
                  </a:lnTo>
                  <a:lnTo>
                    <a:pt x="24" y="90"/>
                  </a:lnTo>
                  <a:lnTo>
                    <a:pt x="23" y="89"/>
                  </a:lnTo>
                  <a:lnTo>
                    <a:pt x="21" y="87"/>
                  </a:lnTo>
                  <a:lnTo>
                    <a:pt x="19" y="86"/>
                  </a:lnTo>
                  <a:lnTo>
                    <a:pt x="17" y="83"/>
                  </a:lnTo>
                  <a:lnTo>
                    <a:pt x="16" y="82"/>
                  </a:lnTo>
                  <a:lnTo>
                    <a:pt x="16" y="79"/>
                  </a:lnTo>
                  <a:lnTo>
                    <a:pt x="16" y="76"/>
                  </a:lnTo>
                  <a:lnTo>
                    <a:pt x="17" y="75"/>
                  </a:lnTo>
                  <a:lnTo>
                    <a:pt x="17" y="72"/>
                  </a:lnTo>
                  <a:lnTo>
                    <a:pt x="20" y="70"/>
                  </a:lnTo>
                  <a:lnTo>
                    <a:pt x="20" y="67"/>
                  </a:lnTo>
                  <a:lnTo>
                    <a:pt x="20" y="64"/>
                  </a:lnTo>
                  <a:lnTo>
                    <a:pt x="19" y="61"/>
                  </a:lnTo>
                  <a:lnTo>
                    <a:pt x="16" y="61"/>
                  </a:lnTo>
                  <a:lnTo>
                    <a:pt x="13" y="61"/>
                  </a:lnTo>
                  <a:lnTo>
                    <a:pt x="12" y="61"/>
                  </a:lnTo>
                  <a:lnTo>
                    <a:pt x="11" y="61"/>
                  </a:lnTo>
                  <a:lnTo>
                    <a:pt x="11" y="63"/>
                  </a:lnTo>
                  <a:lnTo>
                    <a:pt x="8" y="61"/>
                  </a:lnTo>
                  <a:lnTo>
                    <a:pt x="8" y="60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2" y="57"/>
                  </a:lnTo>
                  <a:lnTo>
                    <a:pt x="2" y="56"/>
                  </a:lnTo>
                  <a:lnTo>
                    <a:pt x="1" y="53"/>
                  </a:lnTo>
                  <a:lnTo>
                    <a:pt x="0" y="52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5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6" y="33"/>
                  </a:lnTo>
                  <a:lnTo>
                    <a:pt x="8" y="33"/>
                  </a:lnTo>
                  <a:lnTo>
                    <a:pt x="8" y="31"/>
                  </a:lnTo>
                  <a:lnTo>
                    <a:pt x="6" y="29"/>
                  </a:lnTo>
                  <a:lnTo>
                    <a:pt x="8" y="27"/>
                  </a:lnTo>
                  <a:lnTo>
                    <a:pt x="8" y="26"/>
                  </a:lnTo>
                  <a:lnTo>
                    <a:pt x="6" y="25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7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8" y="7"/>
                  </a:lnTo>
                  <a:lnTo>
                    <a:pt x="8" y="6"/>
                  </a:lnTo>
                  <a:lnTo>
                    <a:pt x="6" y="6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6" name="Freeform 126"/>
            <p:cNvSpPr>
              <a:spLocks/>
            </p:cNvSpPr>
            <p:nvPr/>
          </p:nvSpPr>
          <p:spPr bwMode="auto">
            <a:xfrm>
              <a:off x="2222" y="2099"/>
              <a:ext cx="140" cy="118"/>
            </a:xfrm>
            <a:custGeom>
              <a:avLst/>
              <a:gdLst>
                <a:gd name="T0" fmla="*/ 29 w 140"/>
                <a:gd name="T1" fmla="*/ 35 h 118"/>
                <a:gd name="T2" fmla="*/ 32 w 140"/>
                <a:gd name="T3" fmla="*/ 39 h 118"/>
                <a:gd name="T4" fmla="*/ 38 w 140"/>
                <a:gd name="T5" fmla="*/ 36 h 118"/>
                <a:gd name="T6" fmla="*/ 42 w 140"/>
                <a:gd name="T7" fmla="*/ 39 h 118"/>
                <a:gd name="T8" fmla="*/ 44 w 140"/>
                <a:gd name="T9" fmla="*/ 42 h 118"/>
                <a:gd name="T10" fmla="*/ 54 w 140"/>
                <a:gd name="T11" fmla="*/ 44 h 118"/>
                <a:gd name="T12" fmla="*/ 59 w 140"/>
                <a:gd name="T13" fmla="*/ 43 h 118"/>
                <a:gd name="T14" fmla="*/ 63 w 140"/>
                <a:gd name="T15" fmla="*/ 40 h 118"/>
                <a:gd name="T16" fmla="*/ 69 w 140"/>
                <a:gd name="T17" fmla="*/ 49 h 118"/>
                <a:gd name="T18" fmla="*/ 80 w 140"/>
                <a:gd name="T19" fmla="*/ 57 h 118"/>
                <a:gd name="T20" fmla="*/ 88 w 140"/>
                <a:gd name="T21" fmla="*/ 61 h 118"/>
                <a:gd name="T22" fmla="*/ 93 w 140"/>
                <a:gd name="T23" fmla="*/ 61 h 118"/>
                <a:gd name="T24" fmla="*/ 89 w 140"/>
                <a:gd name="T25" fmla="*/ 47 h 118"/>
                <a:gd name="T26" fmla="*/ 85 w 140"/>
                <a:gd name="T27" fmla="*/ 50 h 118"/>
                <a:gd name="T28" fmla="*/ 78 w 140"/>
                <a:gd name="T29" fmla="*/ 43 h 118"/>
                <a:gd name="T30" fmla="*/ 81 w 140"/>
                <a:gd name="T31" fmla="*/ 30 h 118"/>
                <a:gd name="T32" fmla="*/ 82 w 140"/>
                <a:gd name="T33" fmla="*/ 24 h 118"/>
                <a:gd name="T34" fmla="*/ 82 w 140"/>
                <a:gd name="T35" fmla="*/ 19 h 118"/>
                <a:gd name="T36" fmla="*/ 80 w 140"/>
                <a:gd name="T37" fmla="*/ 13 h 118"/>
                <a:gd name="T38" fmla="*/ 111 w 140"/>
                <a:gd name="T39" fmla="*/ 2 h 118"/>
                <a:gd name="T40" fmla="*/ 115 w 140"/>
                <a:gd name="T41" fmla="*/ 5 h 118"/>
                <a:gd name="T42" fmla="*/ 126 w 140"/>
                <a:gd name="T43" fmla="*/ 8 h 118"/>
                <a:gd name="T44" fmla="*/ 131 w 140"/>
                <a:gd name="T45" fmla="*/ 13 h 118"/>
                <a:gd name="T46" fmla="*/ 134 w 140"/>
                <a:gd name="T47" fmla="*/ 17 h 118"/>
                <a:gd name="T48" fmla="*/ 135 w 140"/>
                <a:gd name="T49" fmla="*/ 23 h 118"/>
                <a:gd name="T50" fmla="*/ 140 w 140"/>
                <a:gd name="T51" fmla="*/ 30 h 118"/>
                <a:gd name="T52" fmla="*/ 135 w 140"/>
                <a:gd name="T53" fmla="*/ 36 h 118"/>
                <a:gd name="T54" fmla="*/ 135 w 140"/>
                <a:gd name="T55" fmla="*/ 42 h 118"/>
                <a:gd name="T56" fmla="*/ 137 w 140"/>
                <a:gd name="T57" fmla="*/ 47 h 118"/>
                <a:gd name="T58" fmla="*/ 137 w 140"/>
                <a:gd name="T59" fmla="*/ 51 h 118"/>
                <a:gd name="T60" fmla="*/ 131 w 140"/>
                <a:gd name="T61" fmla="*/ 55 h 118"/>
                <a:gd name="T62" fmla="*/ 131 w 140"/>
                <a:gd name="T63" fmla="*/ 61 h 118"/>
                <a:gd name="T64" fmla="*/ 130 w 140"/>
                <a:gd name="T65" fmla="*/ 66 h 118"/>
                <a:gd name="T66" fmla="*/ 129 w 140"/>
                <a:gd name="T67" fmla="*/ 72 h 118"/>
                <a:gd name="T68" fmla="*/ 104 w 140"/>
                <a:gd name="T69" fmla="*/ 80 h 118"/>
                <a:gd name="T70" fmla="*/ 100 w 140"/>
                <a:gd name="T71" fmla="*/ 88 h 118"/>
                <a:gd name="T72" fmla="*/ 95 w 140"/>
                <a:gd name="T73" fmla="*/ 88 h 118"/>
                <a:gd name="T74" fmla="*/ 88 w 140"/>
                <a:gd name="T75" fmla="*/ 89 h 118"/>
                <a:gd name="T76" fmla="*/ 81 w 140"/>
                <a:gd name="T77" fmla="*/ 95 h 118"/>
                <a:gd name="T78" fmla="*/ 80 w 140"/>
                <a:gd name="T79" fmla="*/ 99 h 118"/>
                <a:gd name="T80" fmla="*/ 61 w 140"/>
                <a:gd name="T81" fmla="*/ 117 h 118"/>
                <a:gd name="T82" fmla="*/ 53 w 140"/>
                <a:gd name="T83" fmla="*/ 115 h 118"/>
                <a:gd name="T84" fmla="*/ 48 w 140"/>
                <a:gd name="T85" fmla="*/ 115 h 118"/>
                <a:gd name="T86" fmla="*/ 42 w 140"/>
                <a:gd name="T87" fmla="*/ 114 h 118"/>
                <a:gd name="T88" fmla="*/ 35 w 140"/>
                <a:gd name="T89" fmla="*/ 111 h 118"/>
                <a:gd name="T90" fmla="*/ 32 w 140"/>
                <a:gd name="T91" fmla="*/ 111 h 118"/>
                <a:gd name="T92" fmla="*/ 16 w 140"/>
                <a:gd name="T93" fmla="*/ 112 h 118"/>
                <a:gd name="T94" fmla="*/ 12 w 140"/>
                <a:gd name="T95" fmla="*/ 107 h 118"/>
                <a:gd name="T96" fmla="*/ 5 w 140"/>
                <a:gd name="T97" fmla="*/ 102 h 118"/>
                <a:gd name="T98" fmla="*/ 0 w 140"/>
                <a:gd name="T99" fmla="*/ 96 h 118"/>
                <a:gd name="T100" fmla="*/ 25 w 140"/>
                <a:gd name="T101" fmla="*/ 53 h 118"/>
                <a:gd name="T102" fmla="*/ 25 w 140"/>
                <a:gd name="T103" fmla="*/ 44 h 118"/>
                <a:gd name="T104" fmla="*/ 25 w 140"/>
                <a:gd name="T105" fmla="*/ 3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0" h="118">
                  <a:moveTo>
                    <a:pt x="25" y="34"/>
                  </a:moveTo>
                  <a:lnTo>
                    <a:pt x="27" y="34"/>
                  </a:lnTo>
                  <a:lnTo>
                    <a:pt x="28" y="34"/>
                  </a:lnTo>
                  <a:lnTo>
                    <a:pt x="29" y="35"/>
                  </a:lnTo>
                  <a:lnTo>
                    <a:pt x="31" y="35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5" y="36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8"/>
                  </a:lnTo>
                  <a:lnTo>
                    <a:pt x="42" y="39"/>
                  </a:lnTo>
                  <a:lnTo>
                    <a:pt x="42" y="40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4" y="42"/>
                  </a:lnTo>
                  <a:lnTo>
                    <a:pt x="46" y="42"/>
                  </a:lnTo>
                  <a:lnTo>
                    <a:pt x="48" y="44"/>
                  </a:lnTo>
                  <a:lnTo>
                    <a:pt x="51" y="44"/>
                  </a:lnTo>
                  <a:lnTo>
                    <a:pt x="54" y="44"/>
                  </a:lnTo>
                  <a:lnTo>
                    <a:pt x="54" y="46"/>
                  </a:lnTo>
                  <a:lnTo>
                    <a:pt x="55" y="46"/>
                  </a:lnTo>
                  <a:lnTo>
                    <a:pt x="59" y="44"/>
                  </a:lnTo>
                  <a:lnTo>
                    <a:pt x="59" y="43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3" y="39"/>
                  </a:lnTo>
                  <a:lnTo>
                    <a:pt x="63" y="40"/>
                  </a:lnTo>
                  <a:lnTo>
                    <a:pt x="63" y="43"/>
                  </a:lnTo>
                  <a:lnTo>
                    <a:pt x="66" y="46"/>
                  </a:lnTo>
                  <a:lnTo>
                    <a:pt x="66" y="47"/>
                  </a:lnTo>
                  <a:lnTo>
                    <a:pt x="69" y="49"/>
                  </a:lnTo>
                  <a:lnTo>
                    <a:pt x="73" y="50"/>
                  </a:lnTo>
                  <a:lnTo>
                    <a:pt x="76" y="51"/>
                  </a:lnTo>
                  <a:lnTo>
                    <a:pt x="78" y="54"/>
                  </a:lnTo>
                  <a:lnTo>
                    <a:pt x="80" y="57"/>
                  </a:lnTo>
                  <a:lnTo>
                    <a:pt x="82" y="59"/>
                  </a:lnTo>
                  <a:lnTo>
                    <a:pt x="85" y="61"/>
                  </a:lnTo>
                  <a:lnTo>
                    <a:pt x="87" y="61"/>
                  </a:lnTo>
                  <a:lnTo>
                    <a:pt x="88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3" y="49"/>
                  </a:lnTo>
                  <a:lnTo>
                    <a:pt x="92" y="47"/>
                  </a:lnTo>
                  <a:lnTo>
                    <a:pt x="89" y="47"/>
                  </a:lnTo>
                  <a:lnTo>
                    <a:pt x="89" y="49"/>
                  </a:lnTo>
                  <a:lnTo>
                    <a:pt x="91" y="50"/>
                  </a:lnTo>
                  <a:lnTo>
                    <a:pt x="89" y="51"/>
                  </a:lnTo>
                  <a:lnTo>
                    <a:pt x="85" y="50"/>
                  </a:lnTo>
                  <a:lnTo>
                    <a:pt x="84" y="49"/>
                  </a:lnTo>
                  <a:lnTo>
                    <a:pt x="82" y="47"/>
                  </a:lnTo>
                  <a:lnTo>
                    <a:pt x="80" y="44"/>
                  </a:lnTo>
                  <a:lnTo>
                    <a:pt x="78" y="43"/>
                  </a:lnTo>
                  <a:lnTo>
                    <a:pt x="78" y="39"/>
                  </a:lnTo>
                  <a:lnTo>
                    <a:pt x="78" y="34"/>
                  </a:lnTo>
                  <a:lnTo>
                    <a:pt x="78" y="31"/>
                  </a:lnTo>
                  <a:lnTo>
                    <a:pt x="81" y="30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2" y="27"/>
                  </a:lnTo>
                  <a:lnTo>
                    <a:pt x="82" y="24"/>
                  </a:lnTo>
                  <a:lnTo>
                    <a:pt x="82" y="23"/>
                  </a:lnTo>
                  <a:lnTo>
                    <a:pt x="82" y="21"/>
                  </a:lnTo>
                  <a:lnTo>
                    <a:pt x="82" y="20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1" y="17"/>
                  </a:lnTo>
                  <a:lnTo>
                    <a:pt x="80" y="16"/>
                  </a:lnTo>
                  <a:lnTo>
                    <a:pt x="80" y="13"/>
                  </a:lnTo>
                  <a:lnTo>
                    <a:pt x="84" y="4"/>
                  </a:lnTo>
                  <a:lnTo>
                    <a:pt x="104" y="0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5" y="4"/>
                  </a:lnTo>
                  <a:lnTo>
                    <a:pt x="115" y="5"/>
                  </a:lnTo>
                  <a:lnTo>
                    <a:pt x="116" y="6"/>
                  </a:lnTo>
                  <a:lnTo>
                    <a:pt x="119" y="6"/>
                  </a:lnTo>
                  <a:lnTo>
                    <a:pt x="125" y="8"/>
                  </a:lnTo>
                  <a:lnTo>
                    <a:pt x="126" y="8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11"/>
                  </a:lnTo>
                  <a:lnTo>
                    <a:pt x="131" y="13"/>
                  </a:lnTo>
                  <a:lnTo>
                    <a:pt x="133" y="13"/>
                  </a:lnTo>
                  <a:lnTo>
                    <a:pt x="133" y="16"/>
                  </a:lnTo>
                  <a:lnTo>
                    <a:pt x="134" y="16"/>
                  </a:lnTo>
                  <a:lnTo>
                    <a:pt x="134" y="17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7" y="20"/>
                  </a:lnTo>
                  <a:lnTo>
                    <a:pt x="135" y="23"/>
                  </a:lnTo>
                  <a:lnTo>
                    <a:pt x="135" y="24"/>
                  </a:lnTo>
                  <a:lnTo>
                    <a:pt x="138" y="25"/>
                  </a:lnTo>
                  <a:lnTo>
                    <a:pt x="138" y="27"/>
                  </a:lnTo>
                  <a:lnTo>
                    <a:pt x="140" y="30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5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39"/>
                  </a:lnTo>
                  <a:lnTo>
                    <a:pt x="137" y="40"/>
                  </a:lnTo>
                  <a:lnTo>
                    <a:pt x="135" y="42"/>
                  </a:lnTo>
                  <a:lnTo>
                    <a:pt x="137" y="44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7" y="47"/>
                  </a:lnTo>
                  <a:lnTo>
                    <a:pt x="137" y="49"/>
                  </a:lnTo>
                  <a:lnTo>
                    <a:pt x="138" y="50"/>
                  </a:lnTo>
                  <a:lnTo>
                    <a:pt x="138" y="50"/>
                  </a:lnTo>
                  <a:lnTo>
                    <a:pt x="137" y="51"/>
                  </a:lnTo>
                  <a:lnTo>
                    <a:pt x="137" y="51"/>
                  </a:lnTo>
                  <a:lnTo>
                    <a:pt x="134" y="53"/>
                  </a:lnTo>
                  <a:lnTo>
                    <a:pt x="131" y="54"/>
                  </a:lnTo>
                  <a:lnTo>
                    <a:pt x="131" y="55"/>
                  </a:lnTo>
                  <a:lnTo>
                    <a:pt x="131" y="57"/>
                  </a:lnTo>
                  <a:lnTo>
                    <a:pt x="131" y="58"/>
                  </a:lnTo>
                  <a:lnTo>
                    <a:pt x="131" y="59"/>
                  </a:lnTo>
                  <a:lnTo>
                    <a:pt x="131" y="61"/>
                  </a:lnTo>
                  <a:lnTo>
                    <a:pt x="130" y="64"/>
                  </a:lnTo>
                  <a:lnTo>
                    <a:pt x="129" y="64"/>
                  </a:lnTo>
                  <a:lnTo>
                    <a:pt x="129" y="65"/>
                  </a:lnTo>
                  <a:lnTo>
                    <a:pt x="130" y="66"/>
                  </a:lnTo>
                  <a:lnTo>
                    <a:pt x="131" y="69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29" y="72"/>
                  </a:lnTo>
                  <a:lnTo>
                    <a:pt x="121" y="74"/>
                  </a:lnTo>
                  <a:lnTo>
                    <a:pt x="119" y="74"/>
                  </a:lnTo>
                  <a:lnTo>
                    <a:pt x="107" y="80"/>
                  </a:lnTo>
                  <a:lnTo>
                    <a:pt x="104" y="80"/>
                  </a:lnTo>
                  <a:lnTo>
                    <a:pt x="100" y="81"/>
                  </a:lnTo>
                  <a:lnTo>
                    <a:pt x="99" y="84"/>
                  </a:lnTo>
                  <a:lnTo>
                    <a:pt x="100" y="87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5" y="88"/>
                  </a:lnTo>
                  <a:lnTo>
                    <a:pt x="95" y="88"/>
                  </a:lnTo>
                  <a:lnTo>
                    <a:pt x="92" y="88"/>
                  </a:lnTo>
                  <a:lnTo>
                    <a:pt x="89" y="88"/>
                  </a:lnTo>
                  <a:lnTo>
                    <a:pt x="88" y="89"/>
                  </a:lnTo>
                  <a:lnTo>
                    <a:pt x="85" y="89"/>
                  </a:lnTo>
                  <a:lnTo>
                    <a:pt x="82" y="92"/>
                  </a:lnTo>
                  <a:lnTo>
                    <a:pt x="81" y="93"/>
                  </a:lnTo>
                  <a:lnTo>
                    <a:pt x="81" y="95"/>
                  </a:lnTo>
                  <a:lnTo>
                    <a:pt x="81" y="96"/>
                  </a:lnTo>
                  <a:lnTo>
                    <a:pt x="81" y="96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6" y="100"/>
                  </a:lnTo>
                  <a:lnTo>
                    <a:pt x="69" y="104"/>
                  </a:lnTo>
                  <a:lnTo>
                    <a:pt x="63" y="111"/>
                  </a:lnTo>
                  <a:lnTo>
                    <a:pt x="61" y="117"/>
                  </a:lnTo>
                  <a:lnTo>
                    <a:pt x="57" y="118"/>
                  </a:lnTo>
                  <a:lnTo>
                    <a:pt x="55" y="117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1" y="115"/>
                  </a:lnTo>
                  <a:lnTo>
                    <a:pt x="50" y="114"/>
                  </a:lnTo>
                  <a:lnTo>
                    <a:pt x="48" y="115"/>
                  </a:lnTo>
                  <a:lnTo>
                    <a:pt x="46" y="117"/>
                  </a:lnTo>
                  <a:lnTo>
                    <a:pt x="44" y="117"/>
                  </a:lnTo>
                  <a:lnTo>
                    <a:pt x="43" y="115"/>
                  </a:lnTo>
                  <a:lnTo>
                    <a:pt x="42" y="114"/>
                  </a:lnTo>
                  <a:lnTo>
                    <a:pt x="39" y="114"/>
                  </a:lnTo>
                  <a:lnTo>
                    <a:pt x="38" y="114"/>
                  </a:lnTo>
                  <a:lnTo>
                    <a:pt x="36" y="111"/>
                  </a:lnTo>
                  <a:lnTo>
                    <a:pt x="35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31" y="110"/>
                  </a:lnTo>
                  <a:lnTo>
                    <a:pt x="28" y="111"/>
                  </a:lnTo>
                  <a:lnTo>
                    <a:pt x="27" y="111"/>
                  </a:lnTo>
                  <a:lnTo>
                    <a:pt x="16" y="112"/>
                  </a:lnTo>
                  <a:lnTo>
                    <a:pt x="16" y="111"/>
                  </a:lnTo>
                  <a:lnTo>
                    <a:pt x="14" y="111"/>
                  </a:lnTo>
                  <a:lnTo>
                    <a:pt x="13" y="108"/>
                  </a:lnTo>
                  <a:lnTo>
                    <a:pt x="12" y="107"/>
                  </a:lnTo>
                  <a:lnTo>
                    <a:pt x="10" y="107"/>
                  </a:lnTo>
                  <a:lnTo>
                    <a:pt x="9" y="106"/>
                  </a:lnTo>
                  <a:lnTo>
                    <a:pt x="6" y="103"/>
                  </a:lnTo>
                  <a:lnTo>
                    <a:pt x="5" y="102"/>
                  </a:lnTo>
                  <a:lnTo>
                    <a:pt x="4" y="100"/>
                  </a:lnTo>
                  <a:lnTo>
                    <a:pt x="2" y="99"/>
                  </a:lnTo>
                  <a:lnTo>
                    <a:pt x="1" y="98"/>
                  </a:lnTo>
                  <a:lnTo>
                    <a:pt x="0" y="96"/>
                  </a:lnTo>
                  <a:lnTo>
                    <a:pt x="1" y="57"/>
                  </a:lnTo>
                  <a:lnTo>
                    <a:pt x="27" y="57"/>
                  </a:lnTo>
                  <a:lnTo>
                    <a:pt x="25" y="55"/>
                  </a:lnTo>
                  <a:lnTo>
                    <a:pt x="25" y="53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5" y="47"/>
                  </a:lnTo>
                  <a:lnTo>
                    <a:pt x="25" y="44"/>
                  </a:lnTo>
                  <a:lnTo>
                    <a:pt x="25" y="40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7" name="Freeform 127"/>
            <p:cNvSpPr>
              <a:spLocks/>
            </p:cNvSpPr>
            <p:nvPr/>
          </p:nvSpPr>
          <p:spPr bwMode="auto">
            <a:xfrm>
              <a:off x="2102" y="2071"/>
              <a:ext cx="147" cy="146"/>
            </a:xfrm>
            <a:custGeom>
              <a:avLst/>
              <a:gdLst>
                <a:gd name="T0" fmla="*/ 133 w 147"/>
                <a:gd name="T1" fmla="*/ 136 h 146"/>
                <a:gd name="T2" fmla="*/ 126 w 147"/>
                <a:gd name="T3" fmla="*/ 131 h 146"/>
                <a:gd name="T4" fmla="*/ 121 w 147"/>
                <a:gd name="T5" fmla="*/ 126 h 146"/>
                <a:gd name="T6" fmla="*/ 145 w 147"/>
                <a:gd name="T7" fmla="*/ 83 h 146"/>
                <a:gd name="T8" fmla="*/ 145 w 147"/>
                <a:gd name="T9" fmla="*/ 75 h 146"/>
                <a:gd name="T10" fmla="*/ 145 w 147"/>
                <a:gd name="T11" fmla="*/ 63 h 146"/>
                <a:gd name="T12" fmla="*/ 141 w 147"/>
                <a:gd name="T13" fmla="*/ 62 h 146"/>
                <a:gd name="T14" fmla="*/ 136 w 147"/>
                <a:gd name="T15" fmla="*/ 64 h 146"/>
                <a:gd name="T16" fmla="*/ 129 w 147"/>
                <a:gd name="T17" fmla="*/ 62 h 146"/>
                <a:gd name="T18" fmla="*/ 125 w 147"/>
                <a:gd name="T19" fmla="*/ 64 h 146"/>
                <a:gd name="T20" fmla="*/ 126 w 147"/>
                <a:gd name="T21" fmla="*/ 59 h 146"/>
                <a:gd name="T22" fmla="*/ 125 w 147"/>
                <a:gd name="T23" fmla="*/ 53 h 146"/>
                <a:gd name="T24" fmla="*/ 124 w 147"/>
                <a:gd name="T25" fmla="*/ 48 h 146"/>
                <a:gd name="T26" fmla="*/ 121 w 147"/>
                <a:gd name="T27" fmla="*/ 44 h 146"/>
                <a:gd name="T28" fmla="*/ 120 w 147"/>
                <a:gd name="T29" fmla="*/ 40 h 146"/>
                <a:gd name="T30" fmla="*/ 120 w 147"/>
                <a:gd name="T31" fmla="*/ 30 h 146"/>
                <a:gd name="T32" fmla="*/ 120 w 147"/>
                <a:gd name="T33" fmla="*/ 24 h 146"/>
                <a:gd name="T34" fmla="*/ 121 w 147"/>
                <a:gd name="T35" fmla="*/ 17 h 146"/>
                <a:gd name="T36" fmla="*/ 107 w 147"/>
                <a:gd name="T37" fmla="*/ 13 h 146"/>
                <a:gd name="T38" fmla="*/ 92 w 147"/>
                <a:gd name="T39" fmla="*/ 17 h 146"/>
                <a:gd name="T40" fmla="*/ 91 w 147"/>
                <a:gd name="T41" fmla="*/ 25 h 146"/>
                <a:gd name="T42" fmla="*/ 75 w 147"/>
                <a:gd name="T43" fmla="*/ 25 h 146"/>
                <a:gd name="T44" fmla="*/ 68 w 147"/>
                <a:gd name="T45" fmla="*/ 21 h 146"/>
                <a:gd name="T46" fmla="*/ 64 w 147"/>
                <a:gd name="T47" fmla="*/ 15 h 146"/>
                <a:gd name="T48" fmla="*/ 62 w 147"/>
                <a:gd name="T49" fmla="*/ 7 h 146"/>
                <a:gd name="T50" fmla="*/ 61 w 147"/>
                <a:gd name="T51" fmla="*/ 3 h 146"/>
                <a:gd name="T52" fmla="*/ 41 w 147"/>
                <a:gd name="T53" fmla="*/ 0 h 146"/>
                <a:gd name="T54" fmla="*/ 27 w 147"/>
                <a:gd name="T55" fmla="*/ 0 h 146"/>
                <a:gd name="T56" fmla="*/ 19 w 147"/>
                <a:gd name="T57" fmla="*/ 0 h 146"/>
                <a:gd name="T58" fmla="*/ 13 w 147"/>
                <a:gd name="T59" fmla="*/ 2 h 146"/>
                <a:gd name="T60" fmla="*/ 9 w 147"/>
                <a:gd name="T61" fmla="*/ 5 h 146"/>
                <a:gd name="T62" fmla="*/ 18 w 147"/>
                <a:gd name="T63" fmla="*/ 24 h 146"/>
                <a:gd name="T64" fmla="*/ 19 w 147"/>
                <a:gd name="T65" fmla="*/ 39 h 146"/>
                <a:gd name="T66" fmla="*/ 24 w 147"/>
                <a:gd name="T67" fmla="*/ 56 h 146"/>
                <a:gd name="T68" fmla="*/ 22 w 147"/>
                <a:gd name="T69" fmla="*/ 79 h 146"/>
                <a:gd name="T70" fmla="*/ 8 w 147"/>
                <a:gd name="T71" fmla="*/ 92 h 146"/>
                <a:gd name="T72" fmla="*/ 4 w 147"/>
                <a:gd name="T73" fmla="*/ 109 h 146"/>
                <a:gd name="T74" fmla="*/ 0 w 147"/>
                <a:gd name="T75" fmla="*/ 126 h 146"/>
                <a:gd name="T76" fmla="*/ 0 w 147"/>
                <a:gd name="T77" fmla="*/ 136 h 146"/>
                <a:gd name="T78" fmla="*/ 4 w 147"/>
                <a:gd name="T79" fmla="*/ 135 h 146"/>
                <a:gd name="T80" fmla="*/ 9 w 147"/>
                <a:gd name="T81" fmla="*/ 135 h 146"/>
                <a:gd name="T82" fmla="*/ 18 w 147"/>
                <a:gd name="T83" fmla="*/ 132 h 146"/>
                <a:gd name="T84" fmla="*/ 20 w 147"/>
                <a:gd name="T85" fmla="*/ 132 h 146"/>
                <a:gd name="T86" fmla="*/ 23 w 147"/>
                <a:gd name="T87" fmla="*/ 135 h 146"/>
                <a:gd name="T88" fmla="*/ 30 w 147"/>
                <a:gd name="T89" fmla="*/ 138 h 146"/>
                <a:gd name="T90" fmla="*/ 77 w 147"/>
                <a:gd name="T91" fmla="*/ 136 h 146"/>
                <a:gd name="T92" fmla="*/ 83 w 147"/>
                <a:gd name="T93" fmla="*/ 142 h 146"/>
                <a:gd name="T94" fmla="*/ 88 w 147"/>
                <a:gd name="T95" fmla="*/ 143 h 146"/>
                <a:gd name="T96" fmla="*/ 96 w 147"/>
                <a:gd name="T97" fmla="*/ 143 h 146"/>
                <a:gd name="T98" fmla="*/ 100 w 147"/>
                <a:gd name="T99" fmla="*/ 142 h 146"/>
                <a:gd name="T100" fmla="*/ 109 w 147"/>
                <a:gd name="T101" fmla="*/ 145 h 146"/>
                <a:gd name="T102" fmla="*/ 111 w 147"/>
                <a:gd name="T103" fmla="*/ 145 h 146"/>
                <a:gd name="T104" fmla="*/ 115 w 147"/>
                <a:gd name="T105" fmla="*/ 146 h 146"/>
                <a:gd name="T106" fmla="*/ 136 w 147"/>
                <a:gd name="T107" fmla="*/ 14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7" h="146">
                  <a:moveTo>
                    <a:pt x="136" y="140"/>
                  </a:moveTo>
                  <a:lnTo>
                    <a:pt x="136" y="139"/>
                  </a:lnTo>
                  <a:lnTo>
                    <a:pt x="134" y="139"/>
                  </a:lnTo>
                  <a:lnTo>
                    <a:pt x="133" y="136"/>
                  </a:lnTo>
                  <a:lnTo>
                    <a:pt x="132" y="135"/>
                  </a:lnTo>
                  <a:lnTo>
                    <a:pt x="130" y="135"/>
                  </a:lnTo>
                  <a:lnTo>
                    <a:pt x="129" y="134"/>
                  </a:lnTo>
                  <a:lnTo>
                    <a:pt x="126" y="131"/>
                  </a:lnTo>
                  <a:lnTo>
                    <a:pt x="125" y="130"/>
                  </a:lnTo>
                  <a:lnTo>
                    <a:pt x="124" y="128"/>
                  </a:lnTo>
                  <a:lnTo>
                    <a:pt x="122" y="127"/>
                  </a:lnTo>
                  <a:lnTo>
                    <a:pt x="121" y="126"/>
                  </a:lnTo>
                  <a:lnTo>
                    <a:pt x="120" y="124"/>
                  </a:lnTo>
                  <a:lnTo>
                    <a:pt x="121" y="85"/>
                  </a:lnTo>
                  <a:lnTo>
                    <a:pt x="147" y="85"/>
                  </a:lnTo>
                  <a:lnTo>
                    <a:pt x="145" y="83"/>
                  </a:lnTo>
                  <a:lnTo>
                    <a:pt x="145" y="81"/>
                  </a:lnTo>
                  <a:lnTo>
                    <a:pt x="147" y="79"/>
                  </a:lnTo>
                  <a:lnTo>
                    <a:pt x="147" y="78"/>
                  </a:lnTo>
                  <a:lnTo>
                    <a:pt x="145" y="75"/>
                  </a:lnTo>
                  <a:lnTo>
                    <a:pt x="145" y="72"/>
                  </a:lnTo>
                  <a:lnTo>
                    <a:pt x="145" y="68"/>
                  </a:lnTo>
                  <a:lnTo>
                    <a:pt x="145" y="64"/>
                  </a:lnTo>
                  <a:lnTo>
                    <a:pt x="145" y="63"/>
                  </a:lnTo>
                  <a:lnTo>
                    <a:pt x="145" y="62"/>
                  </a:lnTo>
                  <a:lnTo>
                    <a:pt x="145" y="62"/>
                  </a:lnTo>
                  <a:lnTo>
                    <a:pt x="144" y="62"/>
                  </a:lnTo>
                  <a:lnTo>
                    <a:pt x="141" y="62"/>
                  </a:lnTo>
                  <a:lnTo>
                    <a:pt x="140" y="63"/>
                  </a:lnTo>
                  <a:lnTo>
                    <a:pt x="139" y="63"/>
                  </a:lnTo>
                  <a:lnTo>
                    <a:pt x="137" y="64"/>
                  </a:lnTo>
                  <a:lnTo>
                    <a:pt x="136" y="64"/>
                  </a:lnTo>
                  <a:lnTo>
                    <a:pt x="133" y="63"/>
                  </a:lnTo>
                  <a:lnTo>
                    <a:pt x="132" y="63"/>
                  </a:lnTo>
                  <a:lnTo>
                    <a:pt x="130" y="62"/>
                  </a:lnTo>
                  <a:lnTo>
                    <a:pt x="129" y="62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6" y="63"/>
                  </a:lnTo>
                  <a:lnTo>
                    <a:pt x="125" y="64"/>
                  </a:lnTo>
                  <a:lnTo>
                    <a:pt x="125" y="63"/>
                  </a:lnTo>
                  <a:lnTo>
                    <a:pt x="125" y="60"/>
                  </a:lnTo>
                  <a:lnTo>
                    <a:pt x="126" y="60"/>
                  </a:lnTo>
                  <a:lnTo>
                    <a:pt x="126" y="59"/>
                  </a:lnTo>
                  <a:lnTo>
                    <a:pt x="126" y="58"/>
                  </a:lnTo>
                  <a:lnTo>
                    <a:pt x="125" y="56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5" y="52"/>
                  </a:lnTo>
                  <a:lnTo>
                    <a:pt x="124" y="51"/>
                  </a:lnTo>
                  <a:lnTo>
                    <a:pt x="124" y="49"/>
                  </a:lnTo>
                  <a:lnTo>
                    <a:pt x="124" y="48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2" y="45"/>
                  </a:lnTo>
                  <a:lnTo>
                    <a:pt x="121" y="44"/>
                  </a:lnTo>
                  <a:lnTo>
                    <a:pt x="121" y="43"/>
                  </a:lnTo>
                  <a:lnTo>
                    <a:pt x="121" y="41"/>
                  </a:lnTo>
                  <a:lnTo>
                    <a:pt x="121" y="40"/>
                  </a:lnTo>
                  <a:lnTo>
                    <a:pt x="120" y="40"/>
                  </a:lnTo>
                  <a:lnTo>
                    <a:pt x="121" y="37"/>
                  </a:lnTo>
                  <a:lnTo>
                    <a:pt x="121" y="33"/>
                  </a:lnTo>
                  <a:lnTo>
                    <a:pt x="120" y="32"/>
                  </a:lnTo>
                  <a:lnTo>
                    <a:pt x="120" y="30"/>
                  </a:lnTo>
                  <a:lnTo>
                    <a:pt x="121" y="30"/>
                  </a:lnTo>
                  <a:lnTo>
                    <a:pt x="121" y="28"/>
                  </a:lnTo>
                  <a:lnTo>
                    <a:pt x="120" y="26"/>
                  </a:lnTo>
                  <a:lnTo>
                    <a:pt x="120" y="24"/>
                  </a:lnTo>
                  <a:lnTo>
                    <a:pt x="121" y="22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07" y="17"/>
                  </a:lnTo>
                  <a:lnTo>
                    <a:pt x="107" y="15"/>
                  </a:lnTo>
                  <a:lnTo>
                    <a:pt x="107" y="14"/>
                  </a:lnTo>
                  <a:lnTo>
                    <a:pt x="107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92" y="14"/>
                  </a:lnTo>
                  <a:lnTo>
                    <a:pt x="92" y="17"/>
                  </a:lnTo>
                  <a:lnTo>
                    <a:pt x="91" y="18"/>
                  </a:lnTo>
                  <a:lnTo>
                    <a:pt x="91" y="19"/>
                  </a:lnTo>
                  <a:lnTo>
                    <a:pt x="91" y="21"/>
                  </a:lnTo>
                  <a:lnTo>
                    <a:pt x="91" y="25"/>
                  </a:lnTo>
                  <a:lnTo>
                    <a:pt x="81" y="25"/>
                  </a:lnTo>
                  <a:lnTo>
                    <a:pt x="80" y="26"/>
                  </a:lnTo>
                  <a:lnTo>
                    <a:pt x="76" y="26"/>
                  </a:lnTo>
                  <a:lnTo>
                    <a:pt x="75" y="25"/>
                  </a:lnTo>
                  <a:lnTo>
                    <a:pt x="73" y="26"/>
                  </a:lnTo>
                  <a:lnTo>
                    <a:pt x="69" y="26"/>
                  </a:lnTo>
                  <a:lnTo>
                    <a:pt x="69" y="25"/>
                  </a:lnTo>
                  <a:lnTo>
                    <a:pt x="68" y="21"/>
                  </a:lnTo>
                  <a:lnTo>
                    <a:pt x="66" y="19"/>
                  </a:lnTo>
                  <a:lnTo>
                    <a:pt x="65" y="18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4"/>
                  </a:lnTo>
                  <a:lnTo>
                    <a:pt x="64" y="11"/>
                  </a:lnTo>
                  <a:lnTo>
                    <a:pt x="62" y="10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2" y="6"/>
                  </a:lnTo>
                  <a:lnTo>
                    <a:pt x="61" y="5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9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8" y="14"/>
                  </a:lnTo>
                  <a:lnTo>
                    <a:pt x="18" y="24"/>
                  </a:lnTo>
                  <a:lnTo>
                    <a:pt x="20" y="29"/>
                  </a:lnTo>
                  <a:lnTo>
                    <a:pt x="20" y="33"/>
                  </a:lnTo>
                  <a:lnTo>
                    <a:pt x="16" y="39"/>
                  </a:lnTo>
                  <a:lnTo>
                    <a:pt x="19" y="39"/>
                  </a:lnTo>
                  <a:lnTo>
                    <a:pt x="19" y="44"/>
                  </a:lnTo>
                  <a:lnTo>
                    <a:pt x="20" y="47"/>
                  </a:lnTo>
                  <a:lnTo>
                    <a:pt x="20" y="49"/>
                  </a:lnTo>
                  <a:lnTo>
                    <a:pt x="24" y="56"/>
                  </a:lnTo>
                  <a:lnTo>
                    <a:pt x="24" y="59"/>
                  </a:lnTo>
                  <a:lnTo>
                    <a:pt x="26" y="60"/>
                  </a:lnTo>
                  <a:lnTo>
                    <a:pt x="26" y="71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15" y="83"/>
                  </a:lnTo>
                  <a:lnTo>
                    <a:pt x="15" y="86"/>
                  </a:lnTo>
                  <a:lnTo>
                    <a:pt x="8" y="92"/>
                  </a:lnTo>
                  <a:lnTo>
                    <a:pt x="8" y="96"/>
                  </a:lnTo>
                  <a:lnTo>
                    <a:pt x="7" y="97"/>
                  </a:lnTo>
                  <a:lnTo>
                    <a:pt x="7" y="106"/>
                  </a:lnTo>
                  <a:lnTo>
                    <a:pt x="4" y="109"/>
                  </a:lnTo>
                  <a:lnTo>
                    <a:pt x="4" y="115"/>
                  </a:lnTo>
                  <a:lnTo>
                    <a:pt x="0" y="117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0" y="131"/>
                  </a:lnTo>
                  <a:lnTo>
                    <a:pt x="0" y="135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1" y="136"/>
                  </a:lnTo>
                  <a:lnTo>
                    <a:pt x="3" y="138"/>
                  </a:lnTo>
                  <a:lnTo>
                    <a:pt x="3" y="136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7" y="135"/>
                  </a:lnTo>
                  <a:lnTo>
                    <a:pt x="9" y="136"/>
                  </a:lnTo>
                  <a:lnTo>
                    <a:pt x="9" y="135"/>
                  </a:lnTo>
                  <a:lnTo>
                    <a:pt x="11" y="134"/>
                  </a:lnTo>
                  <a:lnTo>
                    <a:pt x="13" y="131"/>
                  </a:lnTo>
                  <a:lnTo>
                    <a:pt x="15" y="131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9" y="132"/>
                  </a:lnTo>
                  <a:lnTo>
                    <a:pt x="20" y="132"/>
                  </a:lnTo>
                  <a:lnTo>
                    <a:pt x="20" y="134"/>
                  </a:lnTo>
                  <a:lnTo>
                    <a:pt x="22" y="134"/>
                  </a:lnTo>
                  <a:lnTo>
                    <a:pt x="22" y="135"/>
                  </a:lnTo>
                  <a:lnTo>
                    <a:pt x="23" y="135"/>
                  </a:lnTo>
                  <a:lnTo>
                    <a:pt x="26" y="138"/>
                  </a:lnTo>
                  <a:lnTo>
                    <a:pt x="27" y="139"/>
                  </a:lnTo>
                  <a:lnTo>
                    <a:pt x="30" y="138"/>
                  </a:lnTo>
                  <a:lnTo>
                    <a:pt x="30" y="138"/>
                  </a:lnTo>
                  <a:lnTo>
                    <a:pt x="31" y="136"/>
                  </a:lnTo>
                  <a:lnTo>
                    <a:pt x="32" y="136"/>
                  </a:lnTo>
                  <a:lnTo>
                    <a:pt x="34" y="136"/>
                  </a:lnTo>
                  <a:lnTo>
                    <a:pt x="77" y="136"/>
                  </a:lnTo>
                  <a:lnTo>
                    <a:pt x="79" y="138"/>
                  </a:lnTo>
                  <a:lnTo>
                    <a:pt x="79" y="139"/>
                  </a:lnTo>
                  <a:lnTo>
                    <a:pt x="80" y="140"/>
                  </a:lnTo>
                  <a:lnTo>
                    <a:pt x="83" y="142"/>
                  </a:lnTo>
                  <a:lnTo>
                    <a:pt x="86" y="142"/>
                  </a:lnTo>
                  <a:lnTo>
                    <a:pt x="87" y="142"/>
                  </a:lnTo>
                  <a:lnTo>
                    <a:pt x="88" y="142"/>
                  </a:lnTo>
                  <a:lnTo>
                    <a:pt x="88" y="143"/>
                  </a:lnTo>
                  <a:lnTo>
                    <a:pt x="90" y="143"/>
                  </a:lnTo>
                  <a:lnTo>
                    <a:pt x="92" y="143"/>
                  </a:lnTo>
                  <a:lnTo>
                    <a:pt x="94" y="142"/>
                  </a:lnTo>
                  <a:lnTo>
                    <a:pt x="96" y="143"/>
                  </a:lnTo>
                  <a:lnTo>
                    <a:pt x="98" y="143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100" y="142"/>
                  </a:lnTo>
                  <a:lnTo>
                    <a:pt x="103" y="145"/>
                  </a:lnTo>
                  <a:lnTo>
                    <a:pt x="105" y="145"/>
                  </a:lnTo>
                  <a:lnTo>
                    <a:pt x="107" y="145"/>
                  </a:lnTo>
                  <a:lnTo>
                    <a:pt x="109" y="145"/>
                  </a:lnTo>
                  <a:lnTo>
                    <a:pt x="109" y="143"/>
                  </a:lnTo>
                  <a:lnTo>
                    <a:pt x="110" y="143"/>
                  </a:lnTo>
                  <a:lnTo>
                    <a:pt x="111" y="143"/>
                  </a:lnTo>
                  <a:lnTo>
                    <a:pt x="111" y="145"/>
                  </a:lnTo>
                  <a:lnTo>
                    <a:pt x="113" y="145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7" y="146"/>
                  </a:lnTo>
                  <a:lnTo>
                    <a:pt x="118" y="146"/>
                  </a:lnTo>
                  <a:lnTo>
                    <a:pt x="136" y="1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8" name="Freeform 128"/>
            <p:cNvSpPr>
              <a:spLocks/>
            </p:cNvSpPr>
            <p:nvPr/>
          </p:nvSpPr>
          <p:spPr bwMode="auto">
            <a:xfrm>
              <a:off x="2260" y="2187"/>
              <a:ext cx="92" cy="83"/>
            </a:xfrm>
            <a:custGeom>
              <a:avLst/>
              <a:gdLst>
                <a:gd name="T0" fmla="*/ 4 w 92"/>
                <a:gd name="T1" fmla="*/ 26 h 83"/>
                <a:gd name="T2" fmla="*/ 8 w 92"/>
                <a:gd name="T3" fmla="*/ 29 h 83"/>
                <a:gd name="T4" fmla="*/ 13 w 92"/>
                <a:gd name="T5" fmla="*/ 27 h 83"/>
                <a:gd name="T6" fmla="*/ 15 w 92"/>
                <a:gd name="T7" fmla="*/ 27 h 83"/>
                <a:gd name="T8" fmla="*/ 23 w 92"/>
                <a:gd name="T9" fmla="*/ 29 h 83"/>
                <a:gd name="T10" fmla="*/ 38 w 92"/>
                <a:gd name="T11" fmla="*/ 12 h 83"/>
                <a:gd name="T12" fmla="*/ 43 w 92"/>
                <a:gd name="T13" fmla="*/ 8 h 83"/>
                <a:gd name="T14" fmla="*/ 43 w 92"/>
                <a:gd name="T15" fmla="*/ 5 h 83"/>
                <a:gd name="T16" fmla="*/ 50 w 92"/>
                <a:gd name="T17" fmla="*/ 1 h 83"/>
                <a:gd name="T18" fmla="*/ 57 w 92"/>
                <a:gd name="T19" fmla="*/ 0 h 83"/>
                <a:gd name="T20" fmla="*/ 61 w 92"/>
                <a:gd name="T21" fmla="*/ 0 h 83"/>
                <a:gd name="T22" fmla="*/ 62 w 92"/>
                <a:gd name="T23" fmla="*/ 4 h 83"/>
                <a:gd name="T24" fmla="*/ 69 w 92"/>
                <a:gd name="T25" fmla="*/ 7 h 83"/>
                <a:gd name="T26" fmla="*/ 74 w 92"/>
                <a:gd name="T27" fmla="*/ 5 h 83"/>
                <a:gd name="T28" fmla="*/ 81 w 92"/>
                <a:gd name="T29" fmla="*/ 11 h 83"/>
                <a:gd name="T30" fmla="*/ 88 w 92"/>
                <a:gd name="T31" fmla="*/ 14 h 83"/>
                <a:gd name="T32" fmla="*/ 91 w 92"/>
                <a:gd name="T33" fmla="*/ 18 h 83"/>
                <a:gd name="T34" fmla="*/ 91 w 92"/>
                <a:gd name="T35" fmla="*/ 23 h 83"/>
                <a:gd name="T36" fmla="*/ 89 w 92"/>
                <a:gd name="T37" fmla="*/ 30 h 83"/>
                <a:gd name="T38" fmla="*/ 91 w 92"/>
                <a:gd name="T39" fmla="*/ 33 h 83"/>
                <a:gd name="T40" fmla="*/ 88 w 92"/>
                <a:gd name="T41" fmla="*/ 38 h 83"/>
                <a:gd name="T42" fmla="*/ 87 w 92"/>
                <a:gd name="T43" fmla="*/ 42 h 83"/>
                <a:gd name="T44" fmla="*/ 88 w 92"/>
                <a:gd name="T45" fmla="*/ 46 h 83"/>
                <a:gd name="T46" fmla="*/ 89 w 92"/>
                <a:gd name="T47" fmla="*/ 52 h 83"/>
                <a:gd name="T48" fmla="*/ 85 w 92"/>
                <a:gd name="T49" fmla="*/ 57 h 83"/>
                <a:gd name="T50" fmla="*/ 84 w 92"/>
                <a:gd name="T51" fmla="*/ 60 h 83"/>
                <a:gd name="T52" fmla="*/ 83 w 92"/>
                <a:gd name="T53" fmla="*/ 67 h 83"/>
                <a:gd name="T54" fmla="*/ 68 w 92"/>
                <a:gd name="T55" fmla="*/ 82 h 83"/>
                <a:gd name="T56" fmla="*/ 58 w 92"/>
                <a:gd name="T57" fmla="*/ 82 h 83"/>
                <a:gd name="T58" fmla="*/ 54 w 92"/>
                <a:gd name="T59" fmla="*/ 80 h 83"/>
                <a:gd name="T60" fmla="*/ 46 w 92"/>
                <a:gd name="T61" fmla="*/ 79 h 83"/>
                <a:gd name="T62" fmla="*/ 44 w 92"/>
                <a:gd name="T63" fmla="*/ 75 h 83"/>
                <a:gd name="T64" fmla="*/ 39 w 92"/>
                <a:gd name="T65" fmla="*/ 73 h 83"/>
                <a:gd name="T66" fmla="*/ 34 w 92"/>
                <a:gd name="T67" fmla="*/ 72 h 83"/>
                <a:gd name="T68" fmla="*/ 27 w 92"/>
                <a:gd name="T69" fmla="*/ 68 h 83"/>
                <a:gd name="T70" fmla="*/ 25 w 92"/>
                <a:gd name="T71" fmla="*/ 61 h 83"/>
                <a:gd name="T72" fmla="*/ 23 w 92"/>
                <a:gd name="T73" fmla="*/ 58 h 83"/>
                <a:gd name="T74" fmla="*/ 23 w 92"/>
                <a:gd name="T75" fmla="*/ 56 h 83"/>
                <a:gd name="T76" fmla="*/ 17 w 92"/>
                <a:gd name="T77" fmla="*/ 52 h 83"/>
                <a:gd name="T78" fmla="*/ 10 w 92"/>
                <a:gd name="T79" fmla="*/ 43 h 83"/>
                <a:gd name="T80" fmla="*/ 9 w 92"/>
                <a:gd name="T81" fmla="*/ 41 h 83"/>
                <a:gd name="T82" fmla="*/ 6 w 92"/>
                <a:gd name="T83" fmla="*/ 37 h 83"/>
                <a:gd name="T84" fmla="*/ 4 w 92"/>
                <a:gd name="T85" fmla="*/ 33 h 83"/>
                <a:gd name="T86" fmla="*/ 0 w 92"/>
                <a:gd name="T87" fmla="*/ 30 h 83"/>
                <a:gd name="T88" fmla="*/ 0 w 92"/>
                <a:gd name="T89" fmla="*/ 27 h 83"/>
                <a:gd name="T90" fmla="*/ 0 w 92"/>
                <a:gd name="T91" fmla="*/ 2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2" h="83">
                  <a:moveTo>
                    <a:pt x="0" y="26"/>
                  </a:moveTo>
                  <a:lnTo>
                    <a:pt x="1" y="26"/>
                  </a:lnTo>
                  <a:lnTo>
                    <a:pt x="4" y="26"/>
                  </a:lnTo>
                  <a:lnTo>
                    <a:pt x="5" y="27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10" y="27"/>
                  </a:lnTo>
                  <a:lnTo>
                    <a:pt x="12" y="26"/>
                  </a:lnTo>
                  <a:lnTo>
                    <a:pt x="13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23" y="29"/>
                  </a:lnTo>
                  <a:lnTo>
                    <a:pt x="25" y="23"/>
                  </a:lnTo>
                  <a:lnTo>
                    <a:pt x="31" y="16"/>
                  </a:lnTo>
                  <a:lnTo>
                    <a:pt x="38" y="12"/>
                  </a:lnTo>
                  <a:lnTo>
                    <a:pt x="42" y="11"/>
                  </a:lnTo>
                  <a:lnTo>
                    <a:pt x="43" y="10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7"/>
                  </a:lnTo>
                  <a:lnTo>
                    <a:pt x="43" y="5"/>
                  </a:lnTo>
                  <a:lnTo>
                    <a:pt x="44" y="4"/>
                  </a:lnTo>
                  <a:lnTo>
                    <a:pt x="47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61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4"/>
                  </a:lnTo>
                  <a:lnTo>
                    <a:pt x="66" y="5"/>
                  </a:lnTo>
                  <a:lnTo>
                    <a:pt x="69" y="5"/>
                  </a:lnTo>
                  <a:lnTo>
                    <a:pt x="69" y="7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4" y="5"/>
                  </a:lnTo>
                  <a:lnTo>
                    <a:pt x="77" y="8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5" y="11"/>
                  </a:lnTo>
                  <a:lnTo>
                    <a:pt x="88" y="12"/>
                  </a:lnTo>
                  <a:lnTo>
                    <a:pt x="88" y="14"/>
                  </a:lnTo>
                  <a:lnTo>
                    <a:pt x="91" y="15"/>
                  </a:lnTo>
                  <a:lnTo>
                    <a:pt x="92" y="16"/>
                  </a:lnTo>
                  <a:lnTo>
                    <a:pt x="91" y="18"/>
                  </a:lnTo>
                  <a:lnTo>
                    <a:pt x="91" y="20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1" y="24"/>
                  </a:lnTo>
                  <a:lnTo>
                    <a:pt x="89" y="26"/>
                  </a:lnTo>
                  <a:lnTo>
                    <a:pt x="89" y="30"/>
                  </a:lnTo>
                  <a:lnTo>
                    <a:pt x="88" y="31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4"/>
                  </a:lnTo>
                  <a:lnTo>
                    <a:pt x="88" y="35"/>
                  </a:lnTo>
                  <a:lnTo>
                    <a:pt x="88" y="38"/>
                  </a:lnTo>
                  <a:lnTo>
                    <a:pt x="88" y="39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8" y="43"/>
                  </a:lnTo>
                  <a:lnTo>
                    <a:pt x="89" y="45"/>
                  </a:lnTo>
                  <a:lnTo>
                    <a:pt x="88" y="46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52"/>
                  </a:lnTo>
                  <a:lnTo>
                    <a:pt x="88" y="53"/>
                  </a:lnTo>
                  <a:lnTo>
                    <a:pt x="85" y="56"/>
                  </a:lnTo>
                  <a:lnTo>
                    <a:pt x="85" y="57"/>
                  </a:lnTo>
                  <a:lnTo>
                    <a:pt x="84" y="57"/>
                  </a:lnTo>
                  <a:lnTo>
                    <a:pt x="83" y="58"/>
                  </a:lnTo>
                  <a:lnTo>
                    <a:pt x="84" y="60"/>
                  </a:lnTo>
                  <a:lnTo>
                    <a:pt x="83" y="61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71"/>
                  </a:lnTo>
                  <a:lnTo>
                    <a:pt x="69" y="83"/>
                  </a:lnTo>
                  <a:lnTo>
                    <a:pt x="68" y="82"/>
                  </a:lnTo>
                  <a:lnTo>
                    <a:pt x="63" y="82"/>
                  </a:lnTo>
                  <a:lnTo>
                    <a:pt x="61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5" y="80"/>
                  </a:lnTo>
                  <a:lnTo>
                    <a:pt x="54" y="80"/>
                  </a:lnTo>
                  <a:lnTo>
                    <a:pt x="53" y="79"/>
                  </a:lnTo>
                  <a:lnTo>
                    <a:pt x="50" y="79"/>
                  </a:lnTo>
                  <a:lnTo>
                    <a:pt x="46" y="79"/>
                  </a:lnTo>
                  <a:lnTo>
                    <a:pt x="44" y="77"/>
                  </a:lnTo>
                  <a:lnTo>
                    <a:pt x="44" y="76"/>
                  </a:lnTo>
                  <a:lnTo>
                    <a:pt x="44" y="75"/>
                  </a:lnTo>
                  <a:lnTo>
                    <a:pt x="43" y="75"/>
                  </a:lnTo>
                  <a:lnTo>
                    <a:pt x="42" y="75"/>
                  </a:lnTo>
                  <a:lnTo>
                    <a:pt x="39" y="73"/>
                  </a:lnTo>
                  <a:lnTo>
                    <a:pt x="38" y="73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1" y="72"/>
                  </a:lnTo>
                  <a:lnTo>
                    <a:pt x="29" y="69"/>
                  </a:lnTo>
                  <a:lnTo>
                    <a:pt x="27" y="68"/>
                  </a:lnTo>
                  <a:lnTo>
                    <a:pt x="27" y="67"/>
                  </a:lnTo>
                  <a:lnTo>
                    <a:pt x="27" y="64"/>
                  </a:lnTo>
                  <a:lnTo>
                    <a:pt x="25" y="61"/>
                  </a:lnTo>
                  <a:lnTo>
                    <a:pt x="27" y="60"/>
                  </a:lnTo>
                  <a:lnTo>
                    <a:pt x="24" y="58"/>
                  </a:lnTo>
                  <a:lnTo>
                    <a:pt x="23" y="58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1" y="54"/>
                  </a:lnTo>
                  <a:lnTo>
                    <a:pt x="20" y="53"/>
                  </a:lnTo>
                  <a:lnTo>
                    <a:pt x="17" y="52"/>
                  </a:lnTo>
                  <a:lnTo>
                    <a:pt x="15" y="50"/>
                  </a:lnTo>
                  <a:lnTo>
                    <a:pt x="12" y="45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8" y="39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1" y="31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29" name="Freeform 129"/>
            <p:cNvSpPr>
              <a:spLocks/>
            </p:cNvSpPr>
            <p:nvPr/>
          </p:nvSpPr>
          <p:spPr bwMode="auto">
            <a:xfrm>
              <a:off x="2196" y="2213"/>
              <a:ext cx="110" cy="110"/>
            </a:xfrm>
            <a:custGeom>
              <a:avLst/>
              <a:gdLst>
                <a:gd name="T0" fmla="*/ 64 w 110"/>
                <a:gd name="T1" fmla="*/ 1 h 110"/>
                <a:gd name="T2" fmla="*/ 65 w 110"/>
                <a:gd name="T3" fmla="*/ 5 h 110"/>
                <a:gd name="T4" fmla="*/ 69 w 110"/>
                <a:gd name="T5" fmla="*/ 8 h 110"/>
                <a:gd name="T6" fmla="*/ 70 w 110"/>
                <a:gd name="T7" fmla="*/ 12 h 110"/>
                <a:gd name="T8" fmla="*/ 73 w 110"/>
                <a:gd name="T9" fmla="*/ 17 h 110"/>
                <a:gd name="T10" fmla="*/ 76 w 110"/>
                <a:gd name="T11" fmla="*/ 19 h 110"/>
                <a:gd name="T12" fmla="*/ 84 w 110"/>
                <a:gd name="T13" fmla="*/ 27 h 110"/>
                <a:gd name="T14" fmla="*/ 87 w 110"/>
                <a:gd name="T15" fmla="*/ 30 h 110"/>
                <a:gd name="T16" fmla="*/ 88 w 110"/>
                <a:gd name="T17" fmla="*/ 32 h 110"/>
                <a:gd name="T18" fmla="*/ 91 w 110"/>
                <a:gd name="T19" fmla="*/ 38 h 110"/>
                <a:gd name="T20" fmla="*/ 93 w 110"/>
                <a:gd name="T21" fmla="*/ 43 h 110"/>
                <a:gd name="T22" fmla="*/ 99 w 110"/>
                <a:gd name="T23" fmla="*/ 46 h 110"/>
                <a:gd name="T24" fmla="*/ 106 w 110"/>
                <a:gd name="T25" fmla="*/ 49 h 110"/>
                <a:gd name="T26" fmla="*/ 108 w 110"/>
                <a:gd name="T27" fmla="*/ 50 h 110"/>
                <a:gd name="T28" fmla="*/ 108 w 110"/>
                <a:gd name="T29" fmla="*/ 53 h 110"/>
                <a:gd name="T30" fmla="*/ 104 w 110"/>
                <a:gd name="T31" fmla="*/ 56 h 110"/>
                <a:gd name="T32" fmla="*/ 102 w 110"/>
                <a:gd name="T33" fmla="*/ 58 h 110"/>
                <a:gd name="T34" fmla="*/ 98 w 110"/>
                <a:gd name="T35" fmla="*/ 60 h 110"/>
                <a:gd name="T36" fmla="*/ 92 w 110"/>
                <a:gd name="T37" fmla="*/ 62 h 110"/>
                <a:gd name="T38" fmla="*/ 88 w 110"/>
                <a:gd name="T39" fmla="*/ 65 h 110"/>
                <a:gd name="T40" fmla="*/ 85 w 110"/>
                <a:gd name="T41" fmla="*/ 68 h 110"/>
                <a:gd name="T42" fmla="*/ 80 w 110"/>
                <a:gd name="T43" fmla="*/ 75 h 110"/>
                <a:gd name="T44" fmla="*/ 79 w 110"/>
                <a:gd name="T45" fmla="*/ 79 h 110"/>
                <a:gd name="T46" fmla="*/ 74 w 110"/>
                <a:gd name="T47" fmla="*/ 81 h 110"/>
                <a:gd name="T48" fmla="*/ 73 w 110"/>
                <a:gd name="T49" fmla="*/ 84 h 110"/>
                <a:gd name="T50" fmla="*/ 68 w 110"/>
                <a:gd name="T51" fmla="*/ 85 h 110"/>
                <a:gd name="T52" fmla="*/ 65 w 110"/>
                <a:gd name="T53" fmla="*/ 92 h 110"/>
                <a:gd name="T54" fmla="*/ 65 w 110"/>
                <a:gd name="T55" fmla="*/ 96 h 110"/>
                <a:gd name="T56" fmla="*/ 61 w 110"/>
                <a:gd name="T57" fmla="*/ 96 h 110"/>
                <a:gd name="T58" fmla="*/ 53 w 110"/>
                <a:gd name="T59" fmla="*/ 98 h 110"/>
                <a:gd name="T60" fmla="*/ 45 w 110"/>
                <a:gd name="T61" fmla="*/ 95 h 110"/>
                <a:gd name="T62" fmla="*/ 39 w 110"/>
                <a:gd name="T63" fmla="*/ 92 h 110"/>
                <a:gd name="T64" fmla="*/ 31 w 110"/>
                <a:gd name="T65" fmla="*/ 100 h 110"/>
                <a:gd name="T66" fmla="*/ 24 w 110"/>
                <a:gd name="T67" fmla="*/ 106 h 110"/>
                <a:gd name="T68" fmla="*/ 17 w 110"/>
                <a:gd name="T69" fmla="*/ 109 h 110"/>
                <a:gd name="T70" fmla="*/ 9 w 110"/>
                <a:gd name="T71" fmla="*/ 109 h 110"/>
                <a:gd name="T72" fmla="*/ 8 w 110"/>
                <a:gd name="T73" fmla="*/ 103 h 110"/>
                <a:gd name="T74" fmla="*/ 4 w 110"/>
                <a:gd name="T75" fmla="*/ 91 h 110"/>
                <a:gd name="T76" fmla="*/ 0 w 110"/>
                <a:gd name="T77" fmla="*/ 87 h 110"/>
                <a:gd name="T78" fmla="*/ 13 w 110"/>
                <a:gd name="T79" fmla="*/ 50 h 110"/>
                <a:gd name="T80" fmla="*/ 35 w 110"/>
                <a:gd name="T81" fmla="*/ 5 h 110"/>
                <a:gd name="T82" fmla="*/ 40 w 110"/>
                <a:gd name="T83" fmla="*/ 4 h 110"/>
                <a:gd name="T84" fmla="*/ 43 w 110"/>
                <a:gd name="T85" fmla="*/ 7 h 110"/>
                <a:gd name="T86" fmla="*/ 43 w 110"/>
                <a:gd name="T87" fmla="*/ 9 h 110"/>
                <a:gd name="T88" fmla="*/ 51 w 110"/>
                <a:gd name="T89" fmla="*/ 3 h 110"/>
                <a:gd name="T90" fmla="*/ 55 w 110"/>
                <a:gd name="T91" fmla="*/ 3 h 110"/>
                <a:gd name="T92" fmla="*/ 64 w 110"/>
                <a:gd name="T93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0" h="110">
                  <a:moveTo>
                    <a:pt x="64" y="0"/>
                  </a:moveTo>
                  <a:lnTo>
                    <a:pt x="64" y="1"/>
                  </a:lnTo>
                  <a:lnTo>
                    <a:pt x="64" y="1"/>
                  </a:lnTo>
                  <a:lnTo>
                    <a:pt x="64" y="3"/>
                  </a:lnTo>
                  <a:lnTo>
                    <a:pt x="64" y="4"/>
                  </a:lnTo>
                  <a:lnTo>
                    <a:pt x="65" y="5"/>
                  </a:lnTo>
                  <a:lnTo>
                    <a:pt x="66" y="7"/>
                  </a:lnTo>
                  <a:lnTo>
                    <a:pt x="68" y="7"/>
                  </a:lnTo>
                  <a:lnTo>
                    <a:pt x="69" y="8"/>
                  </a:lnTo>
                  <a:lnTo>
                    <a:pt x="69" y="9"/>
                  </a:lnTo>
                  <a:lnTo>
                    <a:pt x="70" y="11"/>
                  </a:lnTo>
                  <a:lnTo>
                    <a:pt x="70" y="12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6" y="19"/>
                  </a:lnTo>
                  <a:lnTo>
                    <a:pt x="79" y="24"/>
                  </a:lnTo>
                  <a:lnTo>
                    <a:pt x="81" y="26"/>
                  </a:lnTo>
                  <a:lnTo>
                    <a:pt x="84" y="27"/>
                  </a:lnTo>
                  <a:lnTo>
                    <a:pt x="85" y="28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7" y="31"/>
                  </a:lnTo>
                  <a:lnTo>
                    <a:pt x="87" y="32"/>
                  </a:lnTo>
                  <a:lnTo>
                    <a:pt x="88" y="32"/>
                  </a:lnTo>
                  <a:lnTo>
                    <a:pt x="91" y="34"/>
                  </a:lnTo>
                  <a:lnTo>
                    <a:pt x="89" y="35"/>
                  </a:lnTo>
                  <a:lnTo>
                    <a:pt x="91" y="38"/>
                  </a:lnTo>
                  <a:lnTo>
                    <a:pt x="91" y="41"/>
                  </a:lnTo>
                  <a:lnTo>
                    <a:pt x="91" y="42"/>
                  </a:lnTo>
                  <a:lnTo>
                    <a:pt x="93" y="43"/>
                  </a:lnTo>
                  <a:lnTo>
                    <a:pt x="95" y="46"/>
                  </a:lnTo>
                  <a:lnTo>
                    <a:pt x="98" y="46"/>
                  </a:lnTo>
                  <a:lnTo>
                    <a:pt x="99" y="46"/>
                  </a:lnTo>
                  <a:lnTo>
                    <a:pt x="102" y="47"/>
                  </a:lnTo>
                  <a:lnTo>
                    <a:pt x="103" y="47"/>
                  </a:lnTo>
                  <a:lnTo>
                    <a:pt x="106" y="49"/>
                  </a:lnTo>
                  <a:lnTo>
                    <a:pt x="107" y="49"/>
                  </a:lnTo>
                  <a:lnTo>
                    <a:pt x="108" y="49"/>
                  </a:lnTo>
                  <a:lnTo>
                    <a:pt x="108" y="50"/>
                  </a:lnTo>
                  <a:lnTo>
                    <a:pt x="108" y="51"/>
                  </a:lnTo>
                  <a:lnTo>
                    <a:pt x="110" y="53"/>
                  </a:lnTo>
                  <a:lnTo>
                    <a:pt x="108" y="53"/>
                  </a:lnTo>
                  <a:lnTo>
                    <a:pt x="107" y="54"/>
                  </a:lnTo>
                  <a:lnTo>
                    <a:pt x="106" y="54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8"/>
                  </a:lnTo>
                  <a:lnTo>
                    <a:pt x="102" y="58"/>
                  </a:lnTo>
                  <a:lnTo>
                    <a:pt x="100" y="60"/>
                  </a:lnTo>
                  <a:lnTo>
                    <a:pt x="99" y="60"/>
                  </a:lnTo>
                  <a:lnTo>
                    <a:pt x="98" y="60"/>
                  </a:lnTo>
                  <a:lnTo>
                    <a:pt x="96" y="60"/>
                  </a:lnTo>
                  <a:lnTo>
                    <a:pt x="95" y="60"/>
                  </a:lnTo>
                  <a:lnTo>
                    <a:pt x="92" y="62"/>
                  </a:lnTo>
                  <a:lnTo>
                    <a:pt x="91" y="64"/>
                  </a:lnTo>
                  <a:lnTo>
                    <a:pt x="89" y="64"/>
                  </a:lnTo>
                  <a:lnTo>
                    <a:pt x="88" y="65"/>
                  </a:lnTo>
                  <a:lnTo>
                    <a:pt x="87" y="66"/>
                  </a:lnTo>
                  <a:lnTo>
                    <a:pt x="85" y="66"/>
                  </a:lnTo>
                  <a:lnTo>
                    <a:pt x="85" y="68"/>
                  </a:lnTo>
                  <a:lnTo>
                    <a:pt x="83" y="68"/>
                  </a:lnTo>
                  <a:lnTo>
                    <a:pt x="80" y="72"/>
                  </a:lnTo>
                  <a:lnTo>
                    <a:pt x="80" y="75"/>
                  </a:lnTo>
                  <a:lnTo>
                    <a:pt x="80" y="76"/>
                  </a:lnTo>
                  <a:lnTo>
                    <a:pt x="80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7" y="80"/>
                  </a:lnTo>
                  <a:lnTo>
                    <a:pt x="74" y="81"/>
                  </a:lnTo>
                  <a:lnTo>
                    <a:pt x="74" y="83"/>
                  </a:lnTo>
                  <a:lnTo>
                    <a:pt x="73" y="83"/>
                  </a:lnTo>
                  <a:lnTo>
                    <a:pt x="73" y="84"/>
                  </a:lnTo>
                  <a:lnTo>
                    <a:pt x="72" y="84"/>
                  </a:lnTo>
                  <a:lnTo>
                    <a:pt x="70" y="85"/>
                  </a:lnTo>
                  <a:lnTo>
                    <a:pt x="68" y="85"/>
                  </a:lnTo>
                  <a:lnTo>
                    <a:pt x="66" y="88"/>
                  </a:lnTo>
                  <a:lnTo>
                    <a:pt x="66" y="91"/>
                  </a:lnTo>
                  <a:lnTo>
                    <a:pt x="65" y="92"/>
                  </a:lnTo>
                  <a:lnTo>
                    <a:pt x="65" y="94"/>
                  </a:lnTo>
                  <a:lnTo>
                    <a:pt x="65" y="95"/>
                  </a:lnTo>
                  <a:lnTo>
                    <a:pt x="65" y="96"/>
                  </a:lnTo>
                  <a:lnTo>
                    <a:pt x="62" y="98"/>
                  </a:lnTo>
                  <a:lnTo>
                    <a:pt x="61" y="98"/>
                  </a:lnTo>
                  <a:lnTo>
                    <a:pt x="61" y="96"/>
                  </a:lnTo>
                  <a:lnTo>
                    <a:pt x="58" y="96"/>
                  </a:lnTo>
                  <a:lnTo>
                    <a:pt x="55" y="96"/>
                  </a:lnTo>
                  <a:lnTo>
                    <a:pt x="53" y="98"/>
                  </a:lnTo>
                  <a:lnTo>
                    <a:pt x="51" y="96"/>
                  </a:lnTo>
                  <a:lnTo>
                    <a:pt x="50" y="96"/>
                  </a:lnTo>
                  <a:lnTo>
                    <a:pt x="45" y="95"/>
                  </a:lnTo>
                  <a:lnTo>
                    <a:pt x="43" y="95"/>
                  </a:lnTo>
                  <a:lnTo>
                    <a:pt x="43" y="94"/>
                  </a:lnTo>
                  <a:lnTo>
                    <a:pt x="39" y="92"/>
                  </a:lnTo>
                  <a:lnTo>
                    <a:pt x="36" y="92"/>
                  </a:lnTo>
                  <a:lnTo>
                    <a:pt x="32" y="95"/>
                  </a:lnTo>
                  <a:lnTo>
                    <a:pt x="31" y="100"/>
                  </a:lnTo>
                  <a:lnTo>
                    <a:pt x="28" y="102"/>
                  </a:lnTo>
                  <a:lnTo>
                    <a:pt x="24" y="104"/>
                  </a:lnTo>
                  <a:lnTo>
                    <a:pt x="24" y="106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3" y="110"/>
                  </a:lnTo>
                  <a:lnTo>
                    <a:pt x="9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8" y="103"/>
                  </a:lnTo>
                  <a:lnTo>
                    <a:pt x="8" y="100"/>
                  </a:lnTo>
                  <a:lnTo>
                    <a:pt x="5" y="94"/>
                  </a:lnTo>
                  <a:lnTo>
                    <a:pt x="4" y="91"/>
                  </a:lnTo>
                  <a:lnTo>
                    <a:pt x="0" y="87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50"/>
                  </a:lnTo>
                  <a:lnTo>
                    <a:pt x="13" y="50"/>
                  </a:lnTo>
                  <a:lnTo>
                    <a:pt x="15" y="8"/>
                  </a:lnTo>
                  <a:lnTo>
                    <a:pt x="24" y="8"/>
                  </a:lnTo>
                  <a:lnTo>
                    <a:pt x="35" y="5"/>
                  </a:lnTo>
                  <a:lnTo>
                    <a:pt x="38" y="5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5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6" y="7"/>
                  </a:lnTo>
                  <a:lnTo>
                    <a:pt x="49" y="4"/>
                  </a:lnTo>
                  <a:lnTo>
                    <a:pt x="51" y="3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7" y="1"/>
                  </a:lnTo>
                  <a:lnTo>
                    <a:pt x="61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0" name="Freeform 130"/>
            <p:cNvSpPr>
              <a:spLocks/>
            </p:cNvSpPr>
            <p:nvPr/>
          </p:nvSpPr>
          <p:spPr bwMode="auto">
            <a:xfrm>
              <a:off x="2102" y="2202"/>
              <a:ext cx="158" cy="148"/>
            </a:xfrm>
            <a:custGeom>
              <a:avLst/>
              <a:gdLst>
                <a:gd name="T0" fmla="*/ 96 w 158"/>
                <a:gd name="T1" fmla="*/ 61 h 148"/>
                <a:gd name="T2" fmla="*/ 118 w 158"/>
                <a:gd name="T3" fmla="*/ 19 h 148"/>
                <a:gd name="T4" fmla="*/ 134 w 158"/>
                <a:gd name="T5" fmla="*/ 15 h 148"/>
                <a:gd name="T6" fmla="*/ 136 w 158"/>
                <a:gd name="T7" fmla="*/ 18 h 148"/>
                <a:gd name="T8" fmla="*/ 136 w 158"/>
                <a:gd name="T9" fmla="*/ 20 h 148"/>
                <a:gd name="T10" fmla="*/ 143 w 158"/>
                <a:gd name="T11" fmla="*/ 15 h 148"/>
                <a:gd name="T12" fmla="*/ 148 w 158"/>
                <a:gd name="T13" fmla="*/ 14 h 148"/>
                <a:gd name="T14" fmla="*/ 155 w 158"/>
                <a:gd name="T15" fmla="*/ 11 h 148"/>
                <a:gd name="T16" fmla="*/ 155 w 158"/>
                <a:gd name="T17" fmla="*/ 8 h 148"/>
                <a:gd name="T18" fmla="*/ 152 w 158"/>
                <a:gd name="T19" fmla="*/ 8 h 148"/>
                <a:gd name="T20" fmla="*/ 148 w 158"/>
                <a:gd name="T21" fmla="*/ 8 h 148"/>
                <a:gd name="T22" fmla="*/ 117 w 158"/>
                <a:gd name="T23" fmla="*/ 15 h 148"/>
                <a:gd name="T24" fmla="*/ 114 w 158"/>
                <a:gd name="T25" fmla="*/ 14 h 148"/>
                <a:gd name="T26" fmla="*/ 111 w 158"/>
                <a:gd name="T27" fmla="*/ 14 h 148"/>
                <a:gd name="T28" fmla="*/ 109 w 158"/>
                <a:gd name="T29" fmla="*/ 12 h 148"/>
                <a:gd name="T30" fmla="*/ 105 w 158"/>
                <a:gd name="T31" fmla="*/ 14 h 148"/>
                <a:gd name="T32" fmla="*/ 99 w 158"/>
                <a:gd name="T33" fmla="*/ 11 h 148"/>
                <a:gd name="T34" fmla="*/ 96 w 158"/>
                <a:gd name="T35" fmla="*/ 12 h 148"/>
                <a:gd name="T36" fmla="*/ 90 w 158"/>
                <a:gd name="T37" fmla="*/ 12 h 148"/>
                <a:gd name="T38" fmla="*/ 87 w 158"/>
                <a:gd name="T39" fmla="*/ 11 h 148"/>
                <a:gd name="T40" fmla="*/ 80 w 158"/>
                <a:gd name="T41" fmla="*/ 9 h 148"/>
                <a:gd name="T42" fmla="*/ 77 w 158"/>
                <a:gd name="T43" fmla="*/ 5 h 148"/>
                <a:gd name="T44" fmla="*/ 31 w 158"/>
                <a:gd name="T45" fmla="*/ 5 h 148"/>
                <a:gd name="T46" fmla="*/ 27 w 158"/>
                <a:gd name="T47" fmla="*/ 8 h 148"/>
                <a:gd name="T48" fmla="*/ 22 w 158"/>
                <a:gd name="T49" fmla="*/ 4 h 148"/>
                <a:gd name="T50" fmla="*/ 20 w 158"/>
                <a:gd name="T51" fmla="*/ 1 h 148"/>
                <a:gd name="T52" fmla="*/ 18 w 158"/>
                <a:gd name="T53" fmla="*/ 1 h 148"/>
                <a:gd name="T54" fmla="*/ 13 w 158"/>
                <a:gd name="T55" fmla="*/ 0 h 148"/>
                <a:gd name="T56" fmla="*/ 9 w 158"/>
                <a:gd name="T57" fmla="*/ 5 h 148"/>
                <a:gd name="T58" fmla="*/ 4 w 158"/>
                <a:gd name="T59" fmla="*/ 4 h 148"/>
                <a:gd name="T60" fmla="*/ 1 w 158"/>
                <a:gd name="T61" fmla="*/ 5 h 148"/>
                <a:gd name="T62" fmla="*/ 0 w 158"/>
                <a:gd name="T63" fmla="*/ 15 h 148"/>
                <a:gd name="T64" fmla="*/ 16 w 158"/>
                <a:gd name="T65" fmla="*/ 42 h 148"/>
                <a:gd name="T66" fmla="*/ 23 w 158"/>
                <a:gd name="T67" fmla="*/ 58 h 148"/>
                <a:gd name="T68" fmla="*/ 28 w 158"/>
                <a:gd name="T69" fmla="*/ 73 h 148"/>
                <a:gd name="T70" fmla="*/ 34 w 158"/>
                <a:gd name="T71" fmla="*/ 98 h 148"/>
                <a:gd name="T72" fmla="*/ 32 w 158"/>
                <a:gd name="T73" fmla="*/ 107 h 148"/>
                <a:gd name="T74" fmla="*/ 37 w 158"/>
                <a:gd name="T75" fmla="*/ 115 h 148"/>
                <a:gd name="T76" fmla="*/ 37 w 158"/>
                <a:gd name="T77" fmla="*/ 121 h 148"/>
                <a:gd name="T78" fmla="*/ 41 w 158"/>
                <a:gd name="T79" fmla="*/ 130 h 148"/>
                <a:gd name="T80" fmla="*/ 47 w 158"/>
                <a:gd name="T81" fmla="*/ 140 h 148"/>
                <a:gd name="T82" fmla="*/ 56 w 158"/>
                <a:gd name="T83" fmla="*/ 141 h 148"/>
                <a:gd name="T84" fmla="*/ 56 w 158"/>
                <a:gd name="T85" fmla="*/ 137 h 148"/>
                <a:gd name="T86" fmla="*/ 62 w 158"/>
                <a:gd name="T87" fmla="*/ 139 h 148"/>
                <a:gd name="T88" fmla="*/ 66 w 158"/>
                <a:gd name="T89" fmla="*/ 145 h 148"/>
                <a:gd name="T90" fmla="*/ 72 w 158"/>
                <a:gd name="T91" fmla="*/ 147 h 148"/>
                <a:gd name="T92" fmla="*/ 77 w 158"/>
                <a:gd name="T93" fmla="*/ 147 h 148"/>
                <a:gd name="T94" fmla="*/ 81 w 158"/>
                <a:gd name="T95" fmla="*/ 148 h 148"/>
                <a:gd name="T96" fmla="*/ 84 w 158"/>
                <a:gd name="T97" fmla="*/ 144 h 148"/>
                <a:gd name="T98" fmla="*/ 91 w 158"/>
                <a:gd name="T99" fmla="*/ 141 h 148"/>
                <a:gd name="T100" fmla="*/ 94 w 158"/>
                <a:gd name="T101" fmla="*/ 9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8" h="148">
                  <a:moveTo>
                    <a:pt x="94" y="98"/>
                  </a:moveTo>
                  <a:lnTo>
                    <a:pt x="94" y="98"/>
                  </a:lnTo>
                  <a:lnTo>
                    <a:pt x="96" y="61"/>
                  </a:lnTo>
                  <a:lnTo>
                    <a:pt x="107" y="61"/>
                  </a:lnTo>
                  <a:lnTo>
                    <a:pt x="109" y="19"/>
                  </a:lnTo>
                  <a:lnTo>
                    <a:pt x="118" y="19"/>
                  </a:lnTo>
                  <a:lnTo>
                    <a:pt x="129" y="16"/>
                  </a:lnTo>
                  <a:lnTo>
                    <a:pt x="132" y="16"/>
                  </a:lnTo>
                  <a:lnTo>
                    <a:pt x="134" y="15"/>
                  </a:lnTo>
                  <a:lnTo>
                    <a:pt x="134" y="15"/>
                  </a:lnTo>
                  <a:lnTo>
                    <a:pt x="134" y="16"/>
                  </a:lnTo>
                  <a:lnTo>
                    <a:pt x="136" y="18"/>
                  </a:lnTo>
                  <a:lnTo>
                    <a:pt x="137" y="18"/>
                  </a:lnTo>
                  <a:lnTo>
                    <a:pt x="136" y="19"/>
                  </a:lnTo>
                  <a:lnTo>
                    <a:pt x="136" y="20"/>
                  </a:lnTo>
                  <a:lnTo>
                    <a:pt x="137" y="20"/>
                  </a:lnTo>
                  <a:lnTo>
                    <a:pt x="140" y="18"/>
                  </a:lnTo>
                  <a:lnTo>
                    <a:pt x="143" y="15"/>
                  </a:lnTo>
                  <a:lnTo>
                    <a:pt x="145" y="14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9" y="14"/>
                  </a:lnTo>
                  <a:lnTo>
                    <a:pt x="151" y="12"/>
                  </a:lnTo>
                  <a:lnTo>
                    <a:pt x="155" y="11"/>
                  </a:lnTo>
                  <a:lnTo>
                    <a:pt x="158" y="11"/>
                  </a:lnTo>
                  <a:lnTo>
                    <a:pt x="156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3" y="8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1" y="7"/>
                  </a:lnTo>
                  <a:lnTo>
                    <a:pt x="148" y="8"/>
                  </a:lnTo>
                  <a:lnTo>
                    <a:pt x="147" y="8"/>
                  </a:lnTo>
                  <a:lnTo>
                    <a:pt x="118" y="15"/>
                  </a:lnTo>
                  <a:lnTo>
                    <a:pt x="117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3" y="14"/>
                  </a:lnTo>
                  <a:lnTo>
                    <a:pt x="111" y="14"/>
                  </a:lnTo>
                  <a:lnTo>
                    <a:pt x="111" y="12"/>
                  </a:lnTo>
                  <a:lnTo>
                    <a:pt x="110" y="12"/>
                  </a:lnTo>
                  <a:lnTo>
                    <a:pt x="109" y="12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5" y="14"/>
                  </a:lnTo>
                  <a:lnTo>
                    <a:pt x="103" y="14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4" y="11"/>
                  </a:lnTo>
                  <a:lnTo>
                    <a:pt x="92" y="12"/>
                  </a:lnTo>
                  <a:lnTo>
                    <a:pt x="90" y="12"/>
                  </a:lnTo>
                  <a:lnTo>
                    <a:pt x="88" y="12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6" y="11"/>
                  </a:lnTo>
                  <a:lnTo>
                    <a:pt x="83" y="11"/>
                  </a:lnTo>
                  <a:lnTo>
                    <a:pt x="80" y="9"/>
                  </a:lnTo>
                  <a:lnTo>
                    <a:pt x="79" y="8"/>
                  </a:lnTo>
                  <a:lnTo>
                    <a:pt x="79" y="7"/>
                  </a:lnTo>
                  <a:lnTo>
                    <a:pt x="77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1" y="5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7" y="8"/>
                  </a:lnTo>
                  <a:lnTo>
                    <a:pt x="26" y="7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2" y="3"/>
                  </a:lnTo>
                  <a:lnTo>
                    <a:pt x="20" y="3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1" y="3"/>
                  </a:lnTo>
                  <a:lnTo>
                    <a:pt x="9" y="4"/>
                  </a:lnTo>
                  <a:lnTo>
                    <a:pt x="9" y="5"/>
                  </a:lnTo>
                  <a:lnTo>
                    <a:pt x="7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5"/>
                  </a:lnTo>
                  <a:lnTo>
                    <a:pt x="3" y="7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5"/>
                  </a:lnTo>
                  <a:lnTo>
                    <a:pt x="7" y="23"/>
                  </a:lnTo>
                  <a:lnTo>
                    <a:pt x="11" y="28"/>
                  </a:lnTo>
                  <a:lnTo>
                    <a:pt x="16" y="42"/>
                  </a:lnTo>
                  <a:lnTo>
                    <a:pt x="18" y="48"/>
                  </a:lnTo>
                  <a:lnTo>
                    <a:pt x="23" y="56"/>
                  </a:lnTo>
                  <a:lnTo>
                    <a:pt x="23" y="58"/>
                  </a:lnTo>
                  <a:lnTo>
                    <a:pt x="30" y="68"/>
                  </a:lnTo>
                  <a:lnTo>
                    <a:pt x="30" y="72"/>
                  </a:lnTo>
                  <a:lnTo>
                    <a:pt x="28" y="73"/>
                  </a:lnTo>
                  <a:lnTo>
                    <a:pt x="30" y="79"/>
                  </a:lnTo>
                  <a:lnTo>
                    <a:pt x="30" y="88"/>
                  </a:lnTo>
                  <a:lnTo>
                    <a:pt x="34" y="98"/>
                  </a:lnTo>
                  <a:lnTo>
                    <a:pt x="34" y="102"/>
                  </a:lnTo>
                  <a:lnTo>
                    <a:pt x="34" y="106"/>
                  </a:lnTo>
                  <a:lnTo>
                    <a:pt x="32" y="107"/>
                  </a:lnTo>
                  <a:lnTo>
                    <a:pt x="34" y="109"/>
                  </a:lnTo>
                  <a:lnTo>
                    <a:pt x="35" y="114"/>
                  </a:lnTo>
                  <a:lnTo>
                    <a:pt x="37" y="115"/>
                  </a:lnTo>
                  <a:lnTo>
                    <a:pt x="38" y="118"/>
                  </a:lnTo>
                  <a:lnTo>
                    <a:pt x="37" y="118"/>
                  </a:lnTo>
                  <a:lnTo>
                    <a:pt x="37" y="121"/>
                  </a:lnTo>
                  <a:lnTo>
                    <a:pt x="38" y="124"/>
                  </a:lnTo>
                  <a:lnTo>
                    <a:pt x="38" y="128"/>
                  </a:lnTo>
                  <a:lnTo>
                    <a:pt x="41" y="130"/>
                  </a:lnTo>
                  <a:lnTo>
                    <a:pt x="43" y="136"/>
                  </a:lnTo>
                  <a:lnTo>
                    <a:pt x="46" y="139"/>
                  </a:lnTo>
                  <a:lnTo>
                    <a:pt x="47" y="140"/>
                  </a:lnTo>
                  <a:lnTo>
                    <a:pt x="52" y="143"/>
                  </a:lnTo>
                  <a:lnTo>
                    <a:pt x="53" y="143"/>
                  </a:lnTo>
                  <a:lnTo>
                    <a:pt x="56" y="141"/>
                  </a:lnTo>
                  <a:lnTo>
                    <a:pt x="56" y="140"/>
                  </a:lnTo>
                  <a:lnTo>
                    <a:pt x="54" y="140"/>
                  </a:lnTo>
                  <a:lnTo>
                    <a:pt x="56" y="137"/>
                  </a:lnTo>
                  <a:lnTo>
                    <a:pt x="58" y="136"/>
                  </a:lnTo>
                  <a:lnTo>
                    <a:pt x="60" y="139"/>
                  </a:lnTo>
                  <a:lnTo>
                    <a:pt x="62" y="139"/>
                  </a:lnTo>
                  <a:lnTo>
                    <a:pt x="61" y="141"/>
                  </a:lnTo>
                  <a:lnTo>
                    <a:pt x="62" y="145"/>
                  </a:lnTo>
                  <a:lnTo>
                    <a:pt x="66" y="145"/>
                  </a:lnTo>
                  <a:lnTo>
                    <a:pt x="69" y="147"/>
                  </a:lnTo>
                  <a:lnTo>
                    <a:pt x="71" y="147"/>
                  </a:lnTo>
                  <a:lnTo>
                    <a:pt x="72" y="147"/>
                  </a:lnTo>
                  <a:lnTo>
                    <a:pt x="75" y="148"/>
                  </a:lnTo>
                  <a:lnTo>
                    <a:pt x="75" y="147"/>
                  </a:lnTo>
                  <a:lnTo>
                    <a:pt x="77" y="147"/>
                  </a:lnTo>
                  <a:lnTo>
                    <a:pt x="77" y="148"/>
                  </a:lnTo>
                  <a:lnTo>
                    <a:pt x="80" y="148"/>
                  </a:lnTo>
                  <a:lnTo>
                    <a:pt x="81" y="148"/>
                  </a:lnTo>
                  <a:lnTo>
                    <a:pt x="81" y="145"/>
                  </a:lnTo>
                  <a:lnTo>
                    <a:pt x="81" y="145"/>
                  </a:lnTo>
                  <a:lnTo>
                    <a:pt x="84" y="144"/>
                  </a:lnTo>
                  <a:lnTo>
                    <a:pt x="84" y="143"/>
                  </a:lnTo>
                  <a:lnTo>
                    <a:pt x="88" y="140"/>
                  </a:lnTo>
                  <a:lnTo>
                    <a:pt x="91" y="141"/>
                  </a:lnTo>
                  <a:lnTo>
                    <a:pt x="92" y="141"/>
                  </a:lnTo>
                  <a:lnTo>
                    <a:pt x="94" y="99"/>
                  </a:lnTo>
                  <a:lnTo>
                    <a:pt x="94" y="9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1" name="Freeform 131"/>
            <p:cNvSpPr>
              <a:spLocks/>
            </p:cNvSpPr>
            <p:nvPr/>
          </p:nvSpPr>
          <p:spPr bwMode="auto">
            <a:xfrm>
              <a:off x="2466" y="2143"/>
              <a:ext cx="89" cy="168"/>
            </a:xfrm>
            <a:custGeom>
              <a:avLst/>
              <a:gdLst>
                <a:gd name="T0" fmla="*/ 26 w 89"/>
                <a:gd name="T1" fmla="*/ 165 h 168"/>
                <a:gd name="T2" fmla="*/ 41 w 89"/>
                <a:gd name="T3" fmla="*/ 161 h 168"/>
                <a:gd name="T4" fmla="*/ 46 w 89"/>
                <a:gd name="T5" fmla="*/ 151 h 168"/>
                <a:gd name="T6" fmla="*/ 49 w 89"/>
                <a:gd name="T7" fmla="*/ 145 h 168"/>
                <a:gd name="T8" fmla="*/ 52 w 89"/>
                <a:gd name="T9" fmla="*/ 138 h 168"/>
                <a:gd name="T10" fmla="*/ 59 w 89"/>
                <a:gd name="T11" fmla="*/ 120 h 168"/>
                <a:gd name="T12" fmla="*/ 68 w 89"/>
                <a:gd name="T13" fmla="*/ 97 h 168"/>
                <a:gd name="T14" fmla="*/ 74 w 89"/>
                <a:gd name="T15" fmla="*/ 83 h 168"/>
                <a:gd name="T16" fmla="*/ 78 w 89"/>
                <a:gd name="T17" fmla="*/ 67 h 168"/>
                <a:gd name="T18" fmla="*/ 79 w 89"/>
                <a:gd name="T19" fmla="*/ 58 h 168"/>
                <a:gd name="T20" fmla="*/ 80 w 89"/>
                <a:gd name="T21" fmla="*/ 49 h 168"/>
                <a:gd name="T22" fmla="*/ 82 w 89"/>
                <a:gd name="T23" fmla="*/ 43 h 168"/>
                <a:gd name="T24" fmla="*/ 86 w 89"/>
                <a:gd name="T25" fmla="*/ 49 h 168"/>
                <a:gd name="T26" fmla="*/ 89 w 89"/>
                <a:gd name="T27" fmla="*/ 43 h 168"/>
                <a:gd name="T28" fmla="*/ 86 w 89"/>
                <a:gd name="T29" fmla="*/ 34 h 168"/>
                <a:gd name="T30" fmla="*/ 86 w 89"/>
                <a:gd name="T31" fmla="*/ 26 h 168"/>
                <a:gd name="T32" fmla="*/ 85 w 89"/>
                <a:gd name="T33" fmla="*/ 11 h 168"/>
                <a:gd name="T34" fmla="*/ 79 w 89"/>
                <a:gd name="T35" fmla="*/ 6 h 168"/>
                <a:gd name="T36" fmla="*/ 76 w 89"/>
                <a:gd name="T37" fmla="*/ 5 h 168"/>
                <a:gd name="T38" fmla="*/ 74 w 89"/>
                <a:gd name="T39" fmla="*/ 7 h 168"/>
                <a:gd name="T40" fmla="*/ 72 w 89"/>
                <a:gd name="T41" fmla="*/ 14 h 168"/>
                <a:gd name="T42" fmla="*/ 68 w 89"/>
                <a:gd name="T43" fmla="*/ 21 h 168"/>
                <a:gd name="T44" fmla="*/ 64 w 89"/>
                <a:gd name="T45" fmla="*/ 21 h 168"/>
                <a:gd name="T46" fmla="*/ 64 w 89"/>
                <a:gd name="T47" fmla="*/ 26 h 168"/>
                <a:gd name="T48" fmla="*/ 60 w 89"/>
                <a:gd name="T49" fmla="*/ 29 h 168"/>
                <a:gd name="T50" fmla="*/ 61 w 89"/>
                <a:gd name="T51" fmla="*/ 34 h 168"/>
                <a:gd name="T52" fmla="*/ 56 w 89"/>
                <a:gd name="T53" fmla="*/ 39 h 168"/>
                <a:gd name="T54" fmla="*/ 53 w 89"/>
                <a:gd name="T55" fmla="*/ 36 h 168"/>
                <a:gd name="T56" fmla="*/ 52 w 89"/>
                <a:gd name="T57" fmla="*/ 41 h 168"/>
                <a:gd name="T58" fmla="*/ 51 w 89"/>
                <a:gd name="T59" fmla="*/ 44 h 168"/>
                <a:gd name="T60" fmla="*/ 49 w 89"/>
                <a:gd name="T61" fmla="*/ 40 h 168"/>
                <a:gd name="T62" fmla="*/ 44 w 89"/>
                <a:gd name="T63" fmla="*/ 49 h 168"/>
                <a:gd name="T64" fmla="*/ 40 w 89"/>
                <a:gd name="T65" fmla="*/ 45 h 168"/>
                <a:gd name="T66" fmla="*/ 33 w 89"/>
                <a:gd name="T67" fmla="*/ 47 h 168"/>
                <a:gd name="T68" fmla="*/ 32 w 89"/>
                <a:gd name="T69" fmla="*/ 48 h 168"/>
                <a:gd name="T70" fmla="*/ 23 w 89"/>
                <a:gd name="T71" fmla="*/ 52 h 168"/>
                <a:gd name="T72" fmla="*/ 18 w 89"/>
                <a:gd name="T73" fmla="*/ 54 h 168"/>
                <a:gd name="T74" fmla="*/ 11 w 89"/>
                <a:gd name="T75" fmla="*/ 67 h 168"/>
                <a:gd name="T76" fmla="*/ 12 w 89"/>
                <a:gd name="T77" fmla="*/ 75 h 168"/>
                <a:gd name="T78" fmla="*/ 18 w 89"/>
                <a:gd name="T79" fmla="*/ 89 h 168"/>
                <a:gd name="T80" fmla="*/ 15 w 89"/>
                <a:gd name="T81" fmla="*/ 98 h 168"/>
                <a:gd name="T82" fmla="*/ 11 w 89"/>
                <a:gd name="T83" fmla="*/ 105 h 168"/>
                <a:gd name="T84" fmla="*/ 3 w 89"/>
                <a:gd name="T85" fmla="*/ 113 h 168"/>
                <a:gd name="T86" fmla="*/ 0 w 89"/>
                <a:gd name="T87" fmla="*/ 124 h 168"/>
                <a:gd name="T88" fmla="*/ 3 w 89"/>
                <a:gd name="T89" fmla="*/ 135 h 168"/>
                <a:gd name="T90" fmla="*/ 6 w 89"/>
                <a:gd name="T91" fmla="*/ 139 h 168"/>
                <a:gd name="T92" fmla="*/ 3 w 89"/>
                <a:gd name="T93" fmla="*/ 147 h 168"/>
                <a:gd name="T94" fmla="*/ 6 w 89"/>
                <a:gd name="T95" fmla="*/ 155 h 168"/>
                <a:gd name="T96" fmla="*/ 11 w 89"/>
                <a:gd name="T97" fmla="*/ 162 h 168"/>
                <a:gd name="T98" fmla="*/ 17 w 89"/>
                <a:gd name="T99" fmla="*/ 165 h 168"/>
                <a:gd name="T100" fmla="*/ 19 w 89"/>
                <a:gd name="T101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9" h="168">
                  <a:moveTo>
                    <a:pt x="19" y="168"/>
                  </a:moveTo>
                  <a:lnTo>
                    <a:pt x="21" y="166"/>
                  </a:lnTo>
                  <a:lnTo>
                    <a:pt x="23" y="166"/>
                  </a:lnTo>
                  <a:lnTo>
                    <a:pt x="26" y="165"/>
                  </a:lnTo>
                  <a:lnTo>
                    <a:pt x="27" y="162"/>
                  </a:lnTo>
                  <a:lnTo>
                    <a:pt x="36" y="161"/>
                  </a:lnTo>
                  <a:lnTo>
                    <a:pt x="37" y="162"/>
                  </a:lnTo>
                  <a:lnTo>
                    <a:pt x="41" y="161"/>
                  </a:lnTo>
                  <a:lnTo>
                    <a:pt x="42" y="158"/>
                  </a:lnTo>
                  <a:lnTo>
                    <a:pt x="44" y="158"/>
                  </a:lnTo>
                  <a:lnTo>
                    <a:pt x="45" y="154"/>
                  </a:lnTo>
                  <a:lnTo>
                    <a:pt x="46" y="151"/>
                  </a:lnTo>
                  <a:lnTo>
                    <a:pt x="48" y="150"/>
                  </a:lnTo>
                  <a:lnTo>
                    <a:pt x="49" y="147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51" y="143"/>
                  </a:lnTo>
                  <a:lnTo>
                    <a:pt x="52" y="139"/>
                  </a:lnTo>
                  <a:lnTo>
                    <a:pt x="51" y="138"/>
                  </a:lnTo>
                  <a:lnTo>
                    <a:pt x="52" y="138"/>
                  </a:lnTo>
                  <a:lnTo>
                    <a:pt x="55" y="135"/>
                  </a:lnTo>
                  <a:lnTo>
                    <a:pt x="56" y="127"/>
                  </a:lnTo>
                  <a:lnTo>
                    <a:pt x="57" y="123"/>
                  </a:lnTo>
                  <a:lnTo>
                    <a:pt x="59" y="120"/>
                  </a:lnTo>
                  <a:lnTo>
                    <a:pt x="60" y="116"/>
                  </a:lnTo>
                  <a:lnTo>
                    <a:pt x="63" y="111"/>
                  </a:lnTo>
                  <a:lnTo>
                    <a:pt x="66" y="101"/>
                  </a:lnTo>
                  <a:lnTo>
                    <a:pt x="68" y="97"/>
                  </a:lnTo>
                  <a:lnTo>
                    <a:pt x="68" y="93"/>
                  </a:lnTo>
                  <a:lnTo>
                    <a:pt x="71" y="89"/>
                  </a:lnTo>
                  <a:lnTo>
                    <a:pt x="71" y="87"/>
                  </a:lnTo>
                  <a:lnTo>
                    <a:pt x="74" y="83"/>
                  </a:lnTo>
                  <a:lnTo>
                    <a:pt x="75" y="77"/>
                  </a:lnTo>
                  <a:lnTo>
                    <a:pt x="76" y="73"/>
                  </a:lnTo>
                  <a:lnTo>
                    <a:pt x="78" y="71"/>
                  </a:lnTo>
                  <a:lnTo>
                    <a:pt x="78" y="67"/>
                  </a:lnTo>
                  <a:lnTo>
                    <a:pt x="76" y="66"/>
                  </a:lnTo>
                  <a:lnTo>
                    <a:pt x="78" y="63"/>
                  </a:lnTo>
                  <a:lnTo>
                    <a:pt x="80" y="59"/>
                  </a:lnTo>
                  <a:lnTo>
                    <a:pt x="79" y="58"/>
                  </a:lnTo>
                  <a:lnTo>
                    <a:pt x="82" y="56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49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9" y="44"/>
                  </a:lnTo>
                  <a:lnTo>
                    <a:pt x="82" y="43"/>
                  </a:lnTo>
                  <a:lnTo>
                    <a:pt x="82" y="44"/>
                  </a:lnTo>
                  <a:lnTo>
                    <a:pt x="83" y="47"/>
                  </a:lnTo>
                  <a:lnTo>
                    <a:pt x="85" y="49"/>
                  </a:lnTo>
                  <a:lnTo>
                    <a:pt x="86" y="49"/>
                  </a:lnTo>
                  <a:lnTo>
                    <a:pt x="87" y="48"/>
                  </a:lnTo>
                  <a:lnTo>
                    <a:pt x="87" y="45"/>
                  </a:lnTo>
                  <a:lnTo>
                    <a:pt x="89" y="45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0"/>
                  </a:lnTo>
                  <a:lnTo>
                    <a:pt x="87" y="36"/>
                  </a:lnTo>
                  <a:lnTo>
                    <a:pt x="86" y="34"/>
                  </a:lnTo>
                  <a:lnTo>
                    <a:pt x="87" y="33"/>
                  </a:lnTo>
                  <a:lnTo>
                    <a:pt x="87" y="30"/>
                  </a:lnTo>
                  <a:lnTo>
                    <a:pt x="86" y="28"/>
                  </a:lnTo>
                  <a:lnTo>
                    <a:pt x="86" y="26"/>
                  </a:lnTo>
                  <a:lnTo>
                    <a:pt x="87" y="21"/>
                  </a:lnTo>
                  <a:lnTo>
                    <a:pt x="85" y="18"/>
                  </a:lnTo>
                  <a:lnTo>
                    <a:pt x="85" y="13"/>
                  </a:lnTo>
                  <a:lnTo>
                    <a:pt x="85" y="11"/>
                  </a:lnTo>
                  <a:lnTo>
                    <a:pt x="83" y="11"/>
                  </a:lnTo>
                  <a:lnTo>
                    <a:pt x="80" y="9"/>
                  </a:lnTo>
                  <a:lnTo>
                    <a:pt x="80" y="6"/>
                  </a:lnTo>
                  <a:lnTo>
                    <a:pt x="79" y="6"/>
                  </a:lnTo>
                  <a:lnTo>
                    <a:pt x="80" y="3"/>
                  </a:lnTo>
                  <a:lnTo>
                    <a:pt x="79" y="0"/>
                  </a:lnTo>
                  <a:lnTo>
                    <a:pt x="76" y="3"/>
                  </a:lnTo>
                  <a:lnTo>
                    <a:pt x="76" y="5"/>
                  </a:lnTo>
                  <a:lnTo>
                    <a:pt x="75" y="6"/>
                  </a:lnTo>
                  <a:lnTo>
                    <a:pt x="72" y="5"/>
                  </a:lnTo>
                  <a:lnTo>
                    <a:pt x="71" y="5"/>
                  </a:lnTo>
                  <a:lnTo>
                    <a:pt x="74" y="7"/>
                  </a:lnTo>
                  <a:lnTo>
                    <a:pt x="74" y="9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2" y="14"/>
                  </a:lnTo>
                  <a:lnTo>
                    <a:pt x="72" y="17"/>
                  </a:lnTo>
                  <a:lnTo>
                    <a:pt x="71" y="20"/>
                  </a:lnTo>
                  <a:lnTo>
                    <a:pt x="70" y="20"/>
                  </a:lnTo>
                  <a:lnTo>
                    <a:pt x="68" y="21"/>
                  </a:lnTo>
                  <a:lnTo>
                    <a:pt x="67" y="24"/>
                  </a:lnTo>
                  <a:lnTo>
                    <a:pt x="66" y="24"/>
                  </a:lnTo>
                  <a:lnTo>
                    <a:pt x="64" y="24"/>
                  </a:lnTo>
                  <a:lnTo>
                    <a:pt x="64" y="21"/>
                  </a:lnTo>
                  <a:lnTo>
                    <a:pt x="63" y="21"/>
                  </a:lnTo>
                  <a:lnTo>
                    <a:pt x="61" y="22"/>
                  </a:lnTo>
                  <a:lnTo>
                    <a:pt x="61" y="25"/>
                  </a:lnTo>
                  <a:lnTo>
                    <a:pt x="64" y="26"/>
                  </a:lnTo>
                  <a:lnTo>
                    <a:pt x="64" y="28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0" y="29"/>
                  </a:lnTo>
                  <a:lnTo>
                    <a:pt x="60" y="32"/>
                  </a:lnTo>
                  <a:lnTo>
                    <a:pt x="63" y="32"/>
                  </a:lnTo>
                  <a:lnTo>
                    <a:pt x="63" y="33"/>
                  </a:lnTo>
                  <a:lnTo>
                    <a:pt x="61" y="34"/>
                  </a:lnTo>
                  <a:lnTo>
                    <a:pt x="61" y="33"/>
                  </a:lnTo>
                  <a:lnTo>
                    <a:pt x="59" y="34"/>
                  </a:lnTo>
                  <a:lnTo>
                    <a:pt x="59" y="36"/>
                  </a:lnTo>
                  <a:lnTo>
                    <a:pt x="56" y="39"/>
                  </a:lnTo>
                  <a:lnTo>
                    <a:pt x="56" y="36"/>
                  </a:lnTo>
                  <a:lnTo>
                    <a:pt x="56" y="34"/>
                  </a:lnTo>
                  <a:lnTo>
                    <a:pt x="55" y="33"/>
                  </a:lnTo>
                  <a:lnTo>
                    <a:pt x="53" y="36"/>
                  </a:lnTo>
                  <a:lnTo>
                    <a:pt x="55" y="36"/>
                  </a:lnTo>
                  <a:lnTo>
                    <a:pt x="53" y="37"/>
                  </a:lnTo>
                  <a:lnTo>
                    <a:pt x="51" y="39"/>
                  </a:lnTo>
                  <a:lnTo>
                    <a:pt x="52" y="41"/>
                  </a:lnTo>
                  <a:lnTo>
                    <a:pt x="53" y="41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49" y="43"/>
                  </a:lnTo>
                  <a:lnTo>
                    <a:pt x="51" y="41"/>
                  </a:lnTo>
                  <a:lnTo>
                    <a:pt x="49" y="40"/>
                  </a:lnTo>
                  <a:lnTo>
                    <a:pt x="45" y="44"/>
                  </a:lnTo>
                  <a:lnTo>
                    <a:pt x="44" y="47"/>
                  </a:lnTo>
                  <a:lnTo>
                    <a:pt x="45" y="48"/>
                  </a:lnTo>
                  <a:lnTo>
                    <a:pt x="44" y="49"/>
                  </a:lnTo>
                  <a:lnTo>
                    <a:pt x="42" y="49"/>
                  </a:lnTo>
                  <a:lnTo>
                    <a:pt x="41" y="48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37" y="48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3" y="47"/>
                  </a:lnTo>
                  <a:lnTo>
                    <a:pt x="33" y="51"/>
                  </a:lnTo>
                  <a:lnTo>
                    <a:pt x="33" y="49"/>
                  </a:lnTo>
                  <a:lnTo>
                    <a:pt x="32" y="51"/>
                  </a:lnTo>
                  <a:lnTo>
                    <a:pt x="32" y="48"/>
                  </a:lnTo>
                  <a:lnTo>
                    <a:pt x="30" y="48"/>
                  </a:lnTo>
                  <a:lnTo>
                    <a:pt x="29" y="49"/>
                  </a:lnTo>
                  <a:lnTo>
                    <a:pt x="27" y="48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19" y="51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5" y="62"/>
                  </a:lnTo>
                  <a:lnTo>
                    <a:pt x="15" y="63"/>
                  </a:lnTo>
                  <a:lnTo>
                    <a:pt x="11" y="67"/>
                  </a:lnTo>
                  <a:lnTo>
                    <a:pt x="11" y="68"/>
                  </a:lnTo>
                  <a:lnTo>
                    <a:pt x="14" y="70"/>
                  </a:lnTo>
                  <a:lnTo>
                    <a:pt x="11" y="73"/>
                  </a:lnTo>
                  <a:lnTo>
                    <a:pt x="12" y="75"/>
                  </a:lnTo>
                  <a:lnTo>
                    <a:pt x="12" y="78"/>
                  </a:lnTo>
                  <a:lnTo>
                    <a:pt x="17" y="85"/>
                  </a:lnTo>
                  <a:lnTo>
                    <a:pt x="15" y="86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7" y="92"/>
                  </a:lnTo>
                  <a:lnTo>
                    <a:pt x="17" y="93"/>
                  </a:lnTo>
                  <a:lnTo>
                    <a:pt x="15" y="98"/>
                  </a:lnTo>
                  <a:lnTo>
                    <a:pt x="14" y="100"/>
                  </a:lnTo>
                  <a:lnTo>
                    <a:pt x="12" y="102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8" y="107"/>
                  </a:lnTo>
                  <a:lnTo>
                    <a:pt x="8" y="111"/>
                  </a:lnTo>
                  <a:lnTo>
                    <a:pt x="7" y="112"/>
                  </a:lnTo>
                  <a:lnTo>
                    <a:pt x="3" y="113"/>
                  </a:lnTo>
                  <a:lnTo>
                    <a:pt x="3" y="115"/>
                  </a:lnTo>
                  <a:lnTo>
                    <a:pt x="3" y="119"/>
                  </a:lnTo>
                  <a:lnTo>
                    <a:pt x="0" y="121"/>
                  </a:lnTo>
                  <a:lnTo>
                    <a:pt x="0" y="124"/>
                  </a:lnTo>
                  <a:lnTo>
                    <a:pt x="0" y="126"/>
                  </a:lnTo>
                  <a:lnTo>
                    <a:pt x="0" y="127"/>
                  </a:lnTo>
                  <a:lnTo>
                    <a:pt x="0" y="131"/>
                  </a:lnTo>
                  <a:lnTo>
                    <a:pt x="3" y="135"/>
                  </a:lnTo>
                  <a:lnTo>
                    <a:pt x="3" y="138"/>
                  </a:lnTo>
                  <a:lnTo>
                    <a:pt x="3" y="139"/>
                  </a:lnTo>
                  <a:lnTo>
                    <a:pt x="6" y="141"/>
                  </a:lnTo>
                  <a:lnTo>
                    <a:pt x="6" y="139"/>
                  </a:lnTo>
                  <a:lnTo>
                    <a:pt x="6" y="141"/>
                  </a:lnTo>
                  <a:lnTo>
                    <a:pt x="3" y="141"/>
                  </a:lnTo>
                  <a:lnTo>
                    <a:pt x="3" y="143"/>
                  </a:lnTo>
                  <a:lnTo>
                    <a:pt x="3" y="147"/>
                  </a:lnTo>
                  <a:lnTo>
                    <a:pt x="3" y="153"/>
                  </a:lnTo>
                  <a:lnTo>
                    <a:pt x="4" y="153"/>
                  </a:lnTo>
                  <a:lnTo>
                    <a:pt x="4" y="154"/>
                  </a:lnTo>
                  <a:lnTo>
                    <a:pt x="6" y="155"/>
                  </a:lnTo>
                  <a:lnTo>
                    <a:pt x="7" y="158"/>
                  </a:lnTo>
                  <a:lnTo>
                    <a:pt x="8" y="158"/>
                  </a:lnTo>
                  <a:lnTo>
                    <a:pt x="8" y="160"/>
                  </a:lnTo>
                  <a:lnTo>
                    <a:pt x="11" y="162"/>
                  </a:lnTo>
                  <a:lnTo>
                    <a:pt x="12" y="161"/>
                  </a:lnTo>
                  <a:lnTo>
                    <a:pt x="12" y="162"/>
                  </a:lnTo>
                  <a:lnTo>
                    <a:pt x="15" y="162"/>
                  </a:lnTo>
                  <a:lnTo>
                    <a:pt x="17" y="165"/>
                  </a:lnTo>
                  <a:lnTo>
                    <a:pt x="18" y="165"/>
                  </a:lnTo>
                  <a:lnTo>
                    <a:pt x="18" y="166"/>
                  </a:lnTo>
                  <a:lnTo>
                    <a:pt x="19" y="168"/>
                  </a:lnTo>
                  <a:lnTo>
                    <a:pt x="19" y="16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2" name="Freeform 132"/>
            <p:cNvSpPr>
              <a:spLocks/>
            </p:cNvSpPr>
            <p:nvPr/>
          </p:nvSpPr>
          <p:spPr bwMode="auto">
            <a:xfrm>
              <a:off x="2321" y="2126"/>
              <a:ext cx="124" cy="197"/>
            </a:xfrm>
            <a:custGeom>
              <a:avLst/>
              <a:gdLst>
                <a:gd name="T0" fmla="*/ 22 w 124"/>
                <a:gd name="T1" fmla="*/ 122 h 197"/>
                <a:gd name="T2" fmla="*/ 24 w 124"/>
                <a:gd name="T3" fmla="*/ 117 h 197"/>
                <a:gd name="T4" fmla="*/ 27 w 124"/>
                <a:gd name="T5" fmla="*/ 107 h 197"/>
                <a:gd name="T6" fmla="*/ 27 w 124"/>
                <a:gd name="T7" fmla="*/ 100 h 197"/>
                <a:gd name="T8" fmla="*/ 28 w 124"/>
                <a:gd name="T9" fmla="*/ 94 h 197"/>
                <a:gd name="T10" fmla="*/ 30 w 124"/>
                <a:gd name="T11" fmla="*/ 84 h 197"/>
                <a:gd name="T12" fmla="*/ 30 w 124"/>
                <a:gd name="T13" fmla="*/ 76 h 197"/>
                <a:gd name="T14" fmla="*/ 19 w 124"/>
                <a:gd name="T15" fmla="*/ 72 h 197"/>
                <a:gd name="T16" fmla="*/ 8 w 124"/>
                <a:gd name="T17" fmla="*/ 68 h 197"/>
                <a:gd name="T18" fmla="*/ 0 w 124"/>
                <a:gd name="T19" fmla="*/ 57 h 197"/>
                <a:gd name="T20" fmla="*/ 22 w 124"/>
                <a:gd name="T21" fmla="*/ 47 h 197"/>
                <a:gd name="T22" fmla="*/ 36 w 124"/>
                <a:gd name="T23" fmla="*/ 45 h 197"/>
                <a:gd name="T24" fmla="*/ 42 w 124"/>
                <a:gd name="T25" fmla="*/ 47 h 197"/>
                <a:gd name="T26" fmla="*/ 50 w 124"/>
                <a:gd name="T27" fmla="*/ 53 h 197"/>
                <a:gd name="T28" fmla="*/ 46 w 124"/>
                <a:gd name="T29" fmla="*/ 65 h 197"/>
                <a:gd name="T30" fmla="*/ 53 w 124"/>
                <a:gd name="T31" fmla="*/ 75 h 197"/>
                <a:gd name="T32" fmla="*/ 57 w 124"/>
                <a:gd name="T33" fmla="*/ 80 h 197"/>
                <a:gd name="T34" fmla="*/ 60 w 124"/>
                <a:gd name="T35" fmla="*/ 68 h 197"/>
                <a:gd name="T36" fmla="*/ 64 w 124"/>
                <a:gd name="T37" fmla="*/ 58 h 197"/>
                <a:gd name="T38" fmla="*/ 65 w 124"/>
                <a:gd name="T39" fmla="*/ 54 h 197"/>
                <a:gd name="T40" fmla="*/ 62 w 124"/>
                <a:gd name="T41" fmla="*/ 45 h 197"/>
                <a:gd name="T42" fmla="*/ 54 w 124"/>
                <a:gd name="T43" fmla="*/ 35 h 197"/>
                <a:gd name="T44" fmla="*/ 64 w 124"/>
                <a:gd name="T45" fmla="*/ 12 h 197"/>
                <a:gd name="T46" fmla="*/ 69 w 124"/>
                <a:gd name="T47" fmla="*/ 13 h 197"/>
                <a:gd name="T48" fmla="*/ 77 w 124"/>
                <a:gd name="T49" fmla="*/ 12 h 197"/>
                <a:gd name="T50" fmla="*/ 83 w 124"/>
                <a:gd name="T51" fmla="*/ 13 h 197"/>
                <a:gd name="T52" fmla="*/ 91 w 124"/>
                <a:gd name="T53" fmla="*/ 9 h 197"/>
                <a:gd name="T54" fmla="*/ 99 w 124"/>
                <a:gd name="T55" fmla="*/ 9 h 197"/>
                <a:gd name="T56" fmla="*/ 109 w 124"/>
                <a:gd name="T57" fmla="*/ 7 h 197"/>
                <a:gd name="T58" fmla="*/ 118 w 124"/>
                <a:gd name="T59" fmla="*/ 1 h 197"/>
                <a:gd name="T60" fmla="*/ 122 w 124"/>
                <a:gd name="T61" fmla="*/ 4 h 197"/>
                <a:gd name="T62" fmla="*/ 121 w 124"/>
                <a:gd name="T63" fmla="*/ 11 h 197"/>
                <a:gd name="T64" fmla="*/ 121 w 124"/>
                <a:gd name="T65" fmla="*/ 20 h 197"/>
                <a:gd name="T66" fmla="*/ 121 w 124"/>
                <a:gd name="T67" fmla="*/ 31 h 197"/>
                <a:gd name="T68" fmla="*/ 118 w 124"/>
                <a:gd name="T69" fmla="*/ 43 h 197"/>
                <a:gd name="T70" fmla="*/ 122 w 124"/>
                <a:gd name="T71" fmla="*/ 50 h 197"/>
                <a:gd name="T72" fmla="*/ 118 w 124"/>
                <a:gd name="T73" fmla="*/ 54 h 197"/>
                <a:gd name="T74" fmla="*/ 118 w 124"/>
                <a:gd name="T75" fmla="*/ 58 h 197"/>
                <a:gd name="T76" fmla="*/ 111 w 124"/>
                <a:gd name="T77" fmla="*/ 69 h 197"/>
                <a:gd name="T78" fmla="*/ 100 w 124"/>
                <a:gd name="T79" fmla="*/ 77 h 197"/>
                <a:gd name="T80" fmla="*/ 81 w 124"/>
                <a:gd name="T81" fmla="*/ 85 h 197"/>
                <a:gd name="T82" fmla="*/ 76 w 124"/>
                <a:gd name="T83" fmla="*/ 90 h 197"/>
                <a:gd name="T84" fmla="*/ 68 w 124"/>
                <a:gd name="T85" fmla="*/ 98 h 197"/>
                <a:gd name="T86" fmla="*/ 57 w 124"/>
                <a:gd name="T87" fmla="*/ 106 h 197"/>
                <a:gd name="T88" fmla="*/ 49 w 124"/>
                <a:gd name="T89" fmla="*/ 110 h 197"/>
                <a:gd name="T90" fmla="*/ 49 w 124"/>
                <a:gd name="T91" fmla="*/ 115 h 197"/>
                <a:gd name="T92" fmla="*/ 49 w 124"/>
                <a:gd name="T93" fmla="*/ 126 h 197"/>
                <a:gd name="T94" fmla="*/ 53 w 124"/>
                <a:gd name="T95" fmla="*/ 141 h 197"/>
                <a:gd name="T96" fmla="*/ 56 w 124"/>
                <a:gd name="T97" fmla="*/ 141 h 197"/>
                <a:gd name="T98" fmla="*/ 56 w 124"/>
                <a:gd name="T99" fmla="*/ 149 h 197"/>
                <a:gd name="T100" fmla="*/ 53 w 124"/>
                <a:gd name="T101" fmla="*/ 159 h 197"/>
                <a:gd name="T102" fmla="*/ 53 w 124"/>
                <a:gd name="T103" fmla="*/ 166 h 197"/>
                <a:gd name="T104" fmla="*/ 23 w 124"/>
                <a:gd name="T105" fmla="*/ 181 h 197"/>
                <a:gd name="T106" fmla="*/ 17 w 124"/>
                <a:gd name="T107" fmla="*/ 187 h 197"/>
                <a:gd name="T108" fmla="*/ 23 w 124"/>
                <a:gd name="T109" fmla="*/ 191 h 197"/>
                <a:gd name="T110" fmla="*/ 22 w 124"/>
                <a:gd name="T111" fmla="*/ 196 h 197"/>
                <a:gd name="T112" fmla="*/ 15 w 124"/>
                <a:gd name="T113" fmla="*/ 196 h 197"/>
                <a:gd name="T114" fmla="*/ 13 w 124"/>
                <a:gd name="T115" fmla="*/ 189 h 197"/>
                <a:gd name="T116" fmla="*/ 12 w 124"/>
                <a:gd name="T117" fmla="*/ 177 h 197"/>
                <a:gd name="T118" fmla="*/ 12 w 124"/>
                <a:gd name="T119" fmla="*/ 159 h 197"/>
                <a:gd name="T120" fmla="*/ 8 w 124"/>
                <a:gd name="T121" fmla="*/ 144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4" h="197">
                  <a:moveTo>
                    <a:pt x="8" y="144"/>
                  </a:moveTo>
                  <a:lnTo>
                    <a:pt x="22" y="132"/>
                  </a:lnTo>
                  <a:lnTo>
                    <a:pt x="22" y="128"/>
                  </a:lnTo>
                  <a:lnTo>
                    <a:pt x="22" y="126"/>
                  </a:lnTo>
                  <a:lnTo>
                    <a:pt x="22" y="122"/>
                  </a:lnTo>
                  <a:lnTo>
                    <a:pt x="23" y="121"/>
                  </a:lnTo>
                  <a:lnTo>
                    <a:pt x="22" y="119"/>
                  </a:lnTo>
                  <a:lnTo>
                    <a:pt x="23" y="118"/>
                  </a:lnTo>
                  <a:lnTo>
                    <a:pt x="24" y="118"/>
                  </a:lnTo>
                  <a:lnTo>
                    <a:pt x="24" y="117"/>
                  </a:lnTo>
                  <a:lnTo>
                    <a:pt x="27" y="114"/>
                  </a:lnTo>
                  <a:lnTo>
                    <a:pt x="28" y="113"/>
                  </a:lnTo>
                  <a:lnTo>
                    <a:pt x="28" y="110"/>
                  </a:lnTo>
                  <a:lnTo>
                    <a:pt x="27" y="110"/>
                  </a:lnTo>
                  <a:lnTo>
                    <a:pt x="27" y="107"/>
                  </a:lnTo>
                  <a:lnTo>
                    <a:pt x="28" y="106"/>
                  </a:lnTo>
                  <a:lnTo>
                    <a:pt x="27" y="104"/>
                  </a:lnTo>
                  <a:lnTo>
                    <a:pt x="26" y="103"/>
                  </a:lnTo>
                  <a:lnTo>
                    <a:pt x="26" y="102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7" y="96"/>
                  </a:lnTo>
                  <a:lnTo>
                    <a:pt x="30" y="95"/>
                  </a:lnTo>
                  <a:lnTo>
                    <a:pt x="30" y="94"/>
                  </a:lnTo>
                  <a:lnTo>
                    <a:pt x="28" y="94"/>
                  </a:lnTo>
                  <a:lnTo>
                    <a:pt x="27" y="92"/>
                  </a:lnTo>
                  <a:lnTo>
                    <a:pt x="28" y="91"/>
                  </a:lnTo>
                  <a:lnTo>
                    <a:pt x="28" y="87"/>
                  </a:lnTo>
                  <a:lnTo>
                    <a:pt x="30" y="85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1"/>
                  </a:lnTo>
                  <a:lnTo>
                    <a:pt x="30" y="79"/>
                  </a:lnTo>
                  <a:lnTo>
                    <a:pt x="31" y="77"/>
                  </a:lnTo>
                  <a:lnTo>
                    <a:pt x="30" y="76"/>
                  </a:lnTo>
                  <a:lnTo>
                    <a:pt x="27" y="75"/>
                  </a:lnTo>
                  <a:lnTo>
                    <a:pt x="27" y="73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6" y="69"/>
                  </a:lnTo>
                  <a:lnTo>
                    <a:pt x="13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8" y="68"/>
                  </a:lnTo>
                  <a:lnTo>
                    <a:pt x="8" y="66"/>
                  </a:lnTo>
                  <a:lnTo>
                    <a:pt x="5" y="66"/>
                  </a:lnTo>
                  <a:lnTo>
                    <a:pt x="1" y="65"/>
                  </a:lnTo>
                  <a:lnTo>
                    <a:pt x="1" y="60"/>
                  </a:lnTo>
                  <a:lnTo>
                    <a:pt x="0" y="57"/>
                  </a:lnTo>
                  <a:lnTo>
                    <a:pt x="1" y="54"/>
                  </a:lnTo>
                  <a:lnTo>
                    <a:pt x="5" y="53"/>
                  </a:lnTo>
                  <a:lnTo>
                    <a:pt x="8" y="53"/>
                  </a:lnTo>
                  <a:lnTo>
                    <a:pt x="20" y="47"/>
                  </a:lnTo>
                  <a:lnTo>
                    <a:pt x="22" y="47"/>
                  </a:lnTo>
                  <a:lnTo>
                    <a:pt x="30" y="45"/>
                  </a:lnTo>
                  <a:lnTo>
                    <a:pt x="32" y="43"/>
                  </a:lnTo>
                  <a:lnTo>
                    <a:pt x="36" y="42"/>
                  </a:lnTo>
                  <a:lnTo>
                    <a:pt x="36" y="43"/>
                  </a:lnTo>
                  <a:lnTo>
                    <a:pt x="36" y="45"/>
                  </a:lnTo>
                  <a:lnTo>
                    <a:pt x="38" y="46"/>
                  </a:lnTo>
                  <a:lnTo>
                    <a:pt x="38" y="47"/>
                  </a:lnTo>
                  <a:lnTo>
                    <a:pt x="41" y="49"/>
                  </a:lnTo>
                  <a:lnTo>
                    <a:pt x="41" y="47"/>
                  </a:lnTo>
                  <a:lnTo>
                    <a:pt x="42" y="47"/>
                  </a:lnTo>
                  <a:lnTo>
                    <a:pt x="43" y="47"/>
                  </a:lnTo>
                  <a:lnTo>
                    <a:pt x="46" y="47"/>
                  </a:lnTo>
                  <a:lnTo>
                    <a:pt x="49" y="47"/>
                  </a:lnTo>
                  <a:lnTo>
                    <a:pt x="50" y="50"/>
                  </a:lnTo>
                  <a:lnTo>
                    <a:pt x="50" y="53"/>
                  </a:lnTo>
                  <a:lnTo>
                    <a:pt x="50" y="56"/>
                  </a:lnTo>
                  <a:lnTo>
                    <a:pt x="47" y="58"/>
                  </a:lnTo>
                  <a:lnTo>
                    <a:pt x="47" y="61"/>
                  </a:lnTo>
                  <a:lnTo>
                    <a:pt x="46" y="62"/>
                  </a:lnTo>
                  <a:lnTo>
                    <a:pt x="46" y="65"/>
                  </a:lnTo>
                  <a:lnTo>
                    <a:pt x="46" y="68"/>
                  </a:lnTo>
                  <a:lnTo>
                    <a:pt x="47" y="69"/>
                  </a:lnTo>
                  <a:lnTo>
                    <a:pt x="49" y="72"/>
                  </a:lnTo>
                  <a:lnTo>
                    <a:pt x="51" y="73"/>
                  </a:lnTo>
                  <a:lnTo>
                    <a:pt x="53" y="75"/>
                  </a:lnTo>
                  <a:lnTo>
                    <a:pt x="54" y="76"/>
                  </a:lnTo>
                  <a:lnTo>
                    <a:pt x="56" y="77"/>
                  </a:lnTo>
                  <a:lnTo>
                    <a:pt x="54" y="79"/>
                  </a:lnTo>
                  <a:lnTo>
                    <a:pt x="56" y="80"/>
                  </a:lnTo>
                  <a:lnTo>
                    <a:pt x="57" y="80"/>
                  </a:lnTo>
                  <a:lnTo>
                    <a:pt x="58" y="77"/>
                  </a:lnTo>
                  <a:lnTo>
                    <a:pt x="57" y="75"/>
                  </a:lnTo>
                  <a:lnTo>
                    <a:pt x="58" y="73"/>
                  </a:lnTo>
                  <a:lnTo>
                    <a:pt x="58" y="71"/>
                  </a:lnTo>
                  <a:lnTo>
                    <a:pt x="60" y="68"/>
                  </a:lnTo>
                  <a:lnTo>
                    <a:pt x="62" y="66"/>
                  </a:lnTo>
                  <a:lnTo>
                    <a:pt x="64" y="65"/>
                  </a:lnTo>
                  <a:lnTo>
                    <a:pt x="65" y="64"/>
                  </a:lnTo>
                  <a:lnTo>
                    <a:pt x="65" y="60"/>
                  </a:lnTo>
                  <a:lnTo>
                    <a:pt x="64" y="58"/>
                  </a:lnTo>
                  <a:lnTo>
                    <a:pt x="64" y="57"/>
                  </a:lnTo>
                  <a:lnTo>
                    <a:pt x="64" y="57"/>
                  </a:lnTo>
                  <a:lnTo>
                    <a:pt x="64" y="56"/>
                  </a:lnTo>
                  <a:lnTo>
                    <a:pt x="65" y="56"/>
                  </a:lnTo>
                  <a:lnTo>
                    <a:pt x="65" y="54"/>
                  </a:lnTo>
                  <a:lnTo>
                    <a:pt x="66" y="53"/>
                  </a:lnTo>
                  <a:lnTo>
                    <a:pt x="66" y="53"/>
                  </a:lnTo>
                  <a:lnTo>
                    <a:pt x="66" y="50"/>
                  </a:lnTo>
                  <a:lnTo>
                    <a:pt x="65" y="47"/>
                  </a:lnTo>
                  <a:lnTo>
                    <a:pt x="62" y="45"/>
                  </a:lnTo>
                  <a:lnTo>
                    <a:pt x="61" y="42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6" y="37"/>
                  </a:lnTo>
                  <a:lnTo>
                    <a:pt x="54" y="35"/>
                  </a:lnTo>
                  <a:lnTo>
                    <a:pt x="50" y="34"/>
                  </a:lnTo>
                  <a:lnTo>
                    <a:pt x="49" y="23"/>
                  </a:lnTo>
                  <a:lnTo>
                    <a:pt x="51" y="12"/>
                  </a:lnTo>
                  <a:lnTo>
                    <a:pt x="62" y="12"/>
                  </a:lnTo>
                  <a:lnTo>
                    <a:pt x="64" y="12"/>
                  </a:lnTo>
                  <a:lnTo>
                    <a:pt x="65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8" y="12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5" y="15"/>
                  </a:lnTo>
                  <a:lnTo>
                    <a:pt x="77" y="12"/>
                  </a:lnTo>
                  <a:lnTo>
                    <a:pt x="79" y="12"/>
                  </a:lnTo>
                  <a:lnTo>
                    <a:pt x="80" y="11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7" y="13"/>
                  </a:lnTo>
                  <a:lnTo>
                    <a:pt x="90" y="12"/>
                  </a:lnTo>
                  <a:lnTo>
                    <a:pt x="91" y="11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4" y="9"/>
                  </a:lnTo>
                  <a:lnTo>
                    <a:pt x="95" y="9"/>
                  </a:lnTo>
                  <a:lnTo>
                    <a:pt x="96" y="11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5"/>
                  </a:lnTo>
                  <a:lnTo>
                    <a:pt x="115" y="4"/>
                  </a:lnTo>
                  <a:lnTo>
                    <a:pt x="117" y="3"/>
                  </a:lnTo>
                  <a:lnTo>
                    <a:pt x="118" y="1"/>
                  </a:lnTo>
                  <a:lnTo>
                    <a:pt x="121" y="1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4" y="1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21" y="11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19" y="16"/>
                  </a:lnTo>
                  <a:lnTo>
                    <a:pt x="121" y="19"/>
                  </a:lnTo>
                  <a:lnTo>
                    <a:pt x="121" y="20"/>
                  </a:lnTo>
                  <a:lnTo>
                    <a:pt x="121" y="23"/>
                  </a:lnTo>
                  <a:lnTo>
                    <a:pt x="121" y="24"/>
                  </a:lnTo>
                  <a:lnTo>
                    <a:pt x="121" y="27"/>
                  </a:lnTo>
                  <a:lnTo>
                    <a:pt x="121" y="28"/>
                  </a:lnTo>
                  <a:lnTo>
                    <a:pt x="121" y="31"/>
                  </a:lnTo>
                  <a:lnTo>
                    <a:pt x="119" y="37"/>
                  </a:lnTo>
                  <a:lnTo>
                    <a:pt x="119" y="37"/>
                  </a:lnTo>
                  <a:lnTo>
                    <a:pt x="119" y="38"/>
                  </a:lnTo>
                  <a:lnTo>
                    <a:pt x="119" y="43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1" y="45"/>
                  </a:lnTo>
                  <a:lnTo>
                    <a:pt x="122" y="45"/>
                  </a:lnTo>
                  <a:lnTo>
                    <a:pt x="122" y="50"/>
                  </a:lnTo>
                  <a:lnTo>
                    <a:pt x="121" y="51"/>
                  </a:lnTo>
                  <a:lnTo>
                    <a:pt x="119" y="53"/>
                  </a:lnTo>
                  <a:lnTo>
                    <a:pt x="121" y="53"/>
                  </a:lnTo>
                  <a:lnTo>
                    <a:pt x="121" y="54"/>
                  </a:lnTo>
                  <a:lnTo>
                    <a:pt x="118" y="54"/>
                  </a:lnTo>
                  <a:lnTo>
                    <a:pt x="117" y="56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9" y="57"/>
                  </a:lnTo>
                  <a:lnTo>
                    <a:pt x="118" y="58"/>
                  </a:lnTo>
                  <a:lnTo>
                    <a:pt x="118" y="61"/>
                  </a:lnTo>
                  <a:lnTo>
                    <a:pt x="117" y="61"/>
                  </a:lnTo>
                  <a:lnTo>
                    <a:pt x="114" y="64"/>
                  </a:lnTo>
                  <a:lnTo>
                    <a:pt x="114" y="65"/>
                  </a:lnTo>
                  <a:lnTo>
                    <a:pt x="111" y="69"/>
                  </a:lnTo>
                  <a:lnTo>
                    <a:pt x="110" y="69"/>
                  </a:lnTo>
                  <a:lnTo>
                    <a:pt x="110" y="71"/>
                  </a:lnTo>
                  <a:lnTo>
                    <a:pt x="102" y="75"/>
                  </a:lnTo>
                  <a:lnTo>
                    <a:pt x="100" y="76"/>
                  </a:lnTo>
                  <a:lnTo>
                    <a:pt x="100" y="77"/>
                  </a:lnTo>
                  <a:lnTo>
                    <a:pt x="94" y="81"/>
                  </a:lnTo>
                  <a:lnTo>
                    <a:pt x="90" y="80"/>
                  </a:lnTo>
                  <a:lnTo>
                    <a:pt x="90" y="81"/>
                  </a:lnTo>
                  <a:lnTo>
                    <a:pt x="87" y="83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0" y="87"/>
                  </a:lnTo>
                  <a:lnTo>
                    <a:pt x="77" y="90"/>
                  </a:lnTo>
                  <a:lnTo>
                    <a:pt x="76" y="91"/>
                  </a:lnTo>
                  <a:lnTo>
                    <a:pt x="76" y="90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3" y="94"/>
                  </a:lnTo>
                  <a:lnTo>
                    <a:pt x="69" y="96"/>
                  </a:lnTo>
                  <a:lnTo>
                    <a:pt x="68" y="98"/>
                  </a:lnTo>
                  <a:lnTo>
                    <a:pt x="68" y="99"/>
                  </a:lnTo>
                  <a:lnTo>
                    <a:pt x="66" y="99"/>
                  </a:lnTo>
                  <a:lnTo>
                    <a:pt x="66" y="100"/>
                  </a:lnTo>
                  <a:lnTo>
                    <a:pt x="64" y="102"/>
                  </a:lnTo>
                  <a:lnTo>
                    <a:pt x="57" y="106"/>
                  </a:lnTo>
                  <a:lnTo>
                    <a:pt x="58" y="109"/>
                  </a:lnTo>
                  <a:lnTo>
                    <a:pt x="56" y="110"/>
                  </a:lnTo>
                  <a:lnTo>
                    <a:pt x="53" y="110"/>
                  </a:lnTo>
                  <a:lnTo>
                    <a:pt x="51" y="111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3"/>
                  </a:lnTo>
                  <a:lnTo>
                    <a:pt x="49" y="114"/>
                  </a:lnTo>
                  <a:lnTo>
                    <a:pt x="49" y="115"/>
                  </a:lnTo>
                  <a:lnTo>
                    <a:pt x="49" y="117"/>
                  </a:lnTo>
                  <a:lnTo>
                    <a:pt x="47" y="118"/>
                  </a:lnTo>
                  <a:lnTo>
                    <a:pt x="50" y="124"/>
                  </a:lnTo>
                  <a:lnTo>
                    <a:pt x="51" y="125"/>
                  </a:lnTo>
                  <a:lnTo>
                    <a:pt x="49" y="126"/>
                  </a:lnTo>
                  <a:lnTo>
                    <a:pt x="50" y="126"/>
                  </a:lnTo>
                  <a:lnTo>
                    <a:pt x="51" y="129"/>
                  </a:lnTo>
                  <a:lnTo>
                    <a:pt x="51" y="132"/>
                  </a:lnTo>
                  <a:lnTo>
                    <a:pt x="53" y="134"/>
                  </a:lnTo>
                  <a:lnTo>
                    <a:pt x="53" y="141"/>
                  </a:lnTo>
                  <a:lnTo>
                    <a:pt x="53" y="144"/>
                  </a:lnTo>
                  <a:lnTo>
                    <a:pt x="54" y="144"/>
                  </a:lnTo>
                  <a:lnTo>
                    <a:pt x="54" y="141"/>
                  </a:lnTo>
                  <a:lnTo>
                    <a:pt x="56" y="138"/>
                  </a:lnTo>
                  <a:lnTo>
                    <a:pt x="56" y="141"/>
                  </a:lnTo>
                  <a:lnTo>
                    <a:pt x="56" y="141"/>
                  </a:lnTo>
                  <a:lnTo>
                    <a:pt x="56" y="144"/>
                  </a:lnTo>
                  <a:lnTo>
                    <a:pt x="56" y="145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4" y="153"/>
                  </a:lnTo>
                  <a:lnTo>
                    <a:pt x="54" y="155"/>
                  </a:lnTo>
                  <a:lnTo>
                    <a:pt x="53" y="156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3" y="160"/>
                  </a:lnTo>
                  <a:lnTo>
                    <a:pt x="54" y="160"/>
                  </a:lnTo>
                  <a:lnTo>
                    <a:pt x="54" y="162"/>
                  </a:lnTo>
                  <a:lnTo>
                    <a:pt x="53" y="163"/>
                  </a:lnTo>
                  <a:lnTo>
                    <a:pt x="53" y="166"/>
                  </a:lnTo>
                  <a:lnTo>
                    <a:pt x="49" y="171"/>
                  </a:lnTo>
                  <a:lnTo>
                    <a:pt x="41" y="174"/>
                  </a:lnTo>
                  <a:lnTo>
                    <a:pt x="31" y="177"/>
                  </a:lnTo>
                  <a:lnTo>
                    <a:pt x="27" y="181"/>
                  </a:lnTo>
                  <a:lnTo>
                    <a:pt x="23" y="181"/>
                  </a:lnTo>
                  <a:lnTo>
                    <a:pt x="23" y="182"/>
                  </a:lnTo>
                  <a:lnTo>
                    <a:pt x="22" y="183"/>
                  </a:lnTo>
                  <a:lnTo>
                    <a:pt x="20" y="186"/>
                  </a:lnTo>
                  <a:lnTo>
                    <a:pt x="19" y="186"/>
                  </a:lnTo>
                  <a:lnTo>
                    <a:pt x="17" y="187"/>
                  </a:lnTo>
                  <a:lnTo>
                    <a:pt x="19" y="187"/>
                  </a:lnTo>
                  <a:lnTo>
                    <a:pt x="20" y="190"/>
                  </a:lnTo>
                  <a:lnTo>
                    <a:pt x="20" y="191"/>
                  </a:lnTo>
                  <a:lnTo>
                    <a:pt x="20" y="190"/>
                  </a:lnTo>
                  <a:lnTo>
                    <a:pt x="23" y="191"/>
                  </a:lnTo>
                  <a:lnTo>
                    <a:pt x="23" y="189"/>
                  </a:lnTo>
                  <a:lnTo>
                    <a:pt x="23" y="189"/>
                  </a:lnTo>
                  <a:lnTo>
                    <a:pt x="24" y="190"/>
                  </a:lnTo>
                  <a:lnTo>
                    <a:pt x="23" y="193"/>
                  </a:lnTo>
                  <a:lnTo>
                    <a:pt x="22" y="196"/>
                  </a:lnTo>
                  <a:lnTo>
                    <a:pt x="22" y="197"/>
                  </a:lnTo>
                  <a:lnTo>
                    <a:pt x="20" y="197"/>
                  </a:lnTo>
                  <a:lnTo>
                    <a:pt x="16" y="196"/>
                  </a:lnTo>
                  <a:lnTo>
                    <a:pt x="15" y="197"/>
                  </a:lnTo>
                  <a:lnTo>
                    <a:pt x="15" y="196"/>
                  </a:lnTo>
                  <a:lnTo>
                    <a:pt x="15" y="193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0"/>
                  </a:lnTo>
                  <a:lnTo>
                    <a:pt x="13" y="189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3"/>
                  </a:lnTo>
                  <a:lnTo>
                    <a:pt x="12" y="179"/>
                  </a:lnTo>
                  <a:lnTo>
                    <a:pt x="12" y="177"/>
                  </a:lnTo>
                  <a:lnTo>
                    <a:pt x="13" y="167"/>
                  </a:lnTo>
                  <a:lnTo>
                    <a:pt x="12" y="164"/>
                  </a:lnTo>
                  <a:lnTo>
                    <a:pt x="11" y="162"/>
                  </a:lnTo>
                  <a:lnTo>
                    <a:pt x="11" y="160"/>
                  </a:lnTo>
                  <a:lnTo>
                    <a:pt x="12" y="159"/>
                  </a:lnTo>
                  <a:lnTo>
                    <a:pt x="11" y="153"/>
                  </a:lnTo>
                  <a:lnTo>
                    <a:pt x="9" y="151"/>
                  </a:lnTo>
                  <a:lnTo>
                    <a:pt x="9" y="148"/>
                  </a:lnTo>
                  <a:lnTo>
                    <a:pt x="8" y="145"/>
                  </a:lnTo>
                  <a:lnTo>
                    <a:pt x="8" y="14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3" name="Freeform 133"/>
            <p:cNvSpPr>
              <a:spLocks/>
            </p:cNvSpPr>
            <p:nvPr/>
          </p:nvSpPr>
          <p:spPr bwMode="auto">
            <a:xfrm>
              <a:off x="2319" y="2309"/>
              <a:ext cx="17" cy="19"/>
            </a:xfrm>
            <a:custGeom>
              <a:avLst/>
              <a:gdLst>
                <a:gd name="T0" fmla="*/ 14 w 17"/>
                <a:gd name="T1" fmla="*/ 4 h 19"/>
                <a:gd name="T2" fmla="*/ 14 w 17"/>
                <a:gd name="T3" fmla="*/ 4 h 19"/>
                <a:gd name="T4" fmla="*/ 15 w 17"/>
                <a:gd name="T5" fmla="*/ 6 h 19"/>
                <a:gd name="T6" fmla="*/ 17 w 17"/>
                <a:gd name="T7" fmla="*/ 7 h 19"/>
                <a:gd name="T8" fmla="*/ 17 w 17"/>
                <a:gd name="T9" fmla="*/ 8 h 19"/>
                <a:gd name="T10" fmla="*/ 17 w 17"/>
                <a:gd name="T11" fmla="*/ 8 h 19"/>
                <a:gd name="T12" fmla="*/ 17 w 17"/>
                <a:gd name="T13" fmla="*/ 10 h 19"/>
                <a:gd name="T14" fmla="*/ 17 w 17"/>
                <a:gd name="T15" fmla="*/ 13 h 19"/>
                <a:gd name="T16" fmla="*/ 17 w 17"/>
                <a:gd name="T17" fmla="*/ 14 h 19"/>
                <a:gd name="T18" fmla="*/ 15 w 17"/>
                <a:gd name="T19" fmla="*/ 14 h 19"/>
                <a:gd name="T20" fmla="*/ 14 w 17"/>
                <a:gd name="T21" fmla="*/ 14 h 19"/>
                <a:gd name="T22" fmla="*/ 14 w 17"/>
                <a:gd name="T23" fmla="*/ 17 h 19"/>
                <a:gd name="T24" fmla="*/ 14 w 17"/>
                <a:gd name="T25" fmla="*/ 18 h 19"/>
                <a:gd name="T26" fmla="*/ 13 w 17"/>
                <a:gd name="T27" fmla="*/ 19 h 19"/>
                <a:gd name="T28" fmla="*/ 7 w 17"/>
                <a:gd name="T29" fmla="*/ 18 h 19"/>
                <a:gd name="T30" fmla="*/ 3 w 17"/>
                <a:gd name="T31" fmla="*/ 17 h 19"/>
                <a:gd name="T32" fmla="*/ 2 w 17"/>
                <a:gd name="T33" fmla="*/ 14 h 19"/>
                <a:gd name="T34" fmla="*/ 0 w 17"/>
                <a:gd name="T35" fmla="*/ 13 h 19"/>
                <a:gd name="T36" fmla="*/ 0 w 17"/>
                <a:gd name="T37" fmla="*/ 11 h 19"/>
                <a:gd name="T38" fmla="*/ 2 w 17"/>
                <a:gd name="T39" fmla="*/ 8 h 19"/>
                <a:gd name="T40" fmla="*/ 4 w 17"/>
                <a:gd name="T41" fmla="*/ 3 h 19"/>
                <a:gd name="T42" fmla="*/ 4 w 17"/>
                <a:gd name="T43" fmla="*/ 2 h 19"/>
                <a:gd name="T44" fmla="*/ 7 w 17"/>
                <a:gd name="T45" fmla="*/ 0 h 19"/>
                <a:gd name="T46" fmla="*/ 10 w 17"/>
                <a:gd name="T47" fmla="*/ 2 h 19"/>
                <a:gd name="T48" fmla="*/ 11 w 17"/>
                <a:gd name="T49" fmla="*/ 3 h 19"/>
                <a:gd name="T50" fmla="*/ 14 w 17"/>
                <a:gd name="T51" fmla="*/ 4 h 19"/>
                <a:gd name="T52" fmla="*/ 14 w 17"/>
                <a:gd name="T5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" h="19">
                  <a:moveTo>
                    <a:pt x="14" y="4"/>
                  </a:moveTo>
                  <a:lnTo>
                    <a:pt x="14" y="4"/>
                  </a:lnTo>
                  <a:lnTo>
                    <a:pt x="15" y="6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3" y="19"/>
                  </a:lnTo>
                  <a:lnTo>
                    <a:pt x="7" y="18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2" y="8"/>
                  </a:lnTo>
                  <a:lnTo>
                    <a:pt x="4" y="3"/>
                  </a:lnTo>
                  <a:lnTo>
                    <a:pt x="4" y="2"/>
                  </a:lnTo>
                  <a:lnTo>
                    <a:pt x="7" y="0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4" name="Freeform 134"/>
            <p:cNvSpPr>
              <a:spLocks noEditPoints="1"/>
            </p:cNvSpPr>
            <p:nvPr/>
          </p:nvSpPr>
          <p:spPr bwMode="auto">
            <a:xfrm>
              <a:off x="2154" y="2266"/>
              <a:ext cx="189" cy="162"/>
            </a:xfrm>
            <a:custGeom>
              <a:avLst/>
              <a:gdLst>
                <a:gd name="T0" fmla="*/ 2 w 189"/>
                <a:gd name="T1" fmla="*/ 76 h 162"/>
                <a:gd name="T2" fmla="*/ 9 w 189"/>
                <a:gd name="T3" fmla="*/ 77 h 162"/>
                <a:gd name="T4" fmla="*/ 20 w 189"/>
                <a:gd name="T5" fmla="*/ 83 h 162"/>
                <a:gd name="T6" fmla="*/ 28 w 189"/>
                <a:gd name="T7" fmla="*/ 84 h 162"/>
                <a:gd name="T8" fmla="*/ 32 w 189"/>
                <a:gd name="T9" fmla="*/ 79 h 162"/>
                <a:gd name="T10" fmla="*/ 46 w 189"/>
                <a:gd name="T11" fmla="*/ 38 h 162"/>
                <a:gd name="T12" fmla="*/ 48 w 189"/>
                <a:gd name="T13" fmla="*/ 56 h 162"/>
                <a:gd name="T14" fmla="*/ 61 w 189"/>
                <a:gd name="T15" fmla="*/ 54 h 162"/>
                <a:gd name="T16" fmla="*/ 73 w 189"/>
                <a:gd name="T17" fmla="*/ 47 h 162"/>
                <a:gd name="T18" fmla="*/ 85 w 189"/>
                <a:gd name="T19" fmla="*/ 42 h 162"/>
                <a:gd name="T20" fmla="*/ 97 w 189"/>
                <a:gd name="T21" fmla="*/ 43 h 162"/>
                <a:gd name="T22" fmla="*/ 107 w 189"/>
                <a:gd name="T23" fmla="*/ 43 h 162"/>
                <a:gd name="T24" fmla="*/ 108 w 189"/>
                <a:gd name="T25" fmla="*/ 35 h 162"/>
                <a:gd name="T26" fmla="*/ 115 w 189"/>
                <a:gd name="T27" fmla="*/ 30 h 162"/>
                <a:gd name="T28" fmla="*/ 121 w 189"/>
                <a:gd name="T29" fmla="*/ 26 h 162"/>
                <a:gd name="T30" fmla="*/ 125 w 189"/>
                <a:gd name="T31" fmla="*/ 15 h 162"/>
                <a:gd name="T32" fmla="*/ 131 w 189"/>
                <a:gd name="T33" fmla="*/ 11 h 162"/>
                <a:gd name="T34" fmla="*/ 140 w 189"/>
                <a:gd name="T35" fmla="*/ 7 h 162"/>
                <a:gd name="T36" fmla="*/ 146 w 189"/>
                <a:gd name="T37" fmla="*/ 3 h 162"/>
                <a:gd name="T38" fmla="*/ 156 w 189"/>
                <a:gd name="T39" fmla="*/ 0 h 162"/>
                <a:gd name="T40" fmla="*/ 164 w 189"/>
                <a:gd name="T41" fmla="*/ 3 h 162"/>
                <a:gd name="T42" fmla="*/ 176 w 189"/>
                <a:gd name="T43" fmla="*/ 8 h 162"/>
                <a:gd name="T44" fmla="*/ 178 w 189"/>
                <a:gd name="T45" fmla="*/ 22 h 162"/>
                <a:gd name="T46" fmla="*/ 179 w 189"/>
                <a:gd name="T47" fmla="*/ 43 h 162"/>
                <a:gd name="T48" fmla="*/ 169 w 189"/>
                <a:gd name="T49" fmla="*/ 45 h 162"/>
                <a:gd name="T50" fmla="*/ 167 w 189"/>
                <a:gd name="T51" fmla="*/ 57 h 162"/>
                <a:gd name="T52" fmla="*/ 179 w 189"/>
                <a:gd name="T53" fmla="*/ 60 h 162"/>
                <a:gd name="T54" fmla="*/ 189 w 189"/>
                <a:gd name="T55" fmla="*/ 57 h 162"/>
                <a:gd name="T56" fmla="*/ 186 w 189"/>
                <a:gd name="T57" fmla="*/ 68 h 162"/>
                <a:gd name="T58" fmla="*/ 178 w 189"/>
                <a:gd name="T59" fmla="*/ 83 h 162"/>
                <a:gd name="T60" fmla="*/ 169 w 189"/>
                <a:gd name="T61" fmla="*/ 88 h 162"/>
                <a:gd name="T62" fmla="*/ 163 w 189"/>
                <a:gd name="T63" fmla="*/ 98 h 162"/>
                <a:gd name="T64" fmla="*/ 149 w 189"/>
                <a:gd name="T65" fmla="*/ 117 h 162"/>
                <a:gd name="T66" fmla="*/ 131 w 189"/>
                <a:gd name="T67" fmla="*/ 133 h 162"/>
                <a:gd name="T68" fmla="*/ 118 w 189"/>
                <a:gd name="T69" fmla="*/ 144 h 162"/>
                <a:gd name="T70" fmla="*/ 107 w 189"/>
                <a:gd name="T71" fmla="*/ 147 h 162"/>
                <a:gd name="T72" fmla="*/ 100 w 189"/>
                <a:gd name="T73" fmla="*/ 152 h 162"/>
                <a:gd name="T74" fmla="*/ 91 w 189"/>
                <a:gd name="T75" fmla="*/ 153 h 162"/>
                <a:gd name="T76" fmla="*/ 74 w 189"/>
                <a:gd name="T77" fmla="*/ 151 h 162"/>
                <a:gd name="T78" fmla="*/ 61 w 189"/>
                <a:gd name="T79" fmla="*/ 152 h 162"/>
                <a:gd name="T80" fmla="*/ 57 w 189"/>
                <a:gd name="T81" fmla="*/ 156 h 162"/>
                <a:gd name="T82" fmla="*/ 44 w 189"/>
                <a:gd name="T83" fmla="*/ 156 h 162"/>
                <a:gd name="T84" fmla="*/ 35 w 189"/>
                <a:gd name="T85" fmla="*/ 160 h 162"/>
                <a:gd name="T86" fmla="*/ 25 w 189"/>
                <a:gd name="T87" fmla="*/ 155 h 162"/>
                <a:gd name="T88" fmla="*/ 20 w 189"/>
                <a:gd name="T89" fmla="*/ 152 h 162"/>
                <a:gd name="T90" fmla="*/ 17 w 189"/>
                <a:gd name="T91" fmla="*/ 151 h 162"/>
                <a:gd name="T92" fmla="*/ 12 w 189"/>
                <a:gd name="T93" fmla="*/ 136 h 162"/>
                <a:gd name="T94" fmla="*/ 17 w 189"/>
                <a:gd name="T95" fmla="*/ 132 h 162"/>
                <a:gd name="T96" fmla="*/ 13 w 189"/>
                <a:gd name="T97" fmla="*/ 114 h 162"/>
                <a:gd name="T98" fmla="*/ 4 w 189"/>
                <a:gd name="T99" fmla="*/ 85 h 162"/>
                <a:gd name="T100" fmla="*/ 125 w 189"/>
                <a:gd name="T101" fmla="*/ 102 h 162"/>
                <a:gd name="T102" fmla="*/ 133 w 189"/>
                <a:gd name="T103" fmla="*/ 105 h 162"/>
                <a:gd name="T104" fmla="*/ 140 w 189"/>
                <a:gd name="T105" fmla="*/ 99 h 162"/>
                <a:gd name="T106" fmla="*/ 142 w 189"/>
                <a:gd name="T107" fmla="*/ 94 h 162"/>
                <a:gd name="T108" fmla="*/ 142 w 189"/>
                <a:gd name="T109" fmla="*/ 81 h 162"/>
                <a:gd name="T110" fmla="*/ 135 w 189"/>
                <a:gd name="T111" fmla="*/ 81 h 162"/>
                <a:gd name="T112" fmla="*/ 126 w 189"/>
                <a:gd name="T113" fmla="*/ 87 h 162"/>
                <a:gd name="T114" fmla="*/ 122 w 189"/>
                <a:gd name="T115" fmla="*/ 9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9" h="162">
                  <a:moveTo>
                    <a:pt x="0" y="79"/>
                  </a:moveTo>
                  <a:lnTo>
                    <a:pt x="1" y="79"/>
                  </a:lnTo>
                  <a:lnTo>
                    <a:pt x="4" y="77"/>
                  </a:lnTo>
                  <a:lnTo>
                    <a:pt x="4" y="76"/>
                  </a:lnTo>
                  <a:lnTo>
                    <a:pt x="2" y="76"/>
                  </a:lnTo>
                  <a:lnTo>
                    <a:pt x="4" y="73"/>
                  </a:lnTo>
                  <a:lnTo>
                    <a:pt x="6" y="72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9" y="77"/>
                  </a:lnTo>
                  <a:lnTo>
                    <a:pt x="10" y="81"/>
                  </a:lnTo>
                  <a:lnTo>
                    <a:pt x="14" y="81"/>
                  </a:lnTo>
                  <a:lnTo>
                    <a:pt x="17" y="83"/>
                  </a:lnTo>
                  <a:lnTo>
                    <a:pt x="19" y="83"/>
                  </a:lnTo>
                  <a:lnTo>
                    <a:pt x="20" y="83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8" y="84"/>
                  </a:lnTo>
                  <a:lnTo>
                    <a:pt x="29" y="84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32" y="80"/>
                  </a:lnTo>
                  <a:lnTo>
                    <a:pt x="32" y="79"/>
                  </a:lnTo>
                  <a:lnTo>
                    <a:pt x="36" y="76"/>
                  </a:lnTo>
                  <a:lnTo>
                    <a:pt x="39" y="77"/>
                  </a:lnTo>
                  <a:lnTo>
                    <a:pt x="40" y="77"/>
                  </a:lnTo>
                  <a:lnTo>
                    <a:pt x="42" y="34"/>
                  </a:lnTo>
                  <a:lnTo>
                    <a:pt x="46" y="38"/>
                  </a:lnTo>
                  <a:lnTo>
                    <a:pt x="47" y="41"/>
                  </a:lnTo>
                  <a:lnTo>
                    <a:pt x="50" y="47"/>
                  </a:lnTo>
                  <a:lnTo>
                    <a:pt x="50" y="50"/>
                  </a:lnTo>
                  <a:lnTo>
                    <a:pt x="48" y="54"/>
                  </a:lnTo>
                  <a:lnTo>
                    <a:pt x="48" y="56"/>
                  </a:lnTo>
                  <a:lnTo>
                    <a:pt x="51" y="56"/>
                  </a:lnTo>
                  <a:lnTo>
                    <a:pt x="55" y="57"/>
                  </a:lnTo>
                  <a:lnTo>
                    <a:pt x="57" y="56"/>
                  </a:lnTo>
                  <a:lnTo>
                    <a:pt x="59" y="56"/>
                  </a:lnTo>
                  <a:lnTo>
                    <a:pt x="61" y="54"/>
                  </a:lnTo>
                  <a:lnTo>
                    <a:pt x="63" y="54"/>
                  </a:lnTo>
                  <a:lnTo>
                    <a:pt x="66" y="53"/>
                  </a:lnTo>
                  <a:lnTo>
                    <a:pt x="66" y="51"/>
                  </a:lnTo>
                  <a:lnTo>
                    <a:pt x="70" y="49"/>
                  </a:lnTo>
                  <a:lnTo>
                    <a:pt x="73" y="47"/>
                  </a:lnTo>
                  <a:lnTo>
                    <a:pt x="74" y="42"/>
                  </a:lnTo>
                  <a:lnTo>
                    <a:pt x="78" y="39"/>
                  </a:lnTo>
                  <a:lnTo>
                    <a:pt x="81" y="39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2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5" y="45"/>
                  </a:lnTo>
                  <a:lnTo>
                    <a:pt x="97" y="43"/>
                  </a:lnTo>
                  <a:lnTo>
                    <a:pt x="100" y="43"/>
                  </a:lnTo>
                  <a:lnTo>
                    <a:pt x="103" y="43"/>
                  </a:lnTo>
                  <a:lnTo>
                    <a:pt x="103" y="45"/>
                  </a:lnTo>
                  <a:lnTo>
                    <a:pt x="104" y="45"/>
                  </a:lnTo>
                  <a:lnTo>
                    <a:pt x="107" y="43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7" y="39"/>
                  </a:lnTo>
                  <a:lnTo>
                    <a:pt x="108" y="38"/>
                  </a:lnTo>
                  <a:lnTo>
                    <a:pt x="108" y="35"/>
                  </a:lnTo>
                  <a:lnTo>
                    <a:pt x="110" y="32"/>
                  </a:lnTo>
                  <a:lnTo>
                    <a:pt x="112" y="32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28"/>
                  </a:lnTo>
                  <a:lnTo>
                    <a:pt x="119" y="27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2" y="26"/>
                  </a:lnTo>
                  <a:lnTo>
                    <a:pt x="122" y="23"/>
                  </a:lnTo>
                  <a:lnTo>
                    <a:pt x="122" y="22"/>
                  </a:lnTo>
                  <a:lnTo>
                    <a:pt x="122" y="19"/>
                  </a:lnTo>
                  <a:lnTo>
                    <a:pt x="125" y="15"/>
                  </a:lnTo>
                  <a:lnTo>
                    <a:pt x="127" y="15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30" y="12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4" y="9"/>
                  </a:lnTo>
                  <a:lnTo>
                    <a:pt x="137" y="7"/>
                  </a:lnTo>
                  <a:lnTo>
                    <a:pt x="138" y="7"/>
                  </a:lnTo>
                  <a:lnTo>
                    <a:pt x="140" y="7"/>
                  </a:lnTo>
                  <a:lnTo>
                    <a:pt x="141" y="7"/>
                  </a:lnTo>
                  <a:lnTo>
                    <a:pt x="142" y="7"/>
                  </a:lnTo>
                  <a:lnTo>
                    <a:pt x="144" y="5"/>
                  </a:lnTo>
                  <a:lnTo>
                    <a:pt x="146" y="5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48" y="1"/>
                  </a:lnTo>
                  <a:lnTo>
                    <a:pt x="149" y="1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59" y="0"/>
                  </a:lnTo>
                  <a:lnTo>
                    <a:pt x="160" y="1"/>
                  </a:lnTo>
                  <a:lnTo>
                    <a:pt x="161" y="1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167" y="3"/>
                  </a:lnTo>
                  <a:lnTo>
                    <a:pt x="169" y="3"/>
                  </a:lnTo>
                  <a:lnTo>
                    <a:pt x="174" y="3"/>
                  </a:lnTo>
                  <a:lnTo>
                    <a:pt x="175" y="5"/>
                  </a:lnTo>
                  <a:lnTo>
                    <a:pt x="176" y="8"/>
                  </a:lnTo>
                  <a:lnTo>
                    <a:pt x="176" y="11"/>
                  </a:lnTo>
                  <a:lnTo>
                    <a:pt x="178" y="13"/>
                  </a:lnTo>
                  <a:lnTo>
                    <a:pt x="179" y="19"/>
                  </a:lnTo>
                  <a:lnTo>
                    <a:pt x="178" y="20"/>
                  </a:lnTo>
                  <a:lnTo>
                    <a:pt x="178" y="22"/>
                  </a:lnTo>
                  <a:lnTo>
                    <a:pt x="179" y="24"/>
                  </a:lnTo>
                  <a:lnTo>
                    <a:pt x="180" y="27"/>
                  </a:lnTo>
                  <a:lnTo>
                    <a:pt x="179" y="37"/>
                  </a:lnTo>
                  <a:lnTo>
                    <a:pt x="179" y="39"/>
                  </a:lnTo>
                  <a:lnTo>
                    <a:pt x="179" y="43"/>
                  </a:lnTo>
                  <a:lnTo>
                    <a:pt x="179" y="47"/>
                  </a:lnTo>
                  <a:lnTo>
                    <a:pt x="176" y="46"/>
                  </a:lnTo>
                  <a:lnTo>
                    <a:pt x="175" y="45"/>
                  </a:lnTo>
                  <a:lnTo>
                    <a:pt x="172" y="43"/>
                  </a:lnTo>
                  <a:lnTo>
                    <a:pt x="169" y="45"/>
                  </a:lnTo>
                  <a:lnTo>
                    <a:pt x="169" y="46"/>
                  </a:lnTo>
                  <a:lnTo>
                    <a:pt x="167" y="51"/>
                  </a:lnTo>
                  <a:lnTo>
                    <a:pt x="165" y="54"/>
                  </a:lnTo>
                  <a:lnTo>
                    <a:pt x="165" y="56"/>
                  </a:lnTo>
                  <a:lnTo>
                    <a:pt x="167" y="57"/>
                  </a:lnTo>
                  <a:lnTo>
                    <a:pt x="168" y="60"/>
                  </a:lnTo>
                  <a:lnTo>
                    <a:pt x="172" y="61"/>
                  </a:lnTo>
                  <a:lnTo>
                    <a:pt x="178" y="62"/>
                  </a:lnTo>
                  <a:lnTo>
                    <a:pt x="179" y="61"/>
                  </a:lnTo>
                  <a:lnTo>
                    <a:pt x="179" y="60"/>
                  </a:lnTo>
                  <a:lnTo>
                    <a:pt x="179" y="57"/>
                  </a:lnTo>
                  <a:lnTo>
                    <a:pt x="180" y="57"/>
                  </a:lnTo>
                  <a:lnTo>
                    <a:pt x="183" y="56"/>
                  </a:lnTo>
                  <a:lnTo>
                    <a:pt x="187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7" y="60"/>
                  </a:lnTo>
                  <a:lnTo>
                    <a:pt x="189" y="60"/>
                  </a:lnTo>
                  <a:lnTo>
                    <a:pt x="187" y="64"/>
                  </a:lnTo>
                  <a:lnTo>
                    <a:pt x="186" y="68"/>
                  </a:lnTo>
                  <a:lnTo>
                    <a:pt x="184" y="71"/>
                  </a:lnTo>
                  <a:lnTo>
                    <a:pt x="183" y="76"/>
                  </a:lnTo>
                  <a:lnTo>
                    <a:pt x="182" y="77"/>
                  </a:lnTo>
                  <a:lnTo>
                    <a:pt x="182" y="80"/>
                  </a:lnTo>
                  <a:lnTo>
                    <a:pt x="178" y="83"/>
                  </a:lnTo>
                  <a:lnTo>
                    <a:pt x="178" y="83"/>
                  </a:lnTo>
                  <a:lnTo>
                    <a:pt x="176" y="84"/>
                  </a:lnTo>
                  <a:lnTo>
                    <a:pt x="174" y="85"/>
                  </a:lnTo>
                  <a:lnTo>
                    <a:pt x="172" y="87"/>
                  </a:lnTo>
                  <a:lnTo>
                    <a:pt x="169" y="88"/>
                  </a:lnTo>
                  <a:lnTo>
                    <a:pt x="168" y="91"/>
                  </a:lnTo>
                  <a:lnTo>
                    <a:pt x="167" y="94"/>
                  </a:lnTo>
                  <a:lnTo>
                    <a:pt x="167" y="95"/>
                  </a:lnTo>
                  <a:lnTo>
                    <a:pt x="165" y="98"/>
                  </a:lnTo>
                  <a:lnTo>
                    <a:pt x="163" y="98"/>
                  </a:lnTo>
                  <a:lnTo>
                    <a:pt x="161" y="102"/>
                  </a:lnTo>
                  <a:lnTo>
                    <a:pt x="156" y="110"/>
                  </a:lnTo>
                  <a:lnTo>
                    <a:pt x="152" y="113"/>
                  </a:lnTo>
                  <a:lnTo>
                    <a:pt x="152" y="117"/>
                  </a:lnTo>
                  <a:lnTo>
                    <a:pt x="149" y="117"/>
                  </a:lnTo>
                  <a:lnTo>
                    <a:pt x="148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34" y="133"/>
                  </a:lnTo>
                  <a:lnTo>
                    <a:pt x="131" y="133"/>
                  </a:lnTo>
                  <a:lnTo>
                    <a:pt x="131" y="133"/>
                  </a:lnTo>
                  <a:lnTo>
                    <a:pt x="130" y="136"/>
                  </a:lnTo>
                  <a:lnTo>
                    <a:pt x="122" y="141"/>
                  </a:lnTo>
                  <a:lnTo>
                    <a:pt x="121" y="143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2" y="145"/>
                  </a:lnTo>
                  <a:lnTo>
                    <a:pt x="111" y="147"/>
                  </a:lnTo>
                  <a:lnTo>
                    <a:pt x="108" y="148"/>
                  </a:lnTo>
                  <a:lnTo>
                    <a:pt x="107" y="147"/>
                  </a:lnTo>
                  <a:lnTo>
                    <a:pt x="103" y="147"/>
                  </a:lnTo>
                  <a:lnTo>
                    <a:pt x="100" y="148"/>
                  </a:lnTo>
                  <a:lnTo>
                    <a:pt x="99" y="149"/>
                  </a:lnTo>
                  <a:lnTo>
                    <a:pt x="100" y="151"/>
                  </a:lnTo>
                  <a:lnTo>
                    <a:pt x="100" y="152"/>
                  </a:lnTo>
                  <a:lnTo>
                    <a:pt x="96" y="152"/>
                  </a:lnTo>
                  <a:lnTo>
                    <a:pt x="93" y="151"/>
                  </a:lnTo>
                  <a:lnTo>
                    <a:pt x="92" y="151"/>
                  </a:lnTo>
                  <a:lnTo>
                    <a:pt x="91" y="152"/>
                  </a:lnTo>
                  <a:lnTo>
                    <a:pt x="91" y="153"/>
                  </a:lnTo>
                  <a:lnTo>
                    <a:pt x="91" y="155"/>
                  </a:lnTo>
                  <a:lnTo>
                    <a:pt x="85" y="153"/>
                  </a:lnTo>
                  <a:lnTo>
                    <a:pt x="82" y="152"/>
                  </a:lnTo>
                  <a:lnTo>
                    <a:pt x="77" y="151"/>
                  </a:lnTo>
                  <a:lnTo>
                    <a:pt x="74" y="151"/>
                  </a:lnTo>
                  <a:lnTo>
                    <a:pt x="74" y="152"/>
                  </a:lnTo>
                  <a:lnTo>
                    <a:pt x="72" y="152"/>
                  </a:lnTo>
                  <a:lnTo>
                    <a:pt x="69" y="151"/>
                  </a:lnTo>
                  <a:lnTo>
                    <a:pt x="63" y="151"/>
                  </a:lnTo>
                  <a:lnTo>
                    <a:pt x="61" y="152"/>
                  </a:lnTo>
                  <a:lnTo>
                    <a:pt x="61" y="153"/>
                  </a:lnTo>
                  <a:lnTo>
                    <a:pt x="59" y="153"/>
                  </a:lnTo>
                  <a:lnTo>
                    <a:pt x="58" y="153"/>
                  </a:lnTo>
                  <a:lnTo>
                    <a:pt x="57" y="155"/>
                  </a:lnTo>
                  <a:lnTo>
                    <a:pt x="57" y="156"/>
                  </a:lnTo>
                  <a:lnTo>
                    <a:pt x="54" y="156"/>
                  </a:lnTo>
                  <a:lnTo>
                    <a:pt x="51" y="156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4" y="156"/>
                  </a:lnTo>
                  <a:lnTo>
                    <a:pt x="42" y="156"/>
                  </a:lnTo>
                  <a:lnTo>
                    <a:pt x="39" y="159"/>
                  </a:lnTo>
                  <a:lnTo>
                    <a:pt x="38" y="159"/>
                  </a:lnTo>
                  <a:lnTo>
                    <a:pt x="36" y="160"/>
                  </a:lnTo>
                  <a:lnTo>
                    <a:pt x="35" y="160"/>
                  </a:lnTo>
                  <a:lnTo>
                    <a:pt x="34" y="162"/>
                  </a:lnTo>
                  <a:lnTo>
                    <a:pt x="28" y="159"/>
                  </a:lnTo>
                  <a:lnTo>
                    <a:pt x="27" y="159"/>
                  </a:lnTo>
                  <a:lnTo>
                    <a:pt x="27" y="156"/>
                  </a:lnTo>
                  <a:lnTo>
                    <a:pt x="25" y="155"/>
                  </a:lnTo>
                  <a:lnTo>
                    <a:pt x="23" y="156"/>
                  </a:lnTo>
                  <a:lnTo>
                    <a:pt x="21" y="155"/>
                  </a:lnTo>
                  <a:lnTo>
                    <a:pt x="23" y="155"/>
                  </a:lnTo>
                  <a:lnTo>
                    <a:pt x="23" y="152"/>
                  </a:lnTo>
                  <a:lnTo>
                    <a:pt x="20" y="152"/>
                  </a:lnTo>
                  <a:lnTo>
                    <a:pt x="17" y="153"/>
                  </a:lnTo>
                  <a:lnTo>
                    <a:pt x="17" y="156"/>
                  </a:lnTo>
                  <a:lnTo>
                    <a:pt x="16" y="155"/>
                  </a:lnTo>
                  <a:lnTo>
                    <a:pt x="16" y="152"/>
                  </a:lnTo>
                  <a:lnTo>
                    <a:pt x="17" y="151"/>
                  </a:lnTo>
                  <a:lnTo>
                    <a:pt x="16" y="147"/>
                  </a:lnTo>
                  <a:lnTo>
                    <a:pt x="19" y="144"/>
                  </a:lnTo>
                  <a:lnTo>
                    <a:pt x="16" y="141"/>
                  </a:lnTo>
                  <a:lnTo>
                    <a:pt x="14" y="138"/>
                  </a:lnTo>
                  <a:lnTo>
                    <a:pt x="12" y="136"/>
                  </a:lnTo>
                  <a:lnTo>
                    <a:pt x="12" y="133"/>
                  </a:lnTo>
                  <a:lnTo>
                    <a:pt x="13" y="132"/>
                  </a:lnTo>
                  <a:lnTo>
                    <a:pt x="14" y="133"/>
                  </a:lnTo>
                  <a:lnTo>
                    <a:pt x="16" y="133"/>
                  </a:lnTo>
                  <a:lnTo>
                    <a:pt x="17" y="132"/>
                  </a:lnTo>
                  <a:lnTo>
                    <a:pt x="17" y="128"/>
                  </a:lnTo>
                  <a:lnTo>
                    <a:pt x="16" y="124"/>
                  </a:lnTo>
                  <a:lnTo>
                    <a:pt x="16" y="122"/>
                  </a:lnTo>
                  <a:lnTo>
                    <a:pt x="13" y="117"/>
                  </a:lnTo>
                  <a:lnTo>
                    <a:pt x="13" y="114"/>
                  </a:lnTo>
                  <a:lnTo>
                    <a:pt x="10" y="110"/>
                  </a:lnTo>
                  <a:lnTo>
                    <a:pt x="8" y="103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4" y="85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9"/>
                  </a:lnTo>
                  <a:close/>
                  <a:moveTo>
                    <a:pt x="125" y="102"/>
                  </a:moveTo>
                  <a:lnTo>
                    <a:pt x="126" y="103"/>
                  </a:lnTo>
                  <a:lnTo>
                    <a:pt x="127" y="105"/>
                  </a:lnTo>
                  <a:lnTo>
                    <a:pt x="130" y="106"/>
                  </a:lnTo>
                  <a:lnTo>
                    <a:pt x="131" y="106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4" y="102"/>
                  </a:lnTo>
                  <a:lnTo>
                    <a:pt x="137" y="100"/>
                  </a:lnTo>
                  <a:lnTo>
                    <a:pt x="138" y="99"/>
                  </a:lnTo>
                  <a:lnTo>
                    <a:pt x="140" y="99"/>
                  </a:lnTo>
                  <a:lnTo>
                    <a:pt x="141" y="99"/>
                  </a:lnTo>
                  <a:lnTo>
                    <a:pt x="144" y="98"/>
                  </a:lnTo>
                  <a:lnTo>
                    <a:pt x="144" y="96"/>
                  </a:lnTo>
                  <a:lnTo>
                    <a:pt x="142" y="95"/>
                  </a:lnTo>
                  <a:lnTo>
                    <a:pt x="142" y="94"/>
                  </a:lnTo>
                  <a:lnTo>
                    <a:pt x="145" y="94"/>
                  </a:lnTo>
                  <a:lnTo>
                    <a:pt x="146" y="91"/>
                  </a:lnTo>
                  <a:lnTo>
                    <a:pt x="146" y="88"/>
                  </a:lnTo>
                  <a:lnTo>
                    <a:pt x="145" y="84"/>
                  </a:lnTo>
                  <a:lnTo>
                    <a:pt x="142" y="81"/>
                  </a:lnTo>
                  <a:lnTo>
                    <a:pt x="141" y="83"/>
                  </a:lnTo>
                  <a:lnTo>
                    <a:pt x="138" y="81"/>
                  </a:lnTo>
                  <a:lnTo>
                    <a:pt x="138" y="81"/>
                  </a:lnTo>
                  <a:lnTo>
                    <a:pt x="137" y="81"/>
                  </a:lnTo>
                  <a:lnTo>
                    <a:pt x="135" y="81"/>
                  </a:lnTo>
                  <a:lnTo>
                    <a:pt x="135" y="81"/>
                  </a:lnTo>
                  <a:lnTo>
                    <a:pt x="134" y="83"/>
                  </a:lnTo>
                  <a:lnTo>
                    <a:pt x="133" y="84"/>
                  </a:lnTo>
                  <a:lnTo>
                    <a:pt x="129" y="84"/>
                  </a:lnTo>
                  <a:lnTo>
                    <a:pt x="126" y="87"/>
                  </a:lnTo>
                  <a:lnTo>
                    <a:pt x="125" y="90"/>
                  </a:lnTo>
                  <a:lnTo>
                    <a:pt x="122" y="92"/>
                  </a:lnTo>
                  <a:lnTo>
                    <a:pt x="119" y="94"/>
                  </a:lnTo>
                  <a:lnTo>
                    <a:pt x="121" y="95"/>
                  </a:lnTo>
                  <a:lnTo>
                    <a:pt x="122" y="96"/>
                  </a:lnTo>
                  <a:lnTo>
                    <a:pt x="122" y="98"/>
                  </a:lnTo>
                  <a:lnTo>
                    <a:pt x="123" y="99"/>
                  </a:lnTo>
                  <a:lnTo>
                    <a:pt x="125" y="10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5" name="Freeform 135"/>
            <p:cNvSpPr>
              <a:spLocks/>
            </p:cNvSpPr>
            <p:nvPr/>
          </p:nvSpPr>
          <p:spPr bwMode="auto">
            <a:xfrm>
              <a:off x="2273" y="2347"/>
              <a:ext cx="27" cy="25"/>
            </a:xfrm>
            <a:custGeom>
              <a:avLst/>
              <a:gdLst>
                <a:gd name="T0" fmla="*/ 6 w 27"/>
                <a:gd name="T1" fmla="*/ 21 h 25"/>
                <a:gd name="T2" fmla="*/ 4 w 27"/>
                <a:gd name="T3" fmla="*/ 18 h 25"/>
                <a:gd name="T4" fmla="*/ 3 w 27"/>
                <a:gd name="T5" fmla="*/ 17 h 25"/>
                <a:gd name="T6" fmla="*/ 3 w 27"/>
                <a:gd name="T7" fmla="*/ 15 h 25"/>
                <a:gd name="T8" fmla="*/ 2 w 27"/>
                <a:gd name="T9" fmla="*/ 14 h 25"/>
                <a:gd name="T10" fmla="*/ 0 w 27"/>
                <a:gd name="T11" fmla="*/ 13 h 25"/>
                <a:gd name="T12" fmla="*/ 3 w 27"/>
                <a:gd name="T13" fmla="*/ 11 h 25"/>
                <a:gd name="T14" fmla="*/ 6 w 27"/>
                <a:gd name="T15" fmla="*/ 9 h 25"/>
                <a:gd name="T16" fmla="*/ 7 w 27"/>
                <a:gd name="T17" fmla="*/ 6 h 25"/>
                <a:gd name="T18" fmla="*/ 10 w 27"/>
                <a:gd name="T19" fmla="*/ 3 h 25"/>
                <a:gd name="T20" fmla="*/ 14 w 27"/>
                <a:gd name="T21" fmla="*/ 3 h 25"/>
                <a:gd name="T22" fmla="*/ 15 w 27"/>
                <a:gd name="T23" fmla="*/ 2 h 25"/>
                <a:gd name="T24" fmla="*/ 16 w 27"/>
                <a:gd name="T25" fmla="*/ 0 h 25"/>
                <a:gd name="T26" fmla="*/ 16 w 27"/>
                <a:gd name="T27" fmla="*/ 0 h 25"/>
                <a:gd name="T28" fmla="*/ 18 w 27"/>
                <a:gd name="T29" fmla="*/ 0 h 25"/>
                <a:gd name="T30" fmla="*/ 19 w 27"/>
                <a:gd name="T31" fmla="*/ 0 h 25"/>
                <a:gd name="T32" fmla="*/ 19 w 27"/>
                <a:gd name="T33" fmla="*/ 0 h 25"/>
                <a:gd name="T34" fmla="*/ 22 w 27"/>
                <a:gd name="T35" fmla="*/ 2 h 25"/>
                <a:gd name="T36" fmla="*/ 23 w 27"/>
                <a:gd name="T37" fmla="*/ 0 h 25"/>
                <a:gd name="T38" fmla="*/ 26 w 27"/>
                <a:gd name="T39" fmla="*/ 3 h 25"/>
                <a:gd name="T40" fmla="*/ 27 w 27"/>
                <a:gd name="T41" fmla="*/ 7 h 25"/>
                <a:gd name="T42" fmla="*/ 27 w 27"/>
                <a:gd name="T43" fmla="*/ 10 h 25"/>
                <a:gd name="T44" fmla="*/ 26 w 27"/>
                <a:gd name="T45" fmla="*/ 13 h 25"/>
                <a:gd name="T46" fmla="*/ 23 w 27"/>
                <a:gd name="T47" fmla="*/ 13 h 25"/>
                <a:gd name="T48" fmla="*/ 23 w 27"/>
                <a:gd name="T49" fmla="*/ 14 h 25"/>
                <a:gd name="T50" fmla="*/ 25 w 27"/>
                <a:gd name="T51" fmla="*/ 15 h 25"/>
                <a:gd name="T52" fmla="*/ 25 w 27"/>
                <a:gd name="T53" fmla="*/ 17 h 25"/>
                <a:gd name="T54" fmla="*/ 22 w 27"/>
                <a:gd name="T55" fmla="*/ 18 h 25"/>
                <a:gd name="T56" fmla="*/ 21 w 27"/>
                <a:gd name="T57" fmla="*/ 18 h 25"/>
                <a:gd name="T58" fmla="*/ 19 w 27"/>
                <a:gd name="T59" fmla="*/ 18 h 25"/>
                <a:gd name="T60" fmla="*/ 18 w 27"/>
                <a:gd name="T61" fmla="*/ 19 h 25"/>
                <a:gd name="T62" fmla="*/ 15 w 27"/>
                <a:gd name="T63" fmla="*/ 21 h 25"/>
                <a:gd name="T64" fmla="*/ 14 w 27"/>
                <a:gd name="T65" fmla="*/ 24 h 25"/>
                <a:gd name="T66" fmla="*/ 14 w 27"/>
                <a:gd name="T67" fmla="*/ 24 h 25"/>
                <a:gd name="T68" fmla="*/ 12 w 27"/>
                <a:gd name="T69" fmla="*/ 25 h 25"/>
                <a:gd name="T70" fmla="*/ 11 w 27"/>
                <a:gd name="T71" fmla="*/ 25 h 25"/>
                <a:gd name="T72" fmla="*/ 8 w 27"/>
                <a:gd name="T73" fmla="*/ 24 h 25"/>
                <a:gd name="T74" fmla="*/ 7 w 27"/>
                <a:gd name="T75" fmla="*/ 22 h 25"/>
                <a:gd name="T76" fmla="*/ 6 w 27"/>
                <a:gd name="T77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25">
                  <a:moveTo>
                    <a:pt x="6" y="21"/>
                  </a:moveTo>
                  <a:lnTo>
                    <a:pt x="4" y="18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13"/>
                  </a:lnTo>
                  <a:lnTo>
                    <a:pt x="3" y="11"/>
                  </a:lnTo>
                  <a:lnTo>
                    <a:pt x="6" y="9"/>
                  </a:lnTo>
                  <a:lnTo>
                    <a:pt x="7" y="6"/>
                  </a:lnTo>
                  <a:lnTo>
                    <a:pt x="10" y="3"/>
                  </a:lnTo>
                  <a:lnTo>
                    <a:pt x="14" y="3"/>
                  </a:lnTo>
                  <a:lnTo>
                    <a:pt x="15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3" y="0"/>
                  </a:lnTo>
                  <a:lnTo>
                    <a:pt x="26" y="3"/>
                  </a:lnTo>
                  <a:lnTo>
                    <a:pt x="27" y="7"/>
                  </a:lnTo>
                  <a:lnTo>
                    <a:pt x="27" y="10"/>
                  </a:lnTo>
                  <a:lnTo>
                    <a:pt x="26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8" y="19"/>
                  </a:lnTo>
                  <a:lnTo>
                    <a:pt x="15" y="21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8" y="24"/>
                  </a:lnTo>
                  <a:lnTo>
                    <a:pt x="7" y="22"/>
                  </a:lnTo>
                  <a:lnTo>
                    <a:pt x="6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6" name="Freeform 136"/>
            <p:cNvSpPr>
              <a:spLocks noEditPoints="1"/>
            </p:cNvSpPr>
            <p:nvPr/>
          </p:nvSpPr>
          <p:spPr bwMode="auto">
            <a:xfrm>
              <a:off x="3277" y="2138"/>
              <a:ext cx="469" cy="500"/>
            </a:xfrm>
            <a:custGeom>
              <a:avLst/>
              <a:gdLst>
                <a:gd name="T0" fmla="*/ 315 w 469"/>
                <a:gd name="T1" fmla="*/ 472 h 500"/>
                <a:gd name="T2" fmla="*/ 322 w 469"/>
                <a:gd name="T3" fmla="*/ 446 h 500"/>
                <a:gd name="T4" fmla="*/ 352 w 469"/>
                <a:gd name="T5" fmla="*/ 451 h 500"/>
                <a:gd name="T6" fmla="*/ 348 w 469"/>
                <a:gd name="T7" fmla="*/ 474 h 500"/>
                <a:gd name="T8" fmla="*/ 338 w 469"/>
                <a:gd name="T9" fmla="*/ 488 h 500"/>
                <a:gd name="T10" fmla="*/ 321 w 469"/>
                <a:gd name="T11" fmla="*/ 499 h 500"/>
                <a:gd name="T12" fmla="*/ 20 w 469"/>
                <a:gd name="T13" fmla="*/ 325 h 500"/>
                <a:gd name="T14" fmla="*/ 47 w 469"/>
                <a:gd name="T15" fmla="*/ 318 h 500"/>
                <a:gd name="T16" fmla="*/ 83 w 469"/>
                <a:gd name="T17" fmla="*/ 310 h 500"/>
                <a:gd name="T18" fmla="*/ 110 w 469"/>
                <a:gd name="T19" fmla="*/ 300 h 500"/>
                <a:gd name="T20" fmla="*/ 161 w 469"/>
                <a:gd name="T21" fmla="*/ 286 h 500"/>
                <a:gd name="T22" fmla="*/ 212 w 469"/>
                <a:gd name="T23" fmla="*/ 288 h 500"/>
                <a:gd name="T24" fmla="*/ 234 w 469"/>
                <a:gd name="T25" fmla="*/ 310 h 500"/>
                <a:gd name="T26" fmla="*/ 242 w 469"/>
                <a:gd name="T27" fmla="*/ 334 h 500"/>
                <a:gd name="T28" fmla="*/ 269 w 469"/>
                <a:gd name="T29" fmla="*/ 306 h 500"/>
                <a:gd name="T30" fmla="*/ 258 w 469"/>
                <a:gd name="T31" fmla="*/ 337 h 500"/>
                <a:gd name="T32" fmla="*/ 272 w 469"/>
                <a:gd name="T33" fmla="*/ 341 h 500"/>
                <a:gd name="T34" fmla="*/ 277 w 469"/>
                <a:gd name="T35" fmla="*/ 355 h 500"/>
                <a:gd name="T36" fmla="*/ 293 w 469"/>
                <a:gd name="T37" fmla="*/ 398 h 500"/>
                <a:gd name="T38" fmla="*/ 326 w 469"/>
                <a:gd name="T39" fmla="*/ 401 h 500"/>
                <a:gd name="T40" fmla="*/ 338 w 469"/>
                <a:gd name="T41" fmla="*/ 405 h 500"/>
                <a:gd name="T42" fmla="*/ 351 w 469"/>
                <a:gd name="T43" fmla="*/ 412 h 500"/>
                <a:gd name="T44" fmla="*/ 389 w 469"/>
                <a:gd name="T45" fmla="*/ 394 h 500"/>
                <a:gd name="T46" fmla="*/ 416 w 469"/>
                <a:gd name="T47" fmla="*/ 341 h 500"/>
                <a:gd name="T48" fmla="*/ 439 w 469"/>
                <a:gd name="T49" fmla="*/ 310 h 500"/>
                <a:gd name="T50" fmla="*/ 461 w 469"/>
                <a:gd name="T51" fmla="*/ 262 h 500"/>
                <a:gd name="T52" fmla="*/ 467 w 469"/>
                <a:gd name="T53" fmla="*/ 218 h 500"/>
                <a:gd name="T54" fmla="*/ 457 w 469"/>
                <a:gd name="T55" fmla="*/ 179 h 500"/>
                <a:gd name="T56" fmla="*/ 446 w 469"/>
                <a:gd name="T57" fmla="*/ 155 h 500"/>
                <a:gd name="T58" fmla="*/ 435 w 469"/>
                <a:gd name="T59" fmla="*/ 143 h 500"/>
                <a:gd name="T60" fmla="*/ 418 w 469"/>
                <a:gd name="T61" fmla="*/ 117 h 500"/>
                <a:gd name="T62" fmla="*/ 401 w 469"/>
                <a:gd name="T63" fmla="*/ 99 h 500"/>
                <a:gd name="T64" fmla="*/ 394 w 469"/>
                <a:gd name="T65" fmla="*/ 57 h 500"/>
                <a:gd name="T66" fmla="*/ 376 w 469"/>
                <a:gd name="T67" fmla="*/ 37 h 500"/>
                <a:gd name="T68" fmla="*/ 370 w 469"/>
                <a:gd name="T69" fmla="*/ 5 h 500"/>
                <a:gd name="T70" fmla="*/ 359 w 469"/>
                <a:gd name="T71" fmla="*/ 25 h 500"/>
                <a:gd name="T72" fmla="*/ 349 w 469"/>
                <a:gd name="T73" fmla="*/ 63 h 500"/>
                <a:gd name="T74" fmla="*/ 319 w 469"/>
                <a:gd name="T75" fmla="*/ 79 h 500"/>
                <a:gd name="T76" fmla="*/ 289 w 469"/>
                <a:gd name="T77" fmla="*/ 61 h 500"/>
                <a:gd name="T78" fmla="*/ 287 w 469"/>
                <a:gd name="T79" fmla="*/ 30 h 500"/>
                <a:gd name="T80" fmla="*/ 295 w 469"/>
                <a:gd name="T81" fmla="*/ 16 h 500"/>
                <a:gd name="T82" fmla="*/ 284 w 469"/>
                <a:gd name="T83" fmla="*/ 14 h 500"/>
                <a:gd name="T84" fmla="*/ 263 w 469"/>
                <a:gd name="T85" fmla="*/ 10 h 500"/>
                <a:gd name="T86" fmla="*/ 242 w 469"/>
                <a:gd name="T87" fmla="*/ 7 h 500"/>
                <a:gd name="T88" fmla="*/ 229 w 469"/>
                <a:gd name="T89" fmla="*/ 16 h 500"/>
                <a:gd name="T90" fmla="*/ 220 w 469"/>
                <a:gd name="T91" fmla="*/ 30 h 500"/>
                <a:gd name="T92" fmla="*/ 213 w 469"/>
                <a:gd name="T93" fmla="*/ 50 h 500"/>
                <a:gd name="T94" fmla="*/ 197 w 469"/>
                <a:gd name="T95" fmla="*/ 50 h 500"/>
                <a:gd name="T96" fmla="*/ 193 w 469"/>
                <a:gd name="T97" fmla="*/ 49 h 500"/>
                <a:gd name="T98" fmla="*/ 170 w 469"/>
                <a:gd name="T99" fmla="*/ 38 h 500"/>
                <a:gd name="T100" fmla="*/ 159 w 469"/>
                <a:gd name="T101" fmla="*/ 48 h 500"/>
                <a:gd name="T102" fmla="*/ 149 w 469"/>
                <a:gd name="T103" fmla="*/ 63 h 500"/>
                <a:gd name="T104" fmla="*/ 136 w 469"/>
                <a:gd name="T105" fmla="*/ 68 h 500"/>
                <a:gd name="T106" fmla="*/ 129 w 469"/>
                <a:gd name="T107" fmla="*/ 72 h 500"/>
                <a:gd name="T108" fmla="*/ 117 w 469"/>
                <a:gd name="T109" fmla="*/ 95 h 500"/>
                <a:gd name="T110" fmla="*/ 74 w 469"/>
                <a:gd name="T111" fmla="*/ 120 h 500"/>
                <a:gd name="T112" fmla="*/ 32 w 469"/>
                <a:gd name="T113" fmla="*/ 135 h 500"/>
                <a:gd name="T114" fmla="*/ 13 w 469"/>
                <a:gd name="T115" fmla="*/ 160 h 500"/>
                <a:gd name="T116" fmla="*/ 6 w 469"/>
                <a:gd name="T117" fmla="*/ 194 h 500"/>
                <a:gd name="T118" fmla="*/ 9 w 469"/>
                <a:gd name="T119" fmla="*/ 228 h 500"/>
                <a:gd name="T120" fmla="*/ 13 w 469"/>
                <a:gd name="T121" fmla="*/ 294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9" h="500">
                  <a:moveTo>
                    <a:pt x="315" y="498"/>
                  </a:moveTo>
                  <a:lnTo>
                    <a:pt x="315" y="495"/>
                  </a:lnTo>
                  <a:lnTo>
                    <a:pt x="317" y="494"/>
                  </a:lnTo>
                  <a:lnTo>
                    <a:pt x="315" y="492"/>
                  </a:lnTo>
                  <a:lnTo>
                    <a:pt x="314" y="489"/>
                  </a:lnTo>
                  <a:lnTo>
                    <a:pt x="315" y="488"/>
                  </a:lnTo>
                  <a:lnTo>
                    <a:pt x="314" y="488"/>
                  </a:lnTo>
                  <a:lnTo>
                    <a:pt x="314" y="481"/>
                  </a:lnTo>
                  <a:lnTo>
                    <a:pt x="314" y="480"/>
                  </a:lnTo>
                  <a:lnTo>
                    <a:pt x="312" y="479"/>
                  </a:lnTo>
                  <a:lnTo>
                    <a:pt x="312" y="474"/>
                  </a:lnTo>
                  <a:lnTo>
                    <a:pt x="312" y="472"/>
                  </a:lnTo>
                  <a:lnTo>
                    <a:pt x="315" y="474"/>
                  </a:lnTo>
                  <a:lnTo>
                    <a:pt x="318" y="474"/>
                  </a:lnTo>
                  <a:lnTo>
                    <a:pt x="315" y="472"/>
                  </a:lnTo>
                  <a:lnTo>
                    <a:pt x="315" y="470"/>
                  </a:lnTo>
                  <a:lnTo>
                    <a:pt x="314" y="470"/>
                  </a:lnTo>
                  <a:lnTo>
                    <a:pt x="315" y="466"/>
                  </a:lnTo>
                  <a:lnTo>
                    <a:pt x="314" y="462"/>
                  </a:lnTo>
                  <a:lnTo>
                    <a:pt x="314" y="458"/>
                  </a:lnTo>
                  <a:lnTo>
                    <a:pt x="314" y="454"/>
                  </a:lnTo>
                  <a:lnTo>
                    <a:pt x="314" y="450"/>
                  </a:lnTo>
                  <a:lnTo>
                    <a:pt x="314" y="447"/>
                  </a:lnTo>
                  <a:lnTo>
                    <a:pt x="315" y="447"/>
                  </a:lnTo>
                  <a:lnTo>
                    <a:pt x="315" y="445"/>
                  </a:lnTo>
                  <a:lnTo>
                    <a:pt x="315" y="443"/>
                  </a:lnTo>
                  <a:lnTo>
                    <a:pt x="318" y="445"/>
                  </a:lnTo>
                  <a:lnTo>
                    <a:pt x="321" y="446"/>
                  </a:lnTo>
                  <a:lnTo>
                    <a:pt x="322" y="447"/>
                  </a:lnTo>
                  <a:lnTo>
                    <a:pt x="322" y="446"/>
                  </a:lnTo>
                  <a:lnTo>
                    <a:pt x="323" y="445"/>
                  </a:lnTo>
                  <a:lnTo>
                    <a:pt x="323" y="449"/>
                  </a:lnTo>
                  <a:lnTo>
                    <a:pt x="327" y="450"/>
                  </a:lnTo>
                  <a:lnTo>
                    <a:pt x="330" y="454"/>
                  </a:lnTo>
                  <a:lnTo>
                    <a:pt x="333" y="455"/>
                  </a:lnTo>
                  <a:lnTo>
                    <a:pt x="334" y="454"/>
                  </a:lnTo>
                  <a:lnTo>
                    <a:pt x="337" y="454"/>
                  </a:lnTo>
                  <a:lnTo>
                    <a:pt x="338" y="455"/>
                  </a:lnTo>
                  <a:lnTo>
                    <a:pt x="338" y="454"/>
                  </a:lnTo>
                  <a:lnTo>
                    <a:pt x="340" y="453"/>
                  </a:lnTo>
                  <a:lnTo>
                    <a:pt x="346" y="453"/>
                  </a:lnTo>
                  <a:lnTo>
                    <a:pt x="348" y="453"/>
                  </a:lnTo>
                  <a:lnTo>
                    <a:pt x="349" y="451"/>
                  </a:lnTo>
                  <a:lnTo>
                    <a:pt x="351" y="451"/>
                  </a:lnTo>
                  <a:lnTo>
                    <a:pt x="352" y="451"/>
                  </a:lnTo>
                  <a:lnTo>
                    <a:pt x="353" y="449"/>
                  </a:lnTo>
                  <a:lnTo>
                    <a:pt x="353" y="449"/>
                  </a:lnTo>
                  <a:lnTo>
                    <a:pt x="356" y="451"/>
                  </a:lnTo>
                  <a:lnTo>
                    <a:pt x="356" y="453"/>
                  </a:lnTo>
                  <a:lnTo>
                    <a:pt x="355" y="460"/>
                  </a:lnTo>
                  <a:lnTo>
                    <a:pt x="352" y="462"/>
                  </a:lnTo>
                  <a:lnTo>
                    <a:pt x="352" y="466"/>
                  </a:lnTo>
                  <a:lnTo>
                    <a:pt x="351" y="469"/>
                  </a:lnTo>
                  <a:lnTo>
                    <a:pt x="352" y="472"/>
                  </a:lnTo>
                  <a:lnTo>
                    <a:pt x="351" y="473"/>
                  </a:lnTo>
                  <a:lnTo>
                    <a:pt x="351" y="474"/>
                  </a:lnTo>
                  <a:lnTo>
                    <a:pt x="349" y="477"/>
                  </a:lnTo>
                  <a:lnTo>
                    <a:pt x="349" y="476"/>
                  </a:lnTo>
                  <a:lnTo>
                    <a:pt x="348" y="472"/>
                  </a:lnTo>
                  <a:lnTo>
                    <a:pt x="348" y="474"/>
                  </a:lnTo>
                  <a:lnTo>
                    <a:pt x="345" y="476"/>
                  </a:lnTo>
                  <a:lnTo>
                    <a:pt x="345" y="480"/>
                  </a:lnTo>
                  <a:lnTo>
                    <a:pt x="345" y="481"/>
                  </a:lnTo>
                  <a:lnTo>
                    <a:pt x="342" y="481"/>
                  </a:lnTo>
                  <a:lnTo>
                    <a:pt x="342" y="484"/>
                  </a:lnTo>
                  <a:lnTo>
                    <a:pt x="341" y="487"/>
                  </a:lnTo>
                  <a:lnTo>
                    <a:pt x="342" y="488"/>
                  </a:lnTo>
                  <a:lnTo>
                    <a:pt x="342" y="489"/>
                  </a:lnTo>
                  <a:lnTo>
                    <a:pt x="340" y="492"/>
                  </a:lnTo>
                  <a:lnTo>
                    <a:pt x="340" y="492"/>
                  </a:lnTo>
                  <a:lnTo>
                    <a:pt x="337" y="494"/>
                  </a:lnTo>
                  <a:lnTo>
                    <a:pt x="337" y="489"/>
                  </a:lnTo>
                  <a:lnTo>
                    <a:pt x="340" y="491"/>
                  </a:lnTo>
                  <a:lnTo>
                    <a:pt x="340" y="489"/>
                  </a:lnTo>
                  <a:lnTo>
                    <a:pt x="338" y="488"/>
                  </a:lnTo>
                  <a:lnTo>
                    <a:pt x="337" y="488"/>
                  </a:lnTo>
                  <a:lnTo>
                    <a:pt x="336" y="491"/>
                  </a:lnTo>
                  <a:lnTo>
                    <a:pt x="334" y="489"/>
                  </a:lnTo>
                  <a:lnTo>
                    <a:pt x="334" y="487"/>
                  </a:lnTo>
                  <a:lnTo>
                    <a:pt x="333" y="489"/>
                  </a:lnTo>
                  <a:lnTo>
                    <a:pt x="331" y="492"/>
                  </a:lnTo>
                  <a:lnTo>
                    <a:pt x="330" y="492"/>
                  </a:lnTo>
                  <a:lnTo>
                    <a:pt x="329" y="491"/>
                  </a:lnTo>
                  <a:lnTo>
                    <a:pt x="327" y="495"/>
                  </a:lnTo>
                  <a:lnTo>
                    <a:pt x="327" y="498"/>
                  </a:lnTo>
                  <a:lnTo>
                    <a:pt x="325" y="500"/>
                  </a:lnTo>
                  <a:lnTo>
                    <a:pt x="323" y="500"/>
                  </a:lnTo>
                  <a:lnTo>
                    <a:pt x="322" y="499"/>
                  </a:lnTo>
                  <a:lnTo>
                    <a:pt x="322" y="496"/>
                  </a:lnTo>
                  <a:lnTo>
                    <a:pt x="321" y="499"/>
                  </a:lnTo>
                  <a:lnTo>
                    <a:pt x="318" y="498"/>
                  </a:lnTo>
                  <a:lnTo>
                    <a:pt x="317" y="498"/>
                  </a:lnTo>
                  <a:lnTo>
                    <a:pt x="317" y="498"/>
                  </a:lnTo>
                  <a:lnTo>
                    <a:pt x="315" y="498"/>
                  </a:lnTo>
                  <a:lnTo>
                    <a:pt x="315" y="498"/>
                  </a:lnTo>
                  <a:close/>
                  <a:moveTo>
                    <a:pt x="2" y="314"/>
                  </a:moveTo>
                  <a:lnTo>
                    <a:pt x="4" y="315"/>
                  </a:lnTo>
                  <a:lnTo>
                    <a:pt x="6" y="315"/>
                  </a:lnTo>
                  <a:lnTo>
                    <a:pt x="11" y="321"/>
                  </a:lnTo>
                  <a:lnTo>
                    <a:pt x="11" y="322"/>
                  </a:lnTo>
                  <a:lnTo>
                    <a:pt x="12" y="324"/>
                  </a:lnTo>
                  <a:lnTo>
                    <a:pt x="15" y="324"/>
                  </a:lnTo>
                  <a:lnTo>
                    <a:pt x="16" y="325"/>
                  </a:lnTo>
                  <a:lnTo>
                    <a:pt x="19" y="325"/>
                  </a:lnTo>
                  <a:lnTo>
                    <a:pt x="20" y="325"/>
                  </a:lnTo>
                  <a:lnTo>
                    <a:pt x="21" y="326"/>
                  </a:lnTo>
                  <a:lnTo>
                    <a:pt x="24" y="326"/>
                  </a:lnTo>
                  <a:lnTo>
                    <a:pt x="27" y="326"/>
                  </a:lnTo>
                  <a:lnTo>
                    <a:pt x="27" y="328"/>
                  </a:lnTo>
                  <a:lnTo>
                    <a:pt x="28" y="326"/>
                  </a:lnTo>
                  <a:lnTo>
                    <a:pt x="30" y="328"/>
                  </a:lnTo>
                  <a:lnTo>
                    <a:pt x="32" y="326"/>
                  </a:lnTo>
                  <a:lnTo>
                    <a:pt x="35" y="326"/>
                  </a:lnTo>
                  <a:lnTo>
                    <a:pt x="36" y="325"/>
                  </a:lnTo>
                  <a:lnTo>
                    <a:pt x="38" y="325"/>
                  </a:lnTo>
                  <a:lnTo>
                    <a:pt x="39" y="322"/>
                  </a:lnTo>
                  <a:lnTo>
                    <a:pt x="43" y="322"/>
                  </a:lnTo>
                  <a:lnTo>
                    <a:pt x="43" y="320"/>
                  </a:lnTo>
                  <a:lnTo>
                    <a:pt x="46" y="318"/>
                  </a:lnTo>
                  <a:lnTo>
                    <a:pt x="47" y="318"/>
                  </a:lnTo>
                  <a:lnTo>
                    <a:pt x="49" y="321"/>
                  </a:lnTo>
                  <a:lnTo>
                    <a:pt x="51" y="318"/>
                  </a:lnTo>
                  <a:lnTo>
                    <a:pt x="51" y="318"/>
                  </a:lnTo>
                  <a:lnTo>
                    <a:pt x="53" y="318"/>
                  </a:lnTo>
                  <a:lnTo>
                    <a:pt x="54" y="315"/>
                  </a:lnTo>
                  <a:lnTo>
                    <a:pt x="60" y="311"/>
                  </a:lnTo>
                  <a:lnTo>
                    <a:pt x="62" y="311"/>
                  </a:lnTo>
                  <a:lnTo>
                    <a:pt x="64" y="313"/>
                  </a:lnTo>
                  <a:lnTo>
                    <a:pt x="66" y="311"/>
                  </a:lnTo>
                  <a:lnTo>
                    <a:pt x="72" y="310"/>
                  </a:lnTo>
                  <a:lnTo>
                    <a:pt x="73" y="311"/>
                  </a:lnTo>
                  <a:lnTo>
                    <a:pt x="77" y="310"/>
                  </a:lnTo>
                  <a:lnTo>
                    <a:pt x="79" y="311"/>
                  </a:lnTo>
                  <a:lnTo>
                    <a:pt x="80" y="311"/>
                  </a:lnTo>
                  <a:lnTo>
                    <a:pt x="83" y="310"/>
                  </a:lnTo>
                  <a:lnTo>
                    <a:pt x="84" y="313"/>
                  </a:lnTo>
                  <a:lnTo>
                    <a:pt x="85" y="313"/>
                  </a:lnTo>
                  <a:lnTo>
                    <a:pt x="87" y="311"/>
                  </a:lnTo>
                  <a:lnTo>
                    <a:pt x="88" y="313"/>
                  </a:lnTo>
                  <a:lnTo>
                    <a:pt x="89" y="311"/>
                  </a:lnTo>
                  <a:lnTo>
                    <a:pt x="95" y="311"/>
                  </a:lnTo>
                  <a:lnTo>
                    <a:pt x="94" y="314"/>
                  </a:lnTo>
                  <a:lnTo>
                    <a:pt x="95" y="314"/>
                  </a:lnTo>
                  <a:lnTo>
                    <a:pt x="98" y="311"/>
                  </a:lnTo>
                  <a:lnTo>
                    <a:pt x="100" y="313"/>
                  </a:lnTo>
                  <a:lnTo>
                    <a:pt x="103" y="310"/>
                  </a:lnTo>
                  <a:lnTo>
                    <a:pt x="104" y="307"/>
                  </a:lnTo>
                  <a:lnTo>
                    <a:pt x="106" y="307"/>
                  </a:lnTo>
                  <a:lnTo>
                    <a:pt x="108" y="305"/>
                  </a:lnTo>
                  <a:lnTo>
                    <a:pt x="110" y="300"/>
                  </a:lnTo>
                  <a:lnTo>
                    <a:pt x="113" y="298"/>
                  </a:lnTo>
                  <a:lnTo>
                    <a:pt x="115" y="296"/>
                  </a:lnTo>
                  <a:lnTo>
                    <a:pt x="117" y="298"/>
                  </a:lnTo>
                  <a:lnTo>
                    <a:pt x="122" y="296"/>
                  </a:lnTo>
                  <a:lnTo>
                    <a:pt x="128" y="292"/>
                  </a:lnTo>
                  <a:lnTo>
                    <a:pt x="132" y="288"/>
                  </a:lnTo>
                  <a:lnTo>
                    <a:pt x="133" y="288"/>
                  </a:lnTo>
                  <a:lnTo>
                    <a:pt x="136" y="288"/>
                  </a:lnTo>
                  <a:lnTo>
                    <a:pt x="137" y="288"/>
                  </a:lnTo>
                  <a:lnTo>
                    <a:pt x="141" y="290"/>
                  </a:lnTo>
                  <a:lnTo>
                    <a:pt x="144" y="290"/>
                  </a:lnTo>
                  <a:lnTo>
                    <a:pt x="147" y="290"/>
                  </a:lnTo>
                  <a:lnTo>
                    <a:pt x="151" y="290"/>
                  </a:lnTo>
                  <a:lnTo>
                    <a:pt x="157" y="287"/>
                  </a:lnTo>
                  <a:lnTo>
                    <a:pt x="161" y="286"/>
                  </a:lnTo>
                  <a:lnTo>
                    <a:pt x="164" y="284"/>
                  </a:lnTo>
                  <a:lnTo>
                    <a:pt x="166" y="284"/>
                  </a:lnTo>
                  <a:lnTo>
                    <a:pt x="168" y="281"/>
                  </a:lnTo>
                  <a:lnTo>
                    <a:pt x="174" y="281"/>
                  </a:lnTo>
                  <a:lnTo>
                    <a:pt x="186" y="280"/>
                  </a:lnTo>
                  <a:lnTo>
                    <a:pt x="190" y="281"/>
                  </a:lnTo>
                  <a:lnTo>
                    <a:pt x="194" y="281"/>
                  </a:lnTo>
                  <a:lnTo>
                    <a:pt x="197" y="280"/>
                  </a:lnTo>
                  <a:lnTo>
                    <a:pt x="200" y="280"/>
                  </a:lnTo>
                  <a:lnTo>
                    <a:pt x="204" y="284"/>
                  </a:lnTo>
                  <a:lnTo>
                    <a:pt x="206" y="288"/>
                  </a:lnTo>
                  <a:lnTo>
                    <a:pt x="208" y="290"/>
                  </a:lnTo>
                  <a:lnTo>
                    <a:pt x="210" y="288"/>
                  </a:lnTo>
                  <a:lnTo>
                    <a:pt x="212" y="288"/>
                  </a:lnTo>
                  <a:lnTo>
                    <a:pt x="212" y="288"/>
                  </a:lnTo>
                  <a:lnTo>
                    <a:pt x="213" y="288"/>
                  </a:lnTo>
                  <a:lnTo>
                    <a:pt x="216" y="288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3" y="291"/>
                  </a:lnTo>
                  <a:lnTo>
                    <a:pt x="228" y="295"/>
                  </a:lnTo>
                  <a:lnTo>
                    <a:pt x="227" y="298"/>
                  </a:lnTo>
                  <a:lnTo>
                    <a:pt x="229" y="298"/>
                  </a:lnTo>
                  <a:lnTo>
                    <a:pt x="231" y="299"/>
                  </a:lnTo>
                  <a:lnTo>
                    <a:pt x="229" y="300"/>
                  </a:lnTo>
                  <a:lnTo>
                    <a:pt x="228" y="300"/>
                  </a:lnTo>
                  <a:lnTo>
                    <a:pt x="228" y="302"/>
                  </a:lnTo>
                  <a:lnTo>
                    <a:pt x="229" y="307"/>
                  </a:lnTo>
                  <a:lnTo>
                    <a:pt x="232" y="307"/>
                  </a:lnTo>
                  <a:lnTo>
                    <a:pt x="234" y="310"/>
                  </a:lnTo>
                  <a:lnTo>
                    <a:pt x="235" y="313"/>
                  </a:lnTo>
                  <a:lnTo>
                    <a:pt x="235" y="315"/>
                  </a:lnTo>
                  <a:lnTo>
                    <a:pt x="238" y="321"/>
                  </a:lnTo>
                  <a:lnTo>
                    <a:pt x="236" y="324"/>
                  </a:lnTo>
                  <a:lnTo>
                    <a:pt x="238" y="325"/>
                  </a:lnTo>
                  <a:lnTo>
                    <a:pt x="236" y="328"/>
                  </a:lnTo>
                  <a:lnTo>
                    <a:pt x="236" y="330"/>
                  </a:lnTo>
                  <a:lnTo>
                    <a:pt x="235" y="329"/>
                  </a:lnTo>
                  <a:lnTo>
                    <a:pt x="234" y="330"/>
                  </a:lnTo>
                  <a:lnTo>
                    <a:pt x="235" y="332"/>
                  </a:lnTo>
                  <a:lnTo>
                    <a:pt x="238" y="333"/>
                  </a:lnTo>
                  <a:lnTo>
                    <a:pt x="238" y="336"/>
                  </a:lnTo>
                  <a:lnTo>
                    <a:pt x="240" y="334"/>
                  </a:lnTo>
                  <a:lnTo>
                    <a:pt x="242" y="336"/>
                  </a:lnTo>
                  <a:lnTo>
                    <a:pt x="242" y="334"/>
                  </a:lnTo>
                  <a:lnTo>
                    <a:pt x="242" y="333"/>
                  </a:lnTo>
                  <a:lnTo>
                    <a:pt x="242" y="332"/>
                  </a:lnTo>
                  <a:lnTo>
                    <a:pt x="243" y="329"/>
                  </a:lnTo>
                  <a:lnTo>
                    <a:pt x="246" y="329"/>
                  </a:lnTo>
                  <a:lnTo>
                    <a:pt x="246" y="326"/>
                  </a:lnTo>
                  <a:lnTo>
                    <a:pt x="249" y="325"/>
                  </a:lnTo>
                  <a:lnTo>
                    <a:pt x="249" y="324"/>
                  </a:lnTo>
                  <a:lnTo>
                    <a:pt x="251" y="321"/>
                  </a:lnTo>
                  <a:lnTo>
                    <a:pt x="257" y="318"/>
                  </a:lnTo>
                  <a:lnTo>
                    <a:pt x="257" y="317"/>
                  </a:lnTo>
                  <a:lnTo>
                    <a:pt x="258" y="317"/>
                  </a:lnTo>
                  <a:lnTo>
                    <a:pt x="262" y="315"/>
                  </a:lnTo>
                  <a:lnTo>
                    <a:pt x="262" y="311"/>
                  </a:lnTo>
                  <a:lnTo>
                    <a:pt x="266" y="307"/>
                  </a:lnTo>
                  <a:lnTo>
                    <a:pt x="269" y="306"/>
                  </a:lnTo>
                  <a:lnTo>
                    <a:pt x="270" y="305"/>
                  </a:lnTo>
                  <a:lnTo>
                    <a:pt x="269" y="302"/>
                  </a:lnTo>
                  <a:lnTo>
                    <a:pt x="270" y="299"/>
                  </a:lnTo>
                  <a:lnTo>
                    <a:pt x="272" y="302"/>
                  </a:lnTo>
                  <a:lnTo>
                    <a:pt x="272" y="306"/>
                  </a:lnTo>
                  <a:lnTo>
                    <a:pt x="272" y="309"/>
                  </a:lnTo>
                  <a:lnTo>
                    <a:pt x="270" y="310"/>
                  </a:lnTo>
                  <a:lnTo>
                    <a:pt x="269" y="315"/>
                  </a:lnTo>
                  <a:lnTo>
                    <a:pt x="265" y="320"/>
                  </a:lnTo>
                  <a:lnTo>
                    <a:pt x="263" y="322"/>
                  </a:lnTo>
                  <a:lnTo>
                    <a:pt x="262" y="324"/>
                  </a:lnTo>
                  <a:lnTo>
                    <a:pt x="262" y="326"/>
                  </a:lnTo>
                  <a:lnTo>
                    <a:pt x="259" y="330"/>
                  </a:lnTo>
                  <a:lnTo>
                    <a:pt x="261" y="332"/>
                  </a:lnTo>
                  <a:lnTo>
                    <a:pt x="258" y="337"/>
                  </a:lnTo>
                  <a:lnTo>
                    <a:pt x="253" y="336"/>
                  </a:lnTo>
                  <a:lnTo>
                    <a:pt x="251" y="340"/>
                  </a:lnTo>
                  <a:lnTo>
                    <a:pt x="250" y="343"/>
                  </a:lnTo>
                  <a:lnTo>
                    <a:pt x="250" y="343"/>
                  </a:lnTo>
                  <a:lnTo>
                    <a:pt x="254" y="343"/>
                  </a:lnTo>
                  <a:lnTo>
                    <a:pt x="257" y="340"/>
                  </a:lnTo>
                  <a:lnTo>
                    <a:pt x="261" y="341"/>
                  </a:lnTo>
                  <a:lnTo>
                    <a:pt x="265" y="336"/>
                  </a:lnTo>
                  <a:lnTo>
                    <a:pt x="266" y="329"/>
                  </a:lnTo>
                  <a:lnTo>
                    <a:pt x="269" y="326"/>
                  </a:lnTo>
                  <a:lnTo>
                    <a:pt x="270" y="328"/>
                  </a:lnTo>
                  <a:lnTo>
                    <a:pt x="270" y="333"/>
                  </a:lnTo>
                  <a:lnTo>
                    <a:pt x="272" y="336"/>
                  </a:lnTo>
                  <a:lnTo>
                    <a:pt x="270" y="336"/>
                  </a:lnTo>
                  <a:lnTo>
                    <a:pt x="272" y="341"/>
                  </a:lnTo>
                  <a:lnTo>
                    <a:pt x="269" y="347"/>
                  </a:lnTo>
                  <a:lnTo>
                    <a:pt x="263" y="348"/>
                  </a:lnTo>
                  <a:lnTo>
                    <a:pt x="265" y="349"/>
                  </a:lnTo>
                  <a:lnTo>
                    <a:pt x="268" y="349"/>
                  </a:lnTo>
                  <a:lnTo>
                    <a:pt x="270" y="349"/>
                  </a:lnTo>
                  <a:lnTo>
                    <a:pt x="272" y="348"/>
                  </a:lnTo>
                  <a:lnTo>
                    <a:pt x="274" y="348"/>
                  </a:lnTo>
                  <a:lnTo>
                    <a:pt x="277" y="345"/>
                  </a:lnTo>
                  <a:lnTo>
                    <a:pt x="278" y="347"/>
                  </a:lnTo>
                  <a:lnTo>
                    <a:pt x="280" y="347"/>
                  </a:lnTo>
                  <a:lnTo>
                    <a:pt x="278" y="348"/>
                  </a:lnTo>
                  <a:lnTo>
                    <a:pt x="277" y="349"/>
                  </a:lnTo>
                  <a:lnTo>
                    <a:pt x="276" y="349"/>
                  </a:lnTo>
                  <a:lnTo>
                    <a:pt x="274" y="351"/>
                  </a:lnTo>
                  <a:lnTo>
                    <a:pt x="277" y="355"/>
                  </a:lnTo>
                  <a:lnTo>
                    <a:pt x="278" y="356"/>
                  </a:lnTo>
                  <a:lnTo>
                    <a:pt x="280" y="360"/>
                  </a:lnTo>
                  <a:lnTo>
                    <a:pt x="280" y="364"/>
                  </a:lnTo>
                  <a:lnTo>
                    <a:pt x="278" y="370"/>
                  </a:lnTo>
                  <a:lnTo>
                    <a:pt x="276" y="374"/>
                  </a:lnTo>
                  <a:lnTo>
                    <a:pt x="277" y="375"/>
                  </a:lnTo>
                  <a:lnTo>
                    <a:pt x="276" y="379"/>
                  </a:lnTo>
                  <a:lnTo>
                    <a:pt x="278" y="381"/>
                  </a:lnTo>
                  <a:lnTo>
                    <a:pt x="280" y="383"/>
                  </a:lnTo>
                  <a:lnTo>
                    <a:pt x="281" y="387"/>
                  </a:lnTo>
                  <a:lnTo>
                    <a:pt x="285" y="393"/>
                  </a:lnTo>
                  <a:lnTo>
                    <a:pt x="288" y="394"/>
                  </a:lnTo>
                  <a:lnTo>
                    <a:pt x="291" y="396"/>
                  </a:lnTo>
                  <a:lnTo>
                    <a:pt x="291" y="398"/>
                  </a:lnTo>
                  <a:lnTo>
                    <a:pt x="293" y="398"/>
                  </a:lnTo>
                  <a:lnTo>
                    <a:pt x="295" y="397"/>
                  </a:lnTo>
                  <a:lnTo>
                    <a:pt x="296" y="397"/>
                  </a:lnTo>
                  <a:lnTo>
                    <a:pt x="299" y="398"/>
                  </a:lnTo>
                  <a:lnTo>
                    <a:pt x="302" y="401"/>
                  </a:lnTo>
                  <a:lnTo>
                    <a:pt x="304" y="401"/>
                  </a:lnTo>
                  <a:lnTo>
                    <a:pt x="307" y="404"/>
                  </a:lnTo>
                  <a:lnTo>
                    <a:pt x="307" y="407"/>
                  </a:lnTo>
                  <a:lnTo>
                    <a:pt x="310" y="407"/>
                  </a:lnTo>
                  <a:lnTo>
                    <a:pt x="312" y="411"/>
                  </a:lnTo>
                  <a:lnTo>
                    <a:pt x="314" y="411"/>
                  </a:lnTo>
                  <a:lnTo>
                    <a:pt x="314" y="408"/>
                  </a:lnTo>
                  <a:lnTo>
                    <a:pt x="319" y="407"/>
                  </a:lnTo>
                  <a:lnTo>
                    <a:pt x="321" y="404"/>
                  </a:lnTo>
                  <a:lnTo>
                    <a:pt x="323" y="404"/>
                  </a:lnTo>
                  <a:lnTo>
                    <a:pt x="326" y="401"/>
                  </a:lnTo>
                  <a:lnTo>
                    <a:pt x="329" y="401"/>
                  </a:lnTo>
                  <a:lnTo>
                    <a:pt x="329" y="401"/>
                  </a:lnTo>
                  <a:lnTo>
                    <a:pt x="329" y="400"/>
                  </a:lnTo>
                  <a:lnTo>
                    <a:pt x="326" y="398"/>
                  </a:lnTo>
                  <a:lnTo>
                    <a:pt x="327" y="397"/>
                  </a:lnTo>
                  <a:lnTo>
                    <a:pt x="331" y="394"/>
                  </a:lnTo>
                  <a:lnTo>
                    <a:pt x="336" y="397"/>
                  </a:lnTo>
                  <a:lnTo>
                    <a:pt x="336" y="400"/>
                  </a:lnTo>
                  <a:lnTo>
                    <a:pt x="330" y="402"/>
                  </a:lnTo>
                  <a:lnTo>
                    <a:pt x="331" y="404"/>
                  </a:lnTo>
                  <a:lnTo>
                    <a:pt x="333" y="404"/>
                  </a:lnTo>
                  <a:lnTo>
                    <a:pt x="334" y="402"/>
                  </a:lnTo>
                  <a:lnTo>
                    <a:pt x="337" y="401"/>
                  </a:lnTo>
                  <a:lnTo>
                    <a:pt x="340" y="402"/>
                  </a:lnTo>
                  <a:lnTo>
                    <a:pt x="338" y="405"/>
                  </a:lnTo>
                  <a:lnTo>
                    <a:pt x="337" y="405"/>
                  </a:lnTo>
                  <a:lnTo>
                    <a:pt x="336" y="407"/>
                  </a:lnTo>
                  <a:lnTo>
                    <a:pt x="338" y="411"/>
                  </a:lnTo>
                  <a:lnTo>
                    <a:pt x="340" y="415"/>
                  </a:lnTo>
                  <a:lnTo>
                    <a:pt x="341" y="413"/>
                  </a:lnTo>
                  <a:lnTo>
                    <a:pt x="342" y="413"/>
                  </a:lnTo>
                  <a:lnTo>
                    <a:pt x="342" y="416"/>
                  </a:lnTo>
                  <a:lnTo>
                    <a:pt x="344" y="419"/>
                  </a:lnTo>
                  <a:lnTo>
                    <a:pt x="345" y="416"/>
                  </a:lnTo>
                  <a:lnTo>
                    <a:pt x="345" y="412"/>
                  </a:lnTo>
                  <a:lnTo>
                    <a:pt x="344" y="413"/>
                  </a:lnTo>
                  <a:lnTo>
                    <a:pt x="344" y="412"/>
                  </a:lnTo>
                  <a:lnTo>
                    <a:pt x="345" y="411"/>
                  </a:lnTo>
                  <a:lnTo>
                    <a:pt x="351" y="411"/>
                  </a:lnTo>
                  <a:lnTo>
                    <a:pt x="351" y="412"/>
                  </a:lnTo>
                  <a:lnTo>
                    <a:pt x="352" y="411"/>
                  </a:lnTo>
                  <a:lnTo>
                    <a:pt x="355" y="407"/>
                  </a:lnTo>
                  <a:lnTo>
                    <a:pt x="361" y="404"/>
                  </a:lnTo>
                  <a:lnTo>
                    <a:pt x="364" y="400"/>
                  </a:lnTo>
                  <a:lnTo>
                    <a:pt x="363" y="400"/>
                  </a:lnTo>
                  <a:lnTo>
                    <a:pt x="361" y="401"/>
                  </a:lnTo>
                  <a:lnTo>
                    <a:pt x="361" y="400"/>
                  </a:lnTo>
                  <a:lnTo>
                    <a:pt x="360" y="400"/>
                  </a:lnTo>
                  <a:lnTo>
                    <a:pt x="361" y="400"/>
                  </a:lnTo>
                  <a:lnTo>
                    <a:pt x="364" y="400"/>
                  </a:lnTo>
                  <a:lnTo>
                    <a:pt x="370" y="398"/>
                  </a:lnTo>
                  <a:lnTo>
                    <a:pt x="378" y="396"/>
                  </a:lnTo>
                  <a:lnTo>
                    <a:pt x="386" y="398"/>
                  </a:lnTo>
                  <a:lnTo>
                    <a:pt x="389" y="396"/>
                  </a:lnTo>
                  <a:lnTo>
                    <a:pt x="389" y="394"/>
                  </a:lnTo>
                  <a:lnTo>
                    <a:pt x="390" y="394"/>
                  </a:lnTo>
                  <a:lnTo>
                    <a:pt x="393" y="393"/>
                  </a:lnTo>
                  <a:lnTo>
                    <a:pt x="395" y="389"/>
                  </a:lnTo>
                  <a:lnTo>
                    <a:pt x="394" y="383"/>
                  </a:lnTo>
                  <a:lnTo>
                    <a:pt x="394" y="381"/>
                  </a:lnTo>
                  <a:lnTo>
                    <a:pt x="398" y="377"/>
                  </a:lnTo>
                  <a:lnTo>
                    <a:pt x="398" y="370"/>
                  </a:lnTo>
                  <a:lnTo>
                    <a:pt x="399" y="367"/>
                  </a:lnTo>
                  <a:lnTo>
                    <a:pt x="401" y="363"/>
                  </a:lnTo>
                  <a:lnTo>
                    <a:pt x="402" y="362"/>
                  </a:lnTo>
                  <a:lnTo>
                    <a:pt x="402" y="360"/>
                  </a:lnTo>
                  <a:lnTo>
                    <a:pt x="410" y="351"/>
                  </a:lnTo>
                  <a:lnTo>
                    <a:pt x="412" y="351"/>
                  </a:lnTo>
                  <a:lnTo>
                    <a:pt x="413" y="345"/>
                  </a:lnTo>
                  <a:lnTo>
                    <a:pt x="416" y="341"/>
                  </a:lnTo>
                  <a:lnTo>
                    <a:pt x="417" y="337"/>
                  </a:lnTo>
                  <a:lnTo>
                    <a:pt x="420" y="334"/>
                  </a:lnTo>
                  <a:lnTo>
                    <a:pt x="420" y="332"/>
                  </a:lnTo>
                  <a:lnTo>
                    <a:pt x="423" y="330"/>
                  </a:lnTo>
                  <a:lnTo>
                    <a:pt x="424" y="326"/>
                  </a:lnTo>
                  <a:lnTo>
                    <a:pt x="423" y="325"/>
                  </a:lnTo>
                  <a:lnTo>
                    <a:pt x="427" y="322"/>
                  </a:lnTo>
                  <a:lnTo>
                    <a:pt x="428" y="320"/>
                  </a:lnTo>
                  <a:lnTo>
                    <a:pt x="431" y="318"/>
                  </a:lnTo>
                  <a:lnTo>
                    <a:pt x="432" y="314"/>
                  </a:lnTo>
                  <a:lnTo>
                    <a:pt x="435" y="313"/>
                  </a:lnTo>
                  <a:lnTo>
                    <a:pt x="438" y="311"/>
                  </a:lnTo>
                  <a:lnTo>
                    <a:pt x="433" y="311"/>
                  </a:lnTo>
                  <a:lnTo>
                    <a:pt x="435" y="310"/>
                  </a:lnTo>
                  <a:lnTo>
                    <a:pt x="439" y="310"/>
                  </a:lnTo>
                  <a:lnTo>
                    <a:pt x="443" y="307"/>
                  </a:lnTo>
                  <a:lnTo>
                    <a:pt x="443" y="305"/>
                  </a:lnTo>
                  <a:lnTo>
                    <a:pt x="443" y="303"/>
                  </a:lnTo>
                  <a:lnTo>
                    <a:pt x="443" y="300"/>
                  </a:lnTo>
                  <a:lnTo>
                    <a:pt x="447" y="298"/>
                  </a:lnTo>
                  <a:lnTo>
                    <a:pt x="447" y="295"/>
                  </a:lnTo>
                  <a:lnTo>
                    <a:pt x="450" y="295"/>
                  </a:lnTo>
                  <a:lnTo>
                    <a:pt x="452" y="291"/>
                  </a:lnTo>
                  <a:lnTo>
                    <a:pt x="452" y="288"/>
                  </a:lnTo>
                  <a:lnTo>
                    <a:pt x="454" y="284"/>
                  </a:lnTo>
                  <a:lnTo>
                    <a:pt x="452" y="283"/>
                  </a:lnTo>
                  <a:lnTo>
                    <a:pt x="452" y="281"/>
                  </a:lnTo>
                  <a:lnTo>
                    <a:pt x="457" y="273"/>
                  </a:lnTo>
                  <a:lnTo>
                    <a:pt x="457" y="269"/>
                  </a:lnTo>
                  <a:lnTo>
                    <a:pt x="461" y="262"/>
                  </a:lnTo>
                  <a:lnTo>
                    <a:pt x="461" y="260"/>
                  </a:lnTo>
                  <a:lnTo>
                    <a:pt x="463" y="254"/>
                  </a:lnTo>
                  <a:lnTo>
                    <a:pt x="466" y="252"/>
                  </a:lnTo>
                  <a:lnTo>
                    <a:pt x="467" y="247"/>
                  </a:lnTo>
                  <a:lnTo>
                    <a:pt x="466" y="245"/>
                  </a:lnTo>
                  <a:lnTo>
                    <a:pt x="469" y="242"/>
                  </a:lnTo>
                  <a:lnTo>
                    <a:pt x="467" y="237"/>
                  </a:lnTo>
                  <a:lnTo>
                    <a:pt x="467" y="234"/>
                  </a:lnTo>
                  <a:lnTo>
                    <a:pt x="466" y="230"/>
                  </a:lnTo>
                  <a:lnTo>
                    <a:pt x="465" y="228"/>
                  </a:lnTo>
                  <a:lnTo>
                    <a:pt x="465" y="226"/>
                  </a:lnTo>
                  <a:lnTo>
                    <a:pt x="466" y="224"/>
                  </a:lnTo>
                  <a:lnTo>
                    <a:pt x="466" y="222"/>
                  </a:lnTo>
                  <a:lnTo>
                    <a:pt x="467" y="219"/>
                  </a:lnTo>
                  <a:lnTo>
                    <a:pt x="467" y="218"/>
                  </a:lnTo>
                  <a:lnTo>
                    <a:pt x="467" y="211"/>
                  </a:lnTo>
                  <a:lnTo>
                    <a:pt x="469" y="208"/>
                  </a:lnTo>
                  <a:lnTo>
                    <a:pt x="467" y="207"/>
                  </a:lnTo>
                  <a:lnTo>
                    <a:pt x="467" y="204"/>
                  </a:lnTo>
                  <a:lnTo>
                    <a:pt x="467" y="200"/>
                  </a:lnTo>
                  <a:lnTo>
                    <a:pt x="466" y="200"/>
                  </a:lnTo>
                  <a:lnTo>
                    <a:pt x="467" y="197"/>
                  </a:lnTo>
                  <a:lnTo>
                    <a:pt x="465" y="196"/>
                  </a:lnTo>
                  <a:lnTo>
                    <a:pt x="463" y="194"/>
                  </a:lnTo>
                  <a:lnTo>
                    <a:pt x="463" y="192"/>
                  </a:lnTo>
                  <a:lnTo>
                    <a:pt x="462" y="189"/>
                  </a:lnTo>
                  <a:lnTo>
                    <a:pt x="459" y="185"/>
                  </a:lnTo>
                  <a:lnTo>
                    <a:pt x="459" y="182"/>
                  </a:lnTo>
                  <a:lnTo>
                    <a:pt x="458" y="179"/>
                  </a:lnTo>
                  <a:lnTo>
                    <a:pt x="457" y="179"/>
                  </a:lnTo>
                  <a:lnTo>
                    <a:pt x="454" y="179"/>
                  </a:lnTo>
                  <a:lnTo>
                    <a:pt x="452" y="178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51" y="173"/>
                  </a:lnTo>
                  <a:lnTo>
                    <a:pt x="448" y="171"/>
                  </a:lnTo>
                  <a:lnTo>
                    <a:pt x="447" y="170"/>
                  </a:lnTo>
                  <a:lnTo>
                    <a:pt x="447" y="167"/>
                  </a:lnTo>
                  <a:lnTo>
                    <a:pt x="446" y="165"/>
                  </a:lnTo>
                  <a:lnTo>
                    <a:pt x="448" y="162"/>
                  </a:lnTo>
                  <a:lnTo>
                    <a:pt x="448" y="159"/>
                  </a:lnTo>
                  <a:lnTo>
                    <a:pt x="447" y="156"/>
                  </a:lnTo>
                  <a:lnTo>
                    <a:pt x="448" y="155"/>
                  </a:lnTo>
                  <a:lnTo>
                    <a:pt x="447" y="154"/>
                  </a:lnTo>
                  <a:lnTo>
                    <a:pt x="446" y="155"/>
                  </a:lnTo>
                  <a:lnTo>
                    <a:pt x="447" y="156"/>
                  </a:lnTo>
                  <a:lnTo>
                    <a:pt x="446" y="158"/>
                  </a:lnTo>
                  <a:lnTo>
                    <a:pt x="440" y="152"/>
                  </a:lnTo>
                  <a:lnTo>
                    <a:pt x="439" y="150"/>
                  </a:lnTo>
                  <a:lnTo>
                    <a:pt x="439" y="151"/>
                  </a:lnTo>
                  <a:lnTo>
                    <a:pt x="439" y="152"/>
                  </a:lnTo>
                  <a:lnTo>
                    <a:pt x="438" y="154"/>
                  </a:lnTo>
                  <a:lnTo>
                    <a:pt x="439" y="158"/>
                  </a:lnTo>
                  <a:lnTo>
                    <a:pt x="436" y="154"/>
                  </a:lnTo>
                  <a:lnTo>
                    <a:pt x="435" y="155"/>
                  </a:lnTo>
                  <a:lnTo>
                    <a:pt x="435" y="154"/>
                  </a:lnTo>
                  <a:lnTo>
                    <a:pt x="435" y="151"/>
                  </a:lnTo>
                  <a:lnTo>
                    <a:pt x="433" y="146"/>
                  </a:lnTo>
                  <a:lnTo>
                    <a:pt x="435" y="144"/>
                  </a:lnTo>
                  <a:lnTo>
                    <a:pt x="435" y="143"/>
                  </a:lnTo>
                  <a:lnTo>
                    <a:pt x="432" y="141"/>
                  </a:lnTo>
                  <a:lnTo>
                    <a:pt x="433" y="139"/>
                  </a:lnTo>
                  <a:lnTo>
                    <a:pt x="432" y="137"/>
                  </a:lnTo>
                  <a:lnTo>
                    <a:pt x="432" y="136"/>
                  </a:lnTo>
                  <a:lnTo>
                    <a:pt x="428" y="133"/>
                  </a:lnTo>
                  <a:lnTo>
                    <a:pt x="427" y="131"/>
                  </a:lnTo>
                  <a:lnTo>
                    <a:pt x="427" y="128"/>
                  </a:lnTo>
                  <a:lnTo>
                    <a:pt x="429" y="128"/>
                  </a:lnTo>
                  <a:lnTo>
                    <a:pt x="429" y="126"/>
                  </a:lnTo>
                  <a:lnTo>
                    <a:pt x="428" y="122"/>
                  </a:lnTo>
                  <a:lnTo>
                    <a:pt x="427" y="122"/>
                  </a:lnTo>
                  <a:lnTo>
                    <a:pt x="424" y="122"/>
                  </a:lnTo>
                  <a:lnTo>
                    <a:pt x="423" y="120"/>
                  </a:lnTo>
                  <a:lnTo>
                    <a:pt x="420" y="120"/>
                  </a:lnTo>
                  <a:lnTo>
                    <a:pt x="418" y="117"/>
                  </a:lnTo>
                  <a:lnTo>
                    <a:pt x="417" y="118"/>
                  </a:lnTo>
                  <a:lnTo>
                    <a:pt x="416" y="117"/>
                  </a:lnTo>
                  <a:lnTo>
                    <a:pt x="413" y="117"/>
                  </a:lnTo>
                  <a:lnTo>
                    <a:pt x="412" y="118"/>
                  </a:lnTo>
                  <a:lnTo>
                    <a:pt x="413" y="116"/>
                  </a:lnTo>
                  <a:lnTo>
                    <a:pt x="416" y="116"/>
                  </a:lnTo>
                  <a:lnTo>
                    <a:pt x="416" y="114"/>
                  </a:lnTo>
                  <a:lnTo>
                    <a:pt x="414" y="113"/>
                  </a:lnTo>
                  <a:lnTo>
                    <a:pt x="412" y="113"/>
                  </a:lnTo>
                  <a:lnTo>
                    <a:pt x="410" y="113"/>
                  </a:lnTo>
                  <a:lnTo>
                    <a:pt x="409" y="112"/>
                  </a:lnTo>
                  <a:lnTo>
                    <a:pt x="409" y="112"/>
                  </a:lnTo>
                  <a:lnTo>
                    <a:pt x="404" y="109"/>
                  </a:lnTo>
                  <a:lnTo>
                    <a:pt x="401" y="105"/>
                  </a:lnTo>
                  <a:lnTo>
                    <a:pt x="401" y="99"/>
                  </a:lnTo>
                  <a:lnTo>
                    <a:pt x="399" y="97"/>
                  </a:lnTo>
                  <a:lnTo>
                    <a:pt x="399" y="95"/>
                  </a:lnTo>
                  <a:lnTo>
                    <a:pt x="401" y="94"/>
                  </a:lnTo>
                  <a:lnTo>
                    <a:pt x="402" y="90"/>
                  </a:lnTo>
                  <a:lnTo>
                    <a:pt x="401" y="83"/>
                  </a:lnTo>
                  <a:lnTo>
                    <a:pt x="399" y="80"/>
                  </a:lnTo>
                  <a:lnTo>
                    <a:pt x="401" y="80"/>
                  </a:lnTo>
                  <a:lnTo>
                    <a:pt x="398" y="79"/>
                  </a:lnTo>
                  <a:lnTo>
                    <a:pt x="397" y="79"/>
                  </a:lnTo>
                  <a:lnTo>
                    <a:pt x="395" y="73"/>
                  </a:lnTo>
                  <a:lnTo>
                    <a:pt x="394" y="68"/>
                  </a:lnTo>
                  <a:lnTo>
                    <a:pt x="395" y="68"/>
                  </a:lnTo>
                  <a:lnTo>
                    <a:pt x="395" y="67"/>
                  </a:lnTo>
                  <a:lnTo>
                    <a:pt x="394" y="65"/>
                  </a:lnTo>
                  <a:lnTo>
                    <a:pt x="394" y="57"/>
                  </a:lnTo>
                  <a:lnTo>
                    <a:pt x="394" y="56"/>
                  </a:lnTo>
                  <a:lnTo>
                    <a:pt x="394" y="53"/>
                  </a:lnTo>
                  <a:lnTo>
                    <a:pt x="395" y="53"/>
                  </a:lnTo>
                  <a:lnTo>
                    <a:pt x="395" y="52"/>
                  </a:lnTo>
                  <a:lnTo>
                    <a:pt x="391" y="48"/>
                  </a:lnTo>
                  <a:lnTo>
                    <a:pt x="389" y="46"/>
                  </a:lnTo>
                  <a:lnTo>
                    <a:pt x="389" y="45"/>
                  </a:lnTo>
                  <a:lnTo>
                    <a:pt x="387" y="42"/>
                  </a:lnTo>
                  <a:lnTo>
                    <a:pt x="384" y="44"/>
                  </a:lnTo>
                  <a:lnTo>
                    <a:pt x="383" y="42"/>
                  </a:lnTo>
                  <a:lnTo>
                    <a:pt x="382" y="45"/>
                  </a:lnTo>
                  <a:lnTo>
                    <a:pt x="380" y="45"/>
                  </a:lnTo>
                  <a:lnTo>
                    <a:pt x="378" y="42"/>
                  </a:lnTo>
                  <a:lnTo>
                    <a:pt x="378" y="39"/>
                  </a:lnTo>
                  <a:lnTo>
                    <a:pt x="376" y="37"/>
                  </a:lnTo>
                  <a:lnTo>
                    <a:pt x="378" y="33"/>
                  </a:lnTo>
                  <a:lnTo>
                    <a:pt x="376" y="27"/>
                  </a:lnTo>
                  <a:lnTo>
                    <a:pt x="375" y="27"/>
                  </a:lnTo>
                  <a:lnTo>
                    <a:pt x="375" y="26"/>
                  </a:lnTo>
                  <a:lnTo>
                    <a:pt x="376" y="23"/>
                  </a:lnTo>
                  <a:lnTo>
                    <a:pt x="374" y="20"/>
                  </a:lnTo>
                  <a:lnTo>
                    <a:pt x="374" y="19"/>
                  </a:lnTo>
                  <a:lnTo>
                    <a:pt x="372" y="18"/>
                  </a:lnTo>
                  <a:lnTo>
                    <a:pt x="372" y="15"/>
                  </a:lnTo>
                  <a:lnTo>
                    <a:pt x="374" y="14"/>
                  </a:lnTo>
                  <a:lnTo>
                    <a:pt x="372" y="12"/>
                  </a:lnTo>
                  <a:lnTo>
                    <a:pt x="371" y="14"/>
                  </a:lnTo>
                  <a:lnTo>
                    <a:pt x="370" y="12"/>
                  </a:lnTo>
                  <a:lnTo>
                    <a:pt x="370" y="7"/>
                  </a:lnTo>
                  <a:lnTo>
                    <a:pt x="370" y="5"/>
                  </a:lnTo>
                  <a:lnTo>
                    <a:pt x="368" y="1"/>
                  </a:lnTo>
                  <a:lnTo>
                    <a:pt x="365" y="1"/>
                  </a:lnTo>
                  <a:lnTo>
                    <a:pt x="365" y="0"/>
                  </a:lnTo>
                  <a:lnTo>
                    <a:pt x="363" y="1"/>
                  </a:lnTo>
                  <a:lnTo>
                    <a:pt x="361" y="3"/>
                  </a:lnTo>
                  <a:lnTo>
                    <a:pt x="361" y="7"/>
                  </a:lnTo>
                  <a:lnTo>
                    <a:pt x="361" y="11"/>
                  </a:lnTo>
                  <a:lnTo>
                    <a:pt x="361" y="11"/>
                  </a:lnTo>
                  <a:lnTo>
                    <a:pt x="360" y="14"/>
                  </a:lnTo>
                  <a:lnTo>
                    <a:pt x="359" y="14"/>
                  </a:lnTo>
                  <a:lnTo>
                    <a:pt x="357" y="18"/>
                  </a:lnTo>
                  <a:lnTo>
                    <a:pt x="356" y="20"/>
                  </a:lnTo>
                  <a:lnTo>
                    <a:pt x="357" y="22"/>
                  </a:lnTo>
                  <a:lnTo>
                    <a:pt x="360" y="23"/>
                  </a:lnTo>
                  <a:lnTo>
                    <a:pt x="359" y="25"/>
                  </a:lnTo>
                  <a:lnTo>
                    <a:pt x="356" y="25"/>
                  </a:lnTo>
                  <a:lnTo>
                    <a:pt x="356" y="27"/>
                  </a:lnTo>
                  <a:lnTo>
                    <a:pt x="355" y="29"/>
                  </a:lnTo>
                  <a:lnTo>
                    <a:pt x="356" y="31"/>
                  </a:lnTo>
                  <a:lnTo>
                    <a:pt x="356" y="34"/>
                  </a:lnTo>
                  <a:lnTo>
                    <a:pt x="355" y="33"/>
                  </a:lnTo>
                  <a:lnTo>
                    <a:pt x="353" y="34"/>
                  </a:lnTo>
                  <a:lnTo>
                    <a:pt x="352" y="39"/>
                  </a:lnTo>
                  <a:lnTo>
                    <a:pt x="353" y="44"/>
                  </a:lnTo>
                  <a:lnTo>
                    <a:pt x="352" y="48"/>
                  </a:lnTo>
                  <a:lnTo>
                    <a:pt x="353" y="50"/>
                  </a:lnTo>
                  <a:lnTo>
                    <a:pt x="353" y="54"/>
                  </a:lnTo>
                  <a:lnTo>
                    <a:pt x="351" y="56"/>
                  </a:lnTo>
                  <a:lnTo>
                    <a:pt x="351" y="59"/>
                  </a:lnTo>
                  <a:lnTo>
                    <a:pt x="349" y="63"/>
                  </a:lnTo>
                  <a:lnTo>
                    <a:pt x="348" y="69"/>
                  </a:lnTo>
                  <a:lnTo>
                    <a:pt x="346" y="72"/>
                  </a:lnTo>
                  <a:lnTo>
                    <a:pt x="346" y="75"/>
                  </a:lnTo>
                  <a:lnTo>
                    <a:pt x="345" y="78"/>
                  </a:lnTo>
                  <a:lnTo>
                    <a:pt x="344" y="80"/>
                  </a:lnTo>
                  <a:lnTo>
                    <a:pt x="344" y="84"/>
                  </a:lnTo>
                  <a:lnTo>
                    <a:pt x="340" y="87"/>
                  </a:lnTo>
                  <a:lnTo>
                    <a:pt x="331" y="90"/>
                  </a:lnTo>
                  <a:lnTo>
                    <a:pt x="329" y="88"/>
                  </a:lnTo>
                  <a:lnTo>
                    <a:pt x="326" y="87"/>
                  </a:lnTo>
                  <a:lnTo>
                    <a:pt x="325" y="86"/>
                  </a:lnTo>
                  <a:lnTo>
                    <a:pt x="322" y="83"/>
                  </a:lnTo>
                  <a:lnTo>
                    <a:pt x="322" y="82"/>
                  </a:lnTo>
                  <a:lnTo>
                    <a:pt x="321" y="80"/>
                  </a:lnTo>
                  <a:lnTo>
                    <a:pt x="319" y="79"/>
                  </a:lnTo>
                  <a:lnTo>
                    <a:pt x="317" y="78"/>
                  </a:lnTo>
                  <a:lnTo>
                    <a:pt x="315" y="76"/>
                  </a:lnTo>
                  <a:lnTo>
                    <a:pt x="311" y="76"/>
                  </a:lnTo>
                  <a:lnTo>
                    <a:pt x="308" y="75"/>
                  </a:lnTo>
                  <a:lnTo>
                    <a:pt x="307" y="72"/>
                  </a:lnTo>
                  <a:lnTo>
                    <a:pt x="304" y="69"/>
                  </a:lnTo>
                  <a:lnTo>
                    <a:pt x="302" y="69"/>
                  </a:lnTo>
                  <a:lnTo>
                    <a:pt x="299" y="67"/>
                  </a:lnTo>
                  <a:lnTo>
                    <a:pt x="299" y="65"/>
                  </a:lnTo>
                  <a:lnTo>
                    <a:pt x="297" y="65"/>
                  </a:lnTo>
                  <a:lnTo>
                    <a:pt x="296" y="64"/>
                  </a:lnTo>
                  <a:lnTo>
                    <a:pt x="293" y="64"/>
                  </a:lnTo>
                  <a:lnTo>
                    <a:pt x="291" y="64"/>
                  </a:lnTo>
                  <a:lnTo>
                    <a:pt x="292" y="63"/>
                  </a:lnTo>
                  <a:lnTo>
                    <a:pt x="289" y="61"/>
                  </a:lnTo>
                  <a:lnTo>
                    <a:pt x="288" y="59"/>
                  </a:lnTo>
                  <a:lnTo>
                    <a:pt x="285" y="56"/>
                  </a:lnTo>
                  <a:lnTo>
                    <a:pt x="284" y="54"/>
                  </a:lnTo>
                  <a:lnTo>
                    <a:pt x="281" y="52"/>
                  </a:lnTo>
                  <a:lnTo>
                    <a:pt x="281" y="49"/>
                  </a:lnTo>
                  <a:lnTo>
                    <a:pt x="283" y="45"/>
                  </a:lnTo>
                  <a:lnTo>
                    <a:pt x="284" y="42"/>
                  </a:lnTo>
                  <a:lnTo>
                    <a:pt x="285" y="41"/>
                  </a:lnTo>
                  <a:lnTo>
                    <a:pt x="287" y="38"/>
                  </a:lnTo>
                  <a:lnTo>
                    <a:pt x="288" y="35"/>
                  </a:lnTo>
                  <a:lnTo>
                    <a:pt x="285" y="37"/>
                  </a:lnTo>
                  <a:lnTo>
                    <a:pt x="284" y="34"/>
                  </a:lnTo>
                  <a:lnTo>
                    <a:pt x="287" y="33"/>
                  </a:lnTo>
                  <a:lnTo>
                    <a:pt x="285" y="30"/>
                  </a:lnTo>
                  <a:lnTo>
                    <a:pt x="287" y="30"/>
                  </a:lnTo>
                  <a:lnTo>
                    <a:pt x="288" y="30"/>
                  </a:lnTo>
                  <a:lnTo>
                    <a:pt x="289" y="30"/>
                  </a:lnTo>
                  <a:lnTo>
                    <a:pt x="291" y="31"/>
                  </a:lnTo>
                  <a:lnTo>
                    <a:pt x="293" y="30"/>
                  </a:lnTo>
                  <a:lnTo>
                    <a:pt x="295" y="27"/>
                  </a:lnTo>
                  <a:lnTo>
                    <a:pt x="293" y="25"/>
                  </a:lnTo>
                  <a:lnTo>
                    <a:pt x="295" y="23"/>
                  </a:lnTo>
                  <a:lnTo>
                    <a:pt x="296" y="25"/>
                  </a:lnTo>
                  <a:lnTo>
                    <a:pt x="297" y="20"/>
                  </a:lnTo>
                  <a:lnTo>
                    <a:pt x="299" y="19"/>
                  </a:lnTo>
                  <a:lnTo>
                    <a:pt x="300" y="18"/>
                  </a:lnTo>
                  <a:lnTo>
                    <a:pt x="300" y="16"/>
                  </a:lnTo>
                  <a:lnTo>
                    <a:pt x="297" y="15"/>
                  </a:lnTo>
                  <a:lnTo>
                    <a:pt x="296" y="16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3" y="14"/>
                  </a:lnTo>
                  <a:lnTo>
                    <a:pt x="291" y="16"/>
                  </a:lnTo>
                  <a:lnTo>
                    <a:pt x="292" y="16"/>
                  </a:lnTo>
                  <a:lnTo>
                    <a:pt x="292" y="19"/>
                  </a:lnTo>
                  <a:lnTo>
                    <a:pt x="289" y="19"/>
                  </a:lnTo>
                  <a:lnTo>
                    <a:pt x="288" y="18"/>
                  </a:lnTo>
                  <a:lnTo>
                    <a:pt x="287" y="16"/>
                  </a:lnTo>
                  <a:lnTo>
                    <a:pt x="287" y="15"/>
                  </a:lnTo>
                  <a:lnTo>
                    <a:pt x="285" y="18"/>
                  </a:lnTo>
                  <a:lnTo>
                    <a:pt x="284" y="18"/>
                  </a:lnTo>
                  <a:lnTo>
                    <a:pt x="284" y="16"/>
                  </a:lnTo>
                  <a:lnTo>
                    <a:pt x="285" y="15"/>
                  </a:lnTo>
                  <a:lnTo>
                    <a:pt x="285" y="14"/>
                  </a:lnTo>
                  <a:lnTo>
                    <a:pt x="284" y="14"/>
                  </a:lnTo>
                  <a:lnTo>
                    <a:pt x="283" y="15"/>
                  </a:lnTo>
                  <a:lnTo>
                    <a:pt x="280" y="16"/>
                  </a:lnTo>
                  <a:lnTo>
                    <a:pt x="280" y="18"/>
                  </a:lnTo>
                  <a:lnTo>
                    <a:pt x="278" y="18"/>
                  </a:lnTo>
                  <a:lnTo>
                    <a:pt x="277" y="16"/>
                  </a:lnTo>
                  <a:lnTo>
                    <a:pt x="276" y="16"/>
                  </a:lnTo>
                  <a:lnTo>
                    <a:pt x="276" y="15"/>
                  </a:lnTo>
                  <a:lnTo>
                    <a:pt x="273" y="14"/>
                  </a:lnTo>
                  <a:lnTo>
                    <a:pt x="273" y="12"/>
                  </a:lnTo>
                  <a:lnTo>
                    <a:pt x="270" y="14"/>
                  </a:lnTo>
                  <a:lnTo>
                    <a:pt x="268" y="14"/>
                  </a:lnTo>
                  <a:lnTo>
                    <a:pt x="266" y="14"/>
                  </a:lnTo>
                  <a:lnTo>
                    <a:pt x="266" y="12"/>
                  </a:lnTo>
                  <a:lnTo>
                    <a:pt x="265" y="12"/>
                  </a:lnTo>
                  <a:lnTo>
                    <a:pt x="263" y="10"/>
                  </a:lnTo>
                  <a:lnTo>
                    <a:pt x="261" y="11"/>
                  </a:lnTo>
                  <a:lnTo>
                    <a:pt x="258" y="11"/>
                  </a:lnTo>
                  <a:lnTo>
                    <a:pt x="255" y="10"/>
                  </a:lnTo>
                  <a:lnTo>
                    <a:pt x="255" y="8"/>
                  </a:lnTo>
                  <a:lnTo>
                    <a:pt x="254" y="5"/>
                  </a:lnTo>
                  <a:lnTo>
                    <a:pt x="253" y="5"/>
                  </a:lnTo>
                  <a:lnTo>
                    <a:pt x="253" y="7"/>
                  </a:lnTo>
                  <a:lnTo>
                    <a:pt x="250" y="8"/>
                  </a:lnTo>
                  <a:lnTo>
                    <a:pt x="249" y="5"/>
                  </a:lnTo>
                  <a:lnTo>
                    <a:pt x="247" y="5"/>
                  </a:lnTo>
                  <a:lnTo>
                    <a:pt x="243" y="3"/>
                  </a:lnTo>
                  <a:lnTo>
                    <a:pt x="243" y="4"/>
                  </a:lnTo>
                  <a:lnTo>
                    <a:pt x="242" y="3"/>
                  </a:lnTo>
                  <a:lnTo>
                    <a:pt x="239" y="4"/>
                  </a:lnTo>
                  <a:lnTo>
                    <a:pt x="242" y="7"/>
                  </a:lnTo>
                  <a:lnTo>
                    <a:pt x="242" y="7"/>
                  </a:lnTo>
                  <a:lnTo>
                    <a:pt x="243" y="7"/>
                  </a:lnTo>
                  <a:lnTo>
                    <a:pt x="246" y="7"/>
                  </a:lnTo>
                  <a:lnTo>
                    <a:pt x="249" y="10"/>
                  </a:lnTo>
                  <a:lnTo>
                    <a:pt x="249" y="11"/>
                  </a:lnTo>
                  <a:lnTo>
                    <a:pt x="250" y="15"/>
                  </a:lnTo>
                  <a:lnTo>
                    <a:pt x="247" y="15"/>
                  </a:lnTo>
                  <a:lnTo>
                    <a:pt x="246" y="18"/>
                  </a:lnTo>
                  <a:lnTo>
                    <a:pt x="246" y="16"/>
                  </a:lnTo>
                  <a:lnTo>
                    <a:pt x="243" y="15"/>
                  </a:lnTo>
                  <a:lnTo>
                    <a:pt x="242" y="16"/>
                  </a:lnTo>
                  <a:lnTo>
                    <a:pt x="235" y="16"/>
                  </a:lnTo>
                  <a:lnTo>
                    <a:pt x="232" y="15"/>
                  </a:lnTo>
                  <a:lnTo>
                    <a:pt x="232" y="16"/>
                  </a:lnTo>
                  <a:lnTo>
                    <a:pt x="229" y="16"/>
                  </a:lnTo>
                  <a:lnTo>
                    <a:pt x="229" y="19"/>
                  </a:lnTo>
                  <a:lnTo>
                    <a:pt x="227" y="19"/>
                  </a:lnTo>
                  <a:lnTo>
                    <a:pt x="228" y="22"/>
                  </a:lnTo>
                  <a:lnTo>
                    <a:pt x="227" y="20"/>
                  </a:lnTo>
                  <a:lnTo>
                    <a:pt x="224" y="19"/>
                  </a:lnTo>
                  <a:lnTo>
                    <a:pt x="223" y="20"/>
                  </a:lnTo>
                  <a:lnTo>
                    <a:pt x="224" y="23"/>
                  </a:lnTo>
                  <a:lnTo>
                    <a:pt x="224" y="23"/>
                  </a:lnTo>
                  <a:lnTo>
                    <a:pt x="221" y="23"/>
                  </a:lnTo>
                  <a:lnTo>
                    <a:pt x="220" y="25"/>
                  </a:lnTo>
                  <a:lnTo>
                    <a:pt x="221" y="26"/>
                  </a:lnTo>
                  <a:lnTo>
                    <a:pt x="220" y="26"/>
                  </a:lnTo>
                  <a:lnTo>
                    <a:pt x="217" y="27"/>
                  </a:lnTo>
                  <a:lnTo>
                    <a:pt x="219" y="29"/>
                  </a:lnTo>
                  <a:lnTo>
                    <a:pt x="220" y="30"/>
                  </a:lnTo>
                  <a:lnTo>
                    <a:pt x="220" y="31"/>
                  </a:lnTo>
                  <a:lnTo>
                    <a:pt x="219" y="30"/>
                  </a:lnTo>
                  <a:lnTo>
                    <a:pt x="216" y="31"/>
                  </a:lnTo>
                  <a:lnTo>
                    <a:pt x="215" y="31"/>
                  </a:lnTo>
                  <a:lnTo>
                    <a:pt x="212" y="35"/>
                  </a:lnTo>
                  <a:lnTo>
                    <a:pt x="210" y="39"/>
                  </a:lnTo>
                  <a:lnTo>
                    <a:pt x="209" y="39"/>
                  </a:lnTo>
                  <a:lnTo>
                    <a:pt x="208" y="42"/>
                  </a:lnTo>
                  <a:lnTo>
                    <a:pt x="206" y="44"/>
                  </a:lnTo>
                  <a:lnTo>
                    <a:pt x="208" y="45"/>
                  </a:lnTo>
                  <a:lnTo>
                    <a:pt x="212" y="46"/>
                  </a:lnTo>
                  <a:lnTo>
                    <a:pt x="210" y="46"/>
                  </a:lnTo>
                  <a:lnTo>
                    <a:pt x="209" y="48"/>
                  </a:lnTo>
                  <a:lnTo>
                    <a:pt x="215" y="50"/>
                  </a:lnTo>
                  <a:lnTo>
                    <a:pt x="213" y="50"/>
                  </a:lnTo>
                  <a:lnTo>
                    <a:pt x="209" y="50"/>
                  </a:lnTo>
                  <a:lnTo>
                    <a:pt x="209" y="49"/>
                  </a:lnTo>
                  <a:lnTo>
                    <a:pt x="209" y="50"/>
                  </a:lnTo>
                  <a:lnTo>
                    <a:pt x="210" y="52"/>
                  </a:lnTo>
                  <a:lnTo>
                    <a:pt x="210" y="54"/>
                  </a:lnTo>
                  <a:lnTo>
                    <a:pt x="213" y="57"/>
                  </a:lnTo>
                  <a:lnTo>
                    <a:pt x="209" y="54"/>
                  </a:lnTo>
                  <a:lnTo>
                    <a:pt x="208" y="52"/>
                  </a:lnTo>
                  <a:lnTo>
                    <a:pt x="205" y="50"/>
                  </a:lnTo>
                  <a:lnTo>
                    <a:pt x="205" y="52"/>
                  </a:lnTo>
                  <a:lnTo>
                    <a:pt x="205" y="54"/>
                  </a:lnTo>
                  <a:lnTo>
                    <a:pt x="204" y="52"/>
                  </a:lnTo>
                  <a:lnTo>
                    <a:pt x="200" y="49"/>
                  </a:lnTo>
                  <a:lnTo>
                    <a:pt x="195" y="49"/>
                  </a:lnTo>
                  <a:lnTo>
                    <a:pt x="197" y="50"/>
                  </a:lnTo>
                  <a:lnTo>
                    <a:pt x="195" y="52"/>
                  </a:lnTo>
                  <a:lnTo>
                    <a:pt x="194" y="52"/>
                  </a:lnTo>
                  <a:lnTo>
                    <a:pt x="193" y="52"/>
                  </a:lnTo>
                  <a:lnTo>
                    <a:pt x="193" y="53"/>
                  </a:lnTo>
                  <a:lnTo>
                    <a:pt x="194" y="54"/>
                  </a:lnTo>
                  <a:lnTo>
                    <a:pt x="194" y="56"/>
                  </a:lnTo>
                  <a:lnTo>
                    <a:pt x="193" y="56"/>
                  </a:lnTo>
                  <a:lnTo>
                    <a:pt x="191" y="56"/>
                  </a:lnTo>
                  <a:lnTo>
                    <a:pt x="191" y="57"/>
                  </a:lnTo>
                  <a:lnTo>
                    <a:pt x="190" y="59"/>
                  </a:lnTo>
                  <a:lnTo>
                    <a:pt x="186" y="59"/>
                  </a:lnTo>
                  <a:lnTo>
                    <a:pt x="189" y="57"/>
                  </a:lnTo>
                  <a:lnTo>
                    <a:pt x="191" y="54"/>
                  </a:lnTo>
                  <a:lnTo>
                    <a:pt x="190" y="52"/>
                  </a:lnTo>
                  <a:lnTo>
                    <a:pt x="193" y="49"/>
                  </a:lnTo>
                  <a:lnTo>
                    <a:pt x="191" y="48"/>
                  </a:lnTo>
                  <a:lnTo>
                    <a:pt x="189" y="48"/>
                  </a:lnTo>
                  <a:lnTo>
                    <a:pt x="186" y="41"/>
                  </a:lnTo>
                  <a:lnTo>
                    <a:pt x="185" y="38"/>
                  </a:lnTo>
                  <a:lnTo>
                    <a:pt x="181" y="38"/>
                  </a:lnTo>
                  <a:lnTo>
                    <a:pt x="179" y="37"/>
                  </a:lnTo>
                  <a:lnTo>
                    <a:pt x="178" y="37"/>
                  </a:lnTo>
                  <a:lnTo>
                    <a:pt x="178" y="38"/>
                  </a:lnTo>
                  <a:lnTo>
                    <a:pt x="176" y="38"/>
                  </a:lnTo>
                  <a:lnTo>
                    <a:pt x="175" y="41"/>
                  </a:lnTo>
                  <a:lnTo>
                    <a:pt x="174" y="41"/>
                  </a:lnTo>
                  <a:lnTo>
                    <a:pt x="175" y="39"/>
                  </a:lnTo>
                  <a:lnTo>
                    <a:pt x="172" y="39"/>
                  </a:lnTo>
                  <a:lnTo>
                    <a:pt x="172" y="41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8" y="39"/>
                  </a:lnTo>
                  <a:lnTo>
                    <a:pt x="170" y="41"/>
                  </a:lnTo>
                  <a:lnTo>
                    <a:pt x="168" y="42"/>
                  </a:lnTo>
                  <a:lnTo>
                    <a:pt x="167" y="45"/>
                  </a:lnTo>
                  <a:lnTo>
                    <a:pt x="168" y="46"/>
                  </a:lnTo>
                  <a:lnTo>
                    <a:pt x="166" y="48"/>
                  </a:lnTo>
                  <a:lnTo>
                    <a:pt x="164" y="46"/>
                  </a:lnTo>
                  <a:lnTo>
                    <a:pt x="163" y="46"/>
                  </a:lnTo>
                  <a:lnTo>
                    <a:pt x="163" y="45"/>
                  </a:lnTo>
                  <a:lnTo>
                    <a:pt x="164" y="42"/>
                  </a:lnTo>
                  <a:lnTo>
                    <a:pt x="163" y="42"/>
                  </a:lnTo>
                  <a:lnTo>
                    <a:pt x="161" y="45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0"/>
                  </a:lnTo>
                  <a:lnTo>
                    <a:pt x="161" y="50"/>
                  </a:lnTo>
                  <a:lnTo>
                    <a:pt x="159" y="53"/>
                  </a:lnTo>
                  <a:lnTo>
                    <a:pt x="156" y="52"/>
                  </a:lnTo>
                  <a:lnTo>
                    <a:pt x="153" y="54"/>
                  </a:lnTo>
                  <a:lnTo>
                    <a:pt x="153" y="56"/>
                  </a:lnTo>
                  <a:lnTo>
                    <a:pt x="157" y="56"/>
                  </a:lnTo>
                  <a:lnTo>
                    <a:pt x="156" y="59"/>
                  </a:lnTo>
                  <a:lnTo>
                    <a:pt x="155" y="59"/>
                  </a:lnTo>
                  <a:lnTo>
                    <a:pt x="152" y="56"/>
                  </a:lnTo>
                  <a:lnTo>
                    <a:pt x="151" y="57"/>
                  </a:lnTo>
                  <a:lnTo>
                    <a:pt x="148" y="59"/>
                  </a:lnTo>
                  <a:lnTo>
                    <a:pt x="148" y="60"/>
                  </a:lnTo>
                  <a:lnTo>
                    <a:pt x="149" y="61"/>
                  </a:lnTo>
                  <a:lnTo>
                    <a:pt x="149" y="63"/>
                  </a:lnTo>
                  <a:lnTo>
                    <a:pt x="151" y="63"/>
                  </a:lnTo>
                  <a:lnTo>
                    <a:pt x="149" y="65"/>
                  </a:lnTo>
                  <a:lnTo>
                    <a:pt x="149" y="67"/>
                  </a:lnTo>
                  <a:lnTo>
                    <a:pt x="148" y="68"/>
                  </a:lnTo>
                  <a:lnTo>
                    <a:pt x="147" y="69"/>
                  </a:lnTo>
                  <a:lnTo>
                    <a:pt x="151" y="69"/>
                  </a:lnTo>
                  <a:lnTo>
                    <a:pt x="148" y="71"/>
                  </a:lnTo>
                  <a:lnTo>
                    <a:pt x="148" y="72"/>
                  </a:lnTo>
                  <a:lnTo>
                    <a:pt x="145" y="72"/>
                  </a:lnTo>
                  <a:lnTo>
                    <a:pt x="144" y="69"/>
                  </a:lnTo>
                  <a:lnTo>
                    <a:pt x="142" y="68"/>
                  </a:lnTo>
                  <a:lnTo>
                    <a:pt x="141" y="71"/>
                  </a:lnTo>
                  <a:lnTo>
                    <a:pt x="140" y="68"/>
                  </a:lnTo>
                  <a:lnTo>
                    <a:pt x="137" y="67"/>
                  </a:lnTo>
                  <a:lnTo>
                    <a:pt x="136" y="68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37" y="73"/>
                  </a:lnTo>
                  <a:lnTo>
                    <a:pt x="138" y="75"/>
                  </a:lnTo>
                  <a:lnTo>
                    <a:pt x="141" y="75"/>
                  </a:lnTo>
                  <a:lnTo>
                    <a:pt x="140" y="78"/>
                  </a:lnTo>
                  <a:lnTo>
                    <a:pt x="140" y="79"/>
                  </a:lnTo>
                  <a:lnTo>
                    <a:pt x="140" y="79"/>
                  </a:lnTo>
                  <a:lnTo>
                    <a:pt x="138" y="79"/>
                  </a:lnTo>
                  <a:lnTo>
                    <a:pt x="138" y="82"/>
                  </a:lnTo>
                  <a:lnTo>
                    <a:pt x="137" y="83"/>
                  </a:lnTo>
                  <a:lnTo>
                    <a:pt x="137" y="87"/>
                  </a:lnTo>
                  <a:lnTo>
                    <a:pt x="133" y="79"/>
                  </a:lnTo>
                  <a:lnTo>
                    <a:pt x="130" y="73"/>
                  </a:lnTo>
                  <a:lnTo>
                    <a:pt x="129" y="72"/>
                  </a:lnTo>
                  <a:lnTo>
                    <a:pt x="130" y="69"/>
                  </a:lnTo>
                  <a:lnTo>
                    <a:pt x="129" y="71"/>
                  </a:lnTo>
                  <a:lnTo>
                    <a:pt x="126" y="72"/>
                  </a:lnTo>
                  <a:lnTo>
                    <a:pt x="126" y="75"/>
                  </a:lnTo>
                  <a:lnTo>
                    <a:pt x="125" y="76"/>
                  </a:lnTo>
                  <a:lnTo>
                    <a:pt x="123" y="78"/>
                  </a:lnTo>
                  <a:lnTo>
                    <a:pt x="122" y="78"/>
                  </a:lnTo>
                  <a:lnTo>
                    <a:pt x="121" y="79"/>
                  </a:lnTo>
                  <a:lnTo>
                    <a:pt x="118" y="80"/>
                  </a:lnTo>
                  <a:lnTo>
                    <a:pt x="119" y="83"/>
                  </a:lnTo>
                  <a:lnTo>
                    <a:pt x="119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8" y="94"/>
                  </a:lnTo>
                  <a:lnTo>
                    <a:pt x="117" y="95"/>
                  </a:lnTo>
                  <a:lnTo>
                    <a:pt x="114" y="97"/>
                  </a:lnTo>
                  <a:lnTo>
                    <a:pt x="114" y="98"/>
                  </a:lnTo>
                  <a:lnTo>
                    <a:pt x="111" y="99"/>
                  </a:lnTo>
                  <a:lnTo>
                    <a:pt x="111" y="102"/>
                  </a:lnTo>
                  <a:lnTo>
                    <a:pt x="110" y="105"/>
                  </a:lnTo>
                  <a:lnTo>
                    <a:pt x="106" y="109"/>
                  </a:lnTo>
                  <a:lnTo>
                    <a:pt x="99" y="113"/>
                  </a:lnTo>
                  <a:lnTo>
                    <a:pt x="92" y="114"/>
                  </a:lnTo>
                  <a:lnTo>
                    <a:pt x="91" y="114"/>
                  </a:lnTo>
                  <a:lnTo>
                    <a:pt x="87" y="116"/>
                  </a:lnTo>
                  <a:lnTo>
                    <a:pt x="84" y="116"/>
                  </a:lnTo>
                  <a:lnTo>
                    <a:pt x="81" y="116"/>
                  </a:lnTo>
                  <a:lnTo>
                    <a:pt x="77" y="117"/>
                  </a:lnTo>
                  <a:lnTo>
                    <a:pt x="77" y="118"/>
                  </a:lnTo>
                  <a:lnTo>
                    <a:pt x="74" y="120"/>
                  </a:lnTo>
                  <a:lnTo>
                    <a:pt x="68" y="120"/>
                  </a:lnTo>
                  <a:lnTo>
                    <a:pt x="65" y="121"/>
                  </a:lnTo>
                  <a:lnTo>
                    <a:pt x="65" y="122"/>
                  </a:lnTo>
                  <a:lnTo>
                    <a:pt x="60" y="125"/>
                  </a:lnTo>
                  <a:lnTo>
                    <a:pt x="57" y="125"/>
                  </a:lnTo>
                  <a:lnTo>
                    <a:pt x="54" y="124"/>
                  </a:lnTo>
                  <a:lnTo>
                    <a:pt x="53" y="124"/>
                  </a:lnTo>
                  <a:lnTo>
                    <a:pt x="51" y="122"/>
                  </a:lnTo>
                  <a:lnTo>
                    <a:pt x="50" y="124"/>
                  </a:lnTo>
                  <a:lnTo>
                    <a:pt x="47" y="126"/>
                  </a:lnTo>
                  <a:lnTo>
                    <a:pt x="43" y="128"/>
                  </a:lnTo>
                  <a:lnTo>
                    <a:pt x="42" y="128"/>
                  </a:lnTo>
                  <a:lnTo>
                    <a:pt x="40" y="128"/>
                  </a:lnTo>
                  <a:lnTo>
                    <a:pt x="38" y="132"/>
                  </a:lnTo>
                  <a:lnTo>
                    <a:pt x="32" y="135"/>
                  </a:lnTo>
                  <a:lnTo>
                    <a:pt x="26" y="136"/>
                  </a:lnTo>
                  <a:lnTo>
                    <a:pt x="23" y="140"/>
                  </a:lnTo>
                  <a:lnTo>
                    <a:pt x="23" y="144"/>
                  </a:lnTo>
                  <a:lnTo>
                    <a:pt x="20" y="147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1"/>
                  </a:lnTo>
                  <a:lnTo>
                    <a:pt x="20" y="139"/>
                  </a:lnTo>
                  <a:lnTo>
                    <a:pt x="20" y="137"/>
                  </a:lnTo>
                  <a:lnTo>
                    <a:pt x="16" y="140"/>
                  </a:lnTo>
                  <a:lnTo>
                    <a:pt x="15" y="143"/>
                  </a:lnTo>
                  <a:lnTo>
                    <a:pt x="12" y="148"/>
                  </a:lnTo>
                  <a:lnTo>
                    <a:pt x="15" y="152"/>
                  </a:lnTo>
                  <a:lnTo>
                    <a:pt x="13" y="155"/>
                  </a:lnTo>
                  <a:lnTo>
                    <a:pt x="13" y="160"/>
                  </a:lnTo>
                  <a:lnTo>
                    <a:pt x="9" y="166"/>
                  </a:lnTo>
                  <a:lnTo>
                    <a:pt x="6" y="174"/>
                  </a:lnTo>
                  <a:lnTo>
                    <a:pt x="8" y="177"/>
                  </a:lnTo>
                  <a:lnTo>
                    <a:pt x="8" y="184"/>
                  </a:lnTo>
                  <a:lnTo>
                    <a:pt x="12" y="190"/>
                  </a:lnTo>
                  <a:lnTo>
                    <a:pt x="12" y="193"/>
                  </a:lnTo>
                  <a:lnTo>
                    <a:pt x="13" y="194"/>
                  </a:lnTo>
                  <a:lnTo>
                    <a:pt x="12" y="199"/>
                  </a:lnTo>
                  <a:lnTo>
                    <a:pt x="13" y="201"/>
                  </a:lnTo>
                  <a:lnTo>
                    <a:pt x="11" y="203"/>
                  </a:lnTo>
                  <a:lnTo>
                    <a:pt x="9" y="200"/>
                  </a:lnTo>
                  <a:lnTo>
                    <a:pt x="9" y="196"/>
                  </a:lnTo>
                  <a:lnTo>
                    <a:pt x="8" y="199"/>
                  </a:lnTo>
                  <a:lnTo>
                    <a:pt x="6" y="197"/>
                  </a:lnTo>
                  <a:lnTo>
                    <a:pt x="6" y="194"/>
                  </a:lnTo>
                  <a:lnTo>
                    <a:pt x="5" y="189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6" y="200"/>
                  </a:lnTo>
                  <a:lnTo>
                    <a:pt x="9" y="204"/>
                  </a:lnTo>
                  <a:lnTo>
                    <a:pt x="5" y="204"/>
                  </a:lnTo>
                  <a:lnTo>
                    <a:pt x="2" y="201"/>
                  </a:lnTo>
                  <a:lnTo>
                    <a:pt x="2" y="197"/>
                  </a:lnTo>
                  <a:lnTo>
                    <a:pt x="1" y="199"/>
                  </a:lnTo>
                  <a:lnTo>
                    <a:pt x="0" y="200"/>
                  </a:lnTo>
                  <a:lnTo>
                    <a:pt x="2" y="203"/>
                  </a:lnTo>
                  <a:lnTo>
                    <a:pt x="6" y="208"/>
                  </a:lnTo>
                  <a:lnTo>
                    <a:pt x="9" y="215"/>
                  </a:lnTo>
                  <a:lnTo>
                    <a:pt x="8" y="227"/>
                  </a:lnTo>
                  <a:lnTo>
                    <a:pt x="9" y="228"/>
                  </a:lnTo>
                  <a:lnTo>
                    <a:pt x="11" y="235"/>
                  </a:lnTo>
                  <a:lnTo>
                    <a:pt x="15" y="245"/>
                  </a:lnTo>
                  <a:lnTo>
                    <a:pt x="13" y="247"/>
                  </a:lnTo>
                  <a:lnTo>
                    <a:pt x="13" y="261"/>
                  </a:lnTo>
                  <a:lnTo>
                    <a:pt x="13" y="262"/>
                  </a:lnTo>
                  <a:lnTo>
                    <a:pt x="15" y="266"/>
                  </a:lnTo>
                  <a:lnTo>
                    <a:pt x="15" y="271"/>
                  </a:lnTo>
                  <a:lnTo>
                    <a:pt x="17" y="276"/>
                  </a:lnTo>
                  <a:lnTo>
                    <a:pt x="17" y="279"/>
                  </a:lnTo>
                  <a:lnTo>
                    <a:pt x="15" y="280"/>
                  </a:lnTo>
                  <a:lnTo>
                    <a:pt x="16" y="281"/>
                  </a:lnTo>
                  <a:lnTo>
                    <a:pt x="15" y="284"/>
                  </a:lnTo>
                  <a:lnTo>
                    <a:pt x="15" y="290"/>
                  </a:lnTo>
                  <a:lnTo>
                    <a:pt x="12" y="291"/>
                  </a:lnTo>
                  <a:lnTo>
                    <a:pt x="13" y="294"/>
                  </a:lnTo>
                  <a:lnTo>
                    <a:pt x="12" y="296"/>
                  </a:lnTo>
                  <a:lnTo>
                    <a:pt x="11" y="298"/>
                  </a:lnTo>
                  <a:lnTo>
                    <a:pt x="11" y="300"/>
                  </a:lnTo>
                  <a:lnTo>
                    <a:pt x="6" y="303"/>
                  </a:lnTo>
                  <a:lnTo>
                    <a:pt x="5" y="302"/>
                  </a:lnTo>
                  <a:lnTo>
                    <a:pt x="2" y="306"/>
                  </a:lnTo>
                  <a:lnTo>
                    <a:pt x="2" y="3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7" name="Freeform 138"/>
            <p:cNvSpPr>
              <a:spLocks/>
            </p:cNvSpPr>
            <p:nvPr/>
          </p:nvSpPr>
          <p:spPr bwMode="auto">
            <a:xfrm>
              <a:off x="1733" y="1063"/>
              <a:ext cx="104" cy="62"/>
            </a:xfrm>
            <a:custGeom>
              <a:avLst/>
              <a:gdLst>
                <a:gd name="T0" fmla="*/ 38 w 104"/>
                <a:gd name="T1" fmla="*/ 60 h 62"/>
                <a:gd name="T2" fmla="*/ 52 w 104"/>
                <a:gd name="T3" fmla="*/ 62 h 62"/>
                <a:gd name="T4" fmla="*/ 59 w 104"/>
                <a:gd name="T5" fmla="*/ 60 h 62"/>
                <a:gd name="T6" fmla="*/ 64 w 104"/>
                <a:gd name="T7" fmla="*/ 57 h 62"/>
                <a:gd name="T8" fmla="*/ 71 w 104"/>
                <a:gd name="T9" fmla="*/ 53 h 62"/>
                <a:gd name="T10" fmla="*/ 81 w 104"/>
                <a:gd name="T11" fmla="*/ 46 h 62"/>
                <a:gd name="T12" fmla="*/ 89 w 104"/>
                <a:gd name="T13" fmla="*/ 42 h 62"/>
                <a:gd name="T14" fmla="*/ 94 w 104"/>
                <a:gd name="T15" fmla="*/ 41 h 62"/>
                <a:gd name="T16" fmla="*/ 97 w 104"/>
                <a:gd name="T17" fmla="*/ 35 h 62"/>
                <a:gd name="T18" fmla="*/ 98 w 104"/>
                <a:gd name="T19" fmla="*/ 30 h 62"/>
                <a:gd name="T20" fmla="*/ 102 w 104"/>
                <a:gd name="T21" fmla="*/ 24 h 62"/>
                <a:gd name="T22" fmla="*/ 97 w 104"/>
                <a:gd name="T23" fmla="*/ 19 h 62"/>
                <a:gd name="T24" fmla="*/ 94 w 104"/>
                <a:gd name="T25" fmla="*/ 13 h 62"/>
                <a:gd name="T26" fmla="*/ 91 w 104"/>
                <a:gd name="T27" fmla="*/ 9 h 62"/>
                <a:gd name="T28" fmla="*/ 96 w 104"/>
                <a:gd name="T29" fmla="*/ 4 h 62"/>
                <a:gd name="T30" fmla="*/ 86 w 104"/>
                <a:gd name="T31" fmla="*/ 8 h 62"/>
                <a:gd name="T32" fmla="*/ 82 w 104"/>
                <a:gd name="T33" fmla="*/ 1 h 62"/>
                <a:gd name="T34" fmla="*/ 78 w 104"/>
                <a:gd name="T35" fmla="*/ 7 h 62"/>
                <a:gd name="T36" fmla="*/ 70 w 104"/>
                <a:gd name="T37" fmla="*/ 8 h 62"/>
                <a:gd name="T38" fmla="*/ 62 w 104"/>
                <a:gd name="T39" fmla="*/ 7 h 62"/>
                <a:gd name="T40" fmla="*/ 60 w 104"/>
                <a:gd name="T41" fmla="*/ 16 h 62"/>
                <a:gd name="T42" fmla="*/ 55 w 104"/>
                <a:gd name="T43" fmla="*/ 5 h 62"/>
                <a:gd name="T44" fmla="*/ 47 w 104"/>
                <a:gd name="T45" fmla="*/ 16 h 62"/>
                <a:gd name="T46" fmla="*/ 40 w 104"/>
                <a:gd name="T47" fmla="*/ 8 h 62"/>
                <a:gd name="T48" fmla="*/ 37 w 104"/>
                <a:gd name="T49" fmla="*/ 20 h 62"/>
                <a:gd name="T50" fmla="*/ 33 w 104"/>
                <a:gd name="T51" fmla="*/ 27 h 62"/>
                <a:gd name="T52" fmla="*/ 32 w 104"/>
                <a:gd name="T53" fmla="*/ 17 h 62"/>
                <a:gd name="T54" fmla="*/ 32 w 104"/>
                <a:gd name="T55" fmla="*/ 12 h 62"/>
                <a:gd name="T56" fmla="*/ 29 w 104"/>
                <a:gd name="T57" fmla="*/ 8 h 62"/>
                <a:gd name="T58" fmla="*/ 21 w 104"/>
                <a:gd name="T59" fmla="*/ 0 h 62"/>
                <a:gd name="T60" fmla="*/ 17 w 104"/>
                <a:gd name="T61" fmla="*/ 3 h 62"/>
                <a:gd name="T62" fmla="*/ 21 w 104"/>
                <a:gd name="T63" fmla="*/ 4 h 62"/>
                <a:gd name="T64" fmla="*/ 23 w 104"/>
                <a:gd name="T65" fmla="*/ 8 h 62"/>
                <a:gd name="T66" fmla="*/ 17 w 104"/>
                <a:gd name="T67" fmla="*/ 9 h 62"/>
                <a:gd name="T68" fmla="*/ 11 w 104"/>
                <a:gd name="T69" fmla="*/ 5 h 62"/>
                <a:gd name="T70" fmla="*/ 9 w 104"/>
                <a:gd name="T71" fmla="*/ 7 h 62"/>
                <a:gd name="T72" fmla="*/ 7 w 104"/>
                <a:gd name="T73" fmla="*/ 11 h 62"/>
                <a:gd name="T74" fmla="*/ 10 w 104"/>
                <a:gd name="T75" fmla="*/ 15 h 62"/>
                <a:gd name="T76" fmla="*/ 6 w 104"/>
                <a:gd name="T77" fmla="*/ 16 h 62"/>
                <a:gd name="T78" fmla="*/ 0 w 104"/>
                <a:gd name="T79" fmla="*/ 17 h 62"/>
                <a:gd name="T80" fmla="*/ 11 w 104"/>
                <a:gd name="T81" fmla="*/ 17 h 62"/>
                <a:gd name="T82" fmla="*/ 17 w 104"/>
                <a:gd name="T83" fmla="*/ 17 h 62"/>
                <a:gd name="T84" fmla="*/ 21 w 104"/>
                <a:gd name="T85" fmla="*/ 19 h 62"/>
                <a:gd name="T86" fmla="*/ 23 w 104"/>
                <a:gd name="T87" fmla="*/ 20 h 62"/>
                <a:gd name="T88" fmla="*/ 23 w 104"/>
                <a:gd name="T89" fmla="*/ 23 h 62"/>
                <a:gd name="T90" fmla="*/ 23 w 104"/>
                <a:gd name="T91" fmla="*/ 26 h 62"/>
                <a:gd name="T92" fmla="*/ 21 w 104"/>
                <a:gd name="T93" fmla="*/ 28 h 62"/>
                <a:gd name="T94" fmla="*/ 15 w 104"/>
                <a:gd name="T95" fmla="*/ 27 h 62"/>
                <a:gd name="T96" fmla="*/ 11 w 104"/>
                <a:gd name="T97" fmla="*/ 28 h 62"/>
                <a:gd name="T98" fmla="*/ 3 w 104"/>
                <a:gd name="T99" fmla="*/ 30 h 62"/>
                <a:gd name="T100" fmla="*/ 11 w 104"/>
                <a:gd name="T101" fmla="*/ 34 h 62"/>
                <a:gd name="T102" fmla="*/ 17 w 104"/>
                <a:gd name="T103" fmla="*/ 38 h 62"/>
                <a:gd name="T104" fmla="*/ 23 w 104"/>
                <a:gd name="T105" fmla="*/ 39 h 62"/>
                <a:gd name="T106" fmla="*/ 28 w 104"/>
                <a:gd name="T107" fmla="*/ 42 h 62"/>
                <a:gd name="T108" fmla="*/ 21 w 104"/>
                <a:gd name="T109" fmla="*/ 45 h 62"/>
                <a:gd name="T110" fmla="*/ 15 w 104"/>
                <a:gd name="T111" fmla="*/ 47 h 62"/>
                <a:gd name="T112" fmla="*/ 14 w 104"/>
                <a:gd name="T113" fmla="*/ 50 h 62"/>
                <a:gd name="T114" fmla="*/ 19 w 104"/>
                <a:gd name="T115" fmla="*/ 54 h 62"/>
                <a:gd name="T116" fmla="*/ 30 w 104"/>
                <a:gd name="T117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" h="62">
                  <a:moveTo>
                    <a:pt x="32" y="54"/>
                  </a:moveTo>
                  <a:lnTo>
                    <a:pt x="34" y="54"/>
                  </a:lnTo>
                  <a:lnTo>
                    <a:pt x="33" y="57"/>
                  </a:lnTo>
                  <a:lnTo>
                    <a:pt x="36" y="60"/>
                  </a:lnTo>
                  <a:lnTo>
                    <a:pt x="38" y="60"/>
                  </a:lnTo>
                  <a:lnTo>
                    <a:pt x="40" y="58"/>
                  </a:lnTo>
                  <a:lnTo>
                    <a:pt x="42" y="58"/>
                  </a:lnTo>
                  <a:lnTo>
                    <a:pt x="45" y="62"/>
                  </a:lnTo>
                  <a:lnTo>
                    <a:pt x="51" y="62"/>
                  </a:lnTo>
                  <a:lnTo>
                    <a:pt x="52" y="62"/>
                  </a:lnTo>
                  <a:lnTo>
                    <a:pt x="56" y="62"/>
                  </a:lnTo>
                  <a:lnTo>
                    <a:pt x="55" y="60"/>
                  </a:lnTo>
                  <a:lnTo>
                    <a:pt x="56" y="58"/>
                  </a:lnTo>
                  <a:lnTo>
                    <a:pt x="56" y="60"/>
                  </a:lnTo>
                  <a:lnTo>
                    <a:pt x="59" y="60"/>
                  </a:lnTo>
                  <a:lnTo>
                    <a:pt x="62" y="58"/>
                  </a:lnTo>
                  <a:lnTo>
                    <a:pt x="62" y="56"/>
                  </a:lnTo>
                  <a:lnTo>
                    <a:pt x="66" y="54"/>
                  </a:lnTo>
                  <a:lnTo>
                    <a:pt x="64" y="56"/>
                  </a:lnTo>
                  <a:lnTo>
                    <a:pt x="64" y="57"/>
                  </a:lnTo>
                  <a:lnTo>
                    <a:pt x="66" y="56"/>
                  </a:lnTo>
                  <a:lnTo>
                    <a:pt x="67" y="56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1" y="53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4" y="53"/>
                  </a:lnTo>
                  <a:lnTo>
                    <a:pt x="79" y="49"/>
                  </a:lnTo>
                  <a:lnTo>
                    <a:pt x="81" y="46"/>
                  </a:lnTo>
                  <a:lnTo>
                    <a:pt x="87" y="46"/>
                  </a:lnTo>
                  <a:lnTo>
                    <a:pt x="89" y="45"/>
                  </a:lnTo>
                  <a:lnTo>
                    <a:pt x="87" y="43"/>
                  </a:lnTo>
                  <a:lnTo>
                    <a:pt x="87" y="42"/>
                  </a:lnTo>
                  <a:lnTo>
                    <a:pt x="89" y="42"/>
                  </a:lnTo>
                  <a:lnTo>
                    <a:pt x="90" y="43"/>
                  </a:lnTo>
                  <a:lnTo>
                    <a:pt x="93" y="45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39"/>
                  </a:lnTo>
                  <a:lnTo>
                    <a:pt x="96" y="38"/>
                  </a:lnTo>
                  <a:lnTo>
                    <a:pt x="94" y="35"/>
                  </a:lnTo>
                  <a:lnTo>
                    <a:pt x="96" y="34"/>
                  </a:lnTo>
                  <a:lnTo>
                    <a:pt x="97" y="35"/>
                  </a:lnTo>
                  <a:lnTo>
                    <a:pt x="97" y="38"/>
                  </a:lnTo>
                  <a:lnTo>
                    <a:pt x="100" y="37"/>
                  </a:lnTo>
                  <a:lnTo>
                    <a:pt x="101" y="35"/>
                  </a:lnTo>
                  <a:lnTo>
                    <a:pt x="100" y="32"/>
                  </a:lnTo>
                  <a:lnTo>
                    <a:pt x="98" y="30"/>
                  </a:lnTo>
                  <a:lnTo>
                    <a:pt x="98" y="28"/>
                  </a:lnTo>
                  <a:lnTo>
                    <a:pt x="100" y="27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4" y="22"/>
                  </a:lnTo>
                  <a:lnTo>
                    <a:pt x="102" y="20"/>
                  </a:lnTo>
                  <a:lnTo>
                    <a:pt x="97" y="20"/>
                  </a:lnTo>
                  <a:lnTo>
                    <a:pt x="96" y="22"/>
                  </a:lnTo>
                  <a:lnTo>
                    <a:pt x="97" y="19"/>
                  </a:lnTo>
                  <a:lnTo>
                    <a:pt x="97" y="17"/>
                  </a:lnTo>
                  <a:lnTo>
                    <a:pt x="94" y="17"/>
                  </a:lnTo>
                  <a:lnTo>
                    <a:pt x="93" y="17"/>
                  </a:lnTo>
                  <a:lnTo>
                    <a:pt x="93" y="15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6" y="9"/>
                  </a:lnTo>
                  <a:lnTo>
                    <a:pt x="94" y="9"/>
                  </a:lnTo>
                  <a:lnTo>
                    <a:pt x="93" y="11"/>
                  </a:lnTo>
                  <a:lnTo>
                    <a:pt x="91" y="9"/>
                  </a:lnTo>
                  <a:lnTo>
                    <a:pt x="90" y="8"/>
                  </a:lnTo>
                  <a:lnTo>
                    <a:pt x="93" y="7"/>
                  </a:lnTo>
                  <a:lnTo>
                    <a:pt x="93" y="5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5" y="7"/>
                  </a:lnTo>
                  <a:lnTo>
                    <a:pt x="85" y="5"/>
                  </a:lnTo>
                  <a:lnTo>
                    <a:pt x="85" y="4"/>
                  </a:lnTo>
                  <a:lnTo>
                    <a:pt x="83" y="1"/>
                  </a:lnTo>
                  <a:lnTo>
                    <a:pt x="82" y="1"/>
                  </a:lnTo>
                  <a:lnTo>
                    <a:pt x="79" y="3"/>
                  </a:lnTo>
                  <a:lnTo>
                    <a:pt x="78" y="1"/>
                  </a:lnTo>
                  <a:lnTo>
                    <a:pt x="78" y="4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75" y="8"/>
                  </a:lnTo>
                  <a:lnTo>
                    <a:pt x="72" y="8"/>
                  </a:lnTo>
                  <a:lnTo>
                    <a:pt x="72" y="7"/>
                  </a:lnTo>
                  <a:lnTo>
                    <a:pt x="71" y="5"/>
                  </a:lnTo>
                  <a:lnTo>
                    <a:pt x="70" y="8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4" y="7"/>
                  </a:lnTo>
                  <a:lnTo>
                    <a:pt x="63" y="7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59" y="11"/>
                  </a:lnTo>
                  <a:lnTo>
                    <a:pt x="62" y="15"/>
                  </a:lnTo>
                  <a:lnTo>
                    <a:pt x="59" y="20"/>
                  </a:lnTo>
                  <a:lnTo>
                    <a:pt x="60" y="16"/>
                  </a:lnTo>
                  <a:lnTo>
                    <a:pt x="57" y="12"/>
                  </a:lnTo>
                  <a:lnTo>
                    <a:pt x="57" y="11"/>
                  </a:lnTo>
                  <a:lnTo>
                    <a:pt x="56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49" y="8"/>
                  </a:lnTo>
                  <a:lnTo>
                    <a:pt x="49" y="11"/>
                  </a:lnTo>
                  <a:lnTo>
                    <a:pt x="51" y="13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7" y="12"/>
                  </a:lnTo>
                  <a:lnTo>
                    <a:pt x="44" y="12"/>
                  </a:lnTo>
                  <a:lnTo>
                    <a:pt x="44" y="7"/>
                  </a:lnTo>
                  <a:lnTo>
                    <a:pt x="42" y="5"/>
                  </a:lnTo>
                  <a:lnTo>
                    <a:pt x="40" y="8"/>
                  </a:lnTo>
                  <a:lnTo>
                    <a:pt x="40" y="13"/>
                  </a:lnTo>
                  <a:lnTo>
                    <a:pt x="41" y="15"/>
                  </a:lnTo>
                  <a:lnTo>
                    <a:pt x="41" y="19"/>
                  </a:lnTo>
                  <a:lnTo>
                    <a:pt x="40" y="20"/>
                  </a:lnTo>
                  <a:lnTo>
                    <a:pt x="37" y="20"/>
                  </a:lnTo>
                  <a:lnTo>
                    <a:pt x="37" y="17"/>
                  </a:lnTo>
                  <a:lnTo>
                    <a:pt x="36" y="19"/>
                  </a:lnTo>
                  <a:lnTo>
                    <a:pt x="34" y="22"/>
                  </a:lnTo>
                  <a:lnTo>
                    <a:pt x="33" y="23"/>
                  </a:lnTo>
                  <a:lnTo>
                    <a:pt x="33" y="27"/>
                  </a:lnTo>
                  <a:lnTo>
                    <a:pt x="32" y="23"/>
                  </a:lnTo>
                  <a:lnTo>
                    <a:pt x="29" y="23"/>
                  </a:lnTo>
                  <a:lnTo>
                    <a:pt x="30" y="22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29" y="17"/>
                  </a:lnTo>
                  <a:lnTo>
                    <a:pt x="30" y="16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29" y="9"/>
                  </a:lnTo>
                  <a:lnTo>
                    <a:pt x="32" y="8"/>
                  </a:lnTo>
                  <a:lnTo>
                    <a:pt x="30" y="7"/>
                  </a:lnTo>
                  <a:lnTo>
                    <a:pt x="29" y="8"/>
                  </a:lnTo>
                  <a:lnTo>
                    <a:pt x="28" y="5"/>
                  </a:lnTo>
                  <a:lnTo>
                    <a:pt x="25" y="4"/>
                  </a:lnTo>
                  <a:lnTo>
                    <a:pt x="25" y="3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5" y="3"/>
                  </a:lnTo>
                  <a:lnTo>
                    <a:pt x="17" y="3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1" y="4"/>
                  </a:lnTo>
                  <a:lnTo>
                    <a:pt x="19" y="3"/>
                  </a:lnTo>
                  <a:lnTo>
                    <a:pt x="17" y="3"/>
                  </a:lnTo>
                  <a:lnTo>
                    <a:pt x="18" y="4"/>
                  </a:lnTo>
                  <a:lnTo>
                    <a:pt x="21" y="7"/>
                  </a:lnTo>
                  <a:lnTo>
                    <a:pt x="23" y="8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1" y="9"/>
                  </a:lnTo>
                  <a:lnTo>
                    <a:pt x="19" y="8"/>
                  </a:lnTo>
                  <a:lnTo>
                    <a:pt x="17" y="9"/>
                  </a:lnTo>
                  <a:lnTo>
                    <a:pt x="15" y="8"/>
                  </a:lnTo>
                  <a:lnTo>
                    <a:pt x="17" y="7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1" y="5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1" y="7"/>
                  </a:lnTo>
                  <a:lnTo>
                    <a:pt x="9" y="5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1" y="9"/>
                  </a:lnTo>
                  <a:lnTo>
                    <a:pt x="11" y="11"/>
                  </a:lnTo>
                  <a:lnTo>
                    <a:pt x="10" y="9"/>
                  </a:lnTo>
                  <a:lnTo>
                    <a:pt x="7" y="11"/>
                  </a:lnTo>
                  <a:lnTo>
                    <a:pt x="9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3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4" y="20"/>
                  </a:lnTo>
                  <a:lnTo>
                    <a:pt x="7" y="20"/>
                  </a:lnTo>
                  <a:lnTo>
                    <a:pt x="9" y="19"/>
                  </a:lnTo>
                  <a:lnTo>
                    <a:pt x="11" y="17"/>
                  </a:lnTo>
                  <a:lnTo>
                    <a:pt x="13" y="16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3" y="17"/>
                  </a:lnTo>
                  <a:lnTo>
                    <a:pt x="23" y="19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5" y="19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18" y="24"/>
                  </a:lnTo>
                  <a:lnTo>
                    <a:pt x="18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5" y="27"/>
                  </a:lnTo>
                  <a:lnTo>
                    <a:pt x="21" y="28"/>
                  </a:lnTo>
                  <a:lnTo>
                    <a:pt x="19" y="28"/>
                  </a:lnTo>
                  <a:lnTo>
                    <a:pt x="18" y="30"/>
                  </a:lnTo>
                  <a:lnTo>
                    <a:pt x="17" y="28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4" y="27"/>
                  </a:lnTo>
                  <a:lnTo>
                    <a:pt x="15" y="28"/>
                  </a:lnTo>
                  <a:lnTo>
                    <a:pt x="13" y="30"/>
                  </a:lnTo>
                  <a:lnTo>
                    <a:pt x="11" y="28"/>
                  </a:lnTo>
                  <a:lnTo>
                    <a:pt x="10" y="28"/>
                  </a:lnTo>
                  <a:lnTo>
                    <a:pt x="7" y="30"/>
                  </a:lnTo>
                  <a:lnTo>
                    <a:pt x="6" y="28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1"/>
                  </a:lnTo>
                  <a:lnTo>
                    <a:pt x="4" y="34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11" y="34"/>
                  </a:lnTo>
                  <a:lnTo>
                    <a:pt x="17" y="34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7" y="37"/>
                  </a:lnTo>
                  <a:lnTo>
                    <a:pt x="17" y="38"/>
                  </a:lnTo>
                  <a:lnTo>
                    <a:pt x="19" y="39"/>
                  </a:lnTo>
                  <a:lnTo>
                    <a:pt x="19" y="41"/>
                  </a:lnTo>
                  <a:lnTo>
                    <a:pt x="21" y="41"/>
                  </a:lnTo>
                  <a:lnTo>
                    <a:pt x="23" y="38"/>
                  </a:lnTo>
                  <a:lnTo>
                    <a:pt x="23" y="39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22" y="45"/>
                  </a:lnTo>
                  <a:lnTo>
                    <a:pt x="25" y="42"/>
                  </a:lnTo>
                  <a:lnTo>
                    <a:pt x="28" y="42"/>
                  </a:lnTo>
                  <a:lnTo>
                    <a:pt x="28" y="43"/>
                  </a:lnTo>
                  <a:lnTo>
                    <a:pt x="26" y="43"/>
                  </a:lnTo>
                  <a:lnTo>
                    <a:pt x="25" y="43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7" y="49"/>
                  </a:lnTo>
                  <a:lnTo>
                    <a:pt x="15" y="47"/>
                  </a:lnTo>
                  <a:lnTo>
                    <a:pt x="14" y="46"/>
                  </a:lnTo>
                  <a:lnTo>
                    <a:pt x="14" y="47"/>
                  </a:lnTo>
                  <a:lnTo>
                    <a:pt x="13" y="47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9" y="54"/>
                  </a:lnTo>
                  <a:lnTo>
                    <a:pt x="22" y="56"/>
                  </a:lnTo>
                  <a:lnTo>
                    <a:pt x="25" y="53"/>
                  </a:lnTo>
                  <a:lnTo>
                    <a:pt x="28" y="54"/>
                  </a:lnTo>
                  <a:lnTo>
                    <a:pt x="29" y="53"/>
                  </a:lnTo>
                  <a:lnTo>
                    <a:pt x="30" y="54"/>
                  </a:lnTo>
                  <a:lnTo>
                    <a:pt x="32" y="5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8" name="Freeform 139"/>
            <p:cNvSpPr>
              <a:spLocks/>
            </p:cNvSpPr>
            <p:nvPr/>
          </p:nvSpPr>
          <p:spPr bwMode="auto">
            <a:xfrm>
              <a:off x="1195" y="1779"/>
              <a:ext cx="20" cy="8"/>
            </a:xfrm>
            <a:custGeom>
              <a:avLst/>
              <a:gdLst>
                <a:gd name="T0" fmla="*/ 18 w 20"/>
                <a:gd name="T1" fmla="*/ 0 h 8"/>
                <a:gd name="T2" fmla="*/ 16 w 20"/>
                <a:gd name="T3" fmla="*/ 0 h 8"/>
                <a:gd name="T4" fmla="*/ 11 w 20"/>
                <a:gd name="T5" fmla="*/ 0 h 8"/>
                <a:gd name="T6" fmla="*/ 3 w 20"/>
                <a:gd name="T7" fmla="*/ 0 h 8"/>
                <a:gd name="T8" fmla="*/ 1 w 20"/>
                <a:gd name="T9" fmla="*/ 2 h 8"/>
                <a:gd name="T10" fmla="*/ 0 w 20"/>
                <a:gd name="T11" fmla="*/ 3 h 8"/>
                <a:gd name="T12" fmla="*/ 0 w 20"/>
                <a:gd name="T13" fmla="*/ 4 h 8"/>
                <a:gd name="T14" fmla="*/ 0 w 20"/>
                <a:gd name="T15" fmla="*/ 6 h 8"/>
                <a:gd name="T16" fmla="*/ 0 w 20"/>
                <a:gd name="T17" fmla="*/ 7 h 8"/>
                <a:gd name="T18" fmla="*/ 5 w 20"/>
                <a:gd name="T19" fmla="*/ 7 h 8"/>
                <a:gd name="T20" fmla="*/ 8 w 20"/>
                <a:gd name="T21" fmla="*/ 8 h 8"/>
                <a:gd name="T22" fmla="*/ 12 w 20"/>
                <a:gd name="T23" fmla="*/ 7 h 8"/>
                <a:gd name="T24" fmla="*/ 13 w 20"/>
                <a:gd name="T25" fmla="*/ 8 h 8"/>
                <a:gd name="T26" fmla="*/ 18 w 20"/>
                <a:gd name="T27" fmla="*/ 6 h 8"/>
                <a:gd name="T28" fmla="*/ 20 w 20"/>
                <a:gd name="T29" fmla="*/ 3 h 8"/>
                <a:gd name="T30" fmla="*/ 18 w 20"/>
                <a:gd name="T31" fmla="*/ 2 h 8"/>
                <a:gd name="T32" fmla="*/ 18 w 20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8">
                  <a:moveTo>
                    <a:pt x="18" y="0"/>
                  </a:moveTo>
                  <a:lnTo>
                    <a:pt x="16" y="0"/>
                  </a:lnTo>
                  <a:lnTo>
                    <a:pt x="11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5" y="7"/>
                  </a:lnTo>
                  <a:lnTo>
                    <a:pt x="8" y="8"/>
                  </a:lnTo>
                  <a:lnTo>
                    <a:pt x="12" y="7"/>
                  </a:lnTo>
                  <a:lnTo>
                    <a:pt x="13" y="8"/>
                  </a:lnTo>
                  <a:lnTo>
                    <a:pt x="18" y="6"/>
                  </a:lnTo>
                  <a:lnTo>
                    <a:pt x="20" y="3"/>
                  </a:lnTo>
                  <a:lnTo>
                    <a:pt x="18" y="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39" name="Freeform 140"/>
            <p:cNvSpPr>
              <a:spLocks/>
            </p:cNvSpPr>
            <p:nvPr/>
          </p:nvSpPr>
          <p:spPr bwMode="auto">
            <a:xfrm>
              <a:off x="1139" y="1762"/>
              <a:ext cx="45" cy="29"/>
            </a:xfrm>
            <a:custGeom>
              <a:avLst/>
              <a:gdLst>
                <a:gd name="T0" fmla="*/ 4 w 45"/>
                <a:gd name="T1" fmla="*/ 2 h 29"/>
                <a:gd name="T2" fmla="*/ 6 w 45"/>
                <a:gd name="T3" fmla="*/ 4 h 29"/>
                <a:gd name="T4" fmla="*/ 4 w 45"/>
                <a:gd name="T5" fmla="*/ 5 h 29"/>
                <a:gd name="T6" fmla="*/ 4 w 45"/>
                <a:gd name="T7" fmla="*/ 8 h 29"/>
                <a:gd name="T8" fmla="*/ 4 w 45"/>
                <a:gd name="T9" fmla="*/ 9 h 29"/>
                <a:gd name="T10" fmla="*/ 1 w 45"/>
                <a:gd name="T11" fmla="*/ 10 h 29"/>
                <a:gd name="T12" fmla="*/ 1 w 45"/>
                <a:gd name="T13" fmla="*/ 12 h 29"/>
                <a:gd name="T14" fmla="*/ 3 w 45"/>
                <a:gd name="T15" fmla="*/ 14 h 29"/>
                <a:gd name="T16" fmla="*/ 3 w 45"/>
                <a:gd name="T17" fmla="*/ 16 h 29"/>
                <a:gd name="T18" fmla="*/ 3 w 45"/>
                <a:gd name="T19" fmla="*/ 17 h 29"/>
                <a:gd name="T20" fmla="*/ 0 w 45"/>
                <a:gd name="T21" fmla="*/ 20 h 29"/>
                <a:gd name="T22" fmla="*/ 0 w 45"/>
                <a:gd name="T23" fmla="*/ 21 h 29"/>
                <a:gd name="T24" fmla="*/ 1 w 45"/>
                <a:gd name="T25" fmla="*/ 21 h 29"/>
                <a:gd name="T26" fmla="*/ 3 w 45"/>
                <a:gd name="T27" fmla="*/ 24 h 29"/>
                <a:gd name="T28" fmla="*/ 1 w 45"/>
                <a:gd name="T29" fmla="*/ 27 h 29"/>
                <a:gd name="T30" fmla="*/ 4 w 45"/>
                <a:gd name="T31" fmla="*/ 27 h 29"/>
                <a:gd name="T32" fmla="*/ 4 w 45"/>
                <a:gd name="T33" fmla="*/ 28 h 29"/>
                <a:gd name="T34" fmla="*/ 6 w 45"/>
                <a:gd name="T35" fmla="*/ 29 h 29"/>
                <a:gd name="T36" fmla="*/ 7 w 45"/>
                <a:gd name="T37" fmla="*/ 25 h 29"/>
                <a:gd name="T38" fmla="*/ 10 w 45"/>
                <a:gd name="T39" fmla="*/ 21 h 29"/>
                <a:gd name="T40" fmla="*/ 10 w 45"/>
                <a:gd name="T41" fmla="*/ 21 h 29"/>
                <a:gd name="T42" fmla="*/ 11 w 45"/>
                <a:gd name="T43" fmla="*/ 19 h 29"/>
                <a:gd name="T44" fmla="*/ 12 w 45"/>
                <a:gd name="T45" fmla="*/ 20 h 29"/>
                <a:gd name="T46" fmla="*/ 14 w 45"/>
                <a:gd name="T47" fmla="*/ 20 h 29"/>
                <a:gd name="T48" fmla="*/ 15 w 45"/>
                <a:gd name="T49" fmla="*/ 17 h 29"/>
                <a:gd name="T50" fmla="*/ 16 w 45"/>
                <a:gd name="T51" fmla="*/ 19 h 29"/>
                <a:gd name="T52" fmla="*/ 18 w 45"/>
                <a:gd name="T53" fmla="*/ 21 h 29"/>
                <a:gd name="T54" fmla="*/ 19 w 45"/>
                <a:gd name="T55" fmla="*/ 21 h 29"/>
                <a:gd name="T56" fmla="*/ 22 w 45"/>
                <a:gd name="T57" fmla="*/ 21 h 29"/>
                <a:gd name="T58" fmla="*/ 25 w 45"/>
                <a:gd name="T59" fmla="*/ 19 h 29"/>
                <a:gd name="T60" fmla="*/ 29 w 45"/>
                <a:gd name="T61" fmla="*/ 17 h 29"/>
                <a:gd name="T62" fmla="*/ 31 w 45"/>
                <a:gd name="T63" fmla="*/ 17 h 29"/>
                <a:gd name="T64" fmla="*/ 34 w 45"/>
                <a:gd name="T65" fmla="*/ 17 h 29"/>
                <a:gd name="T66" fmla="*/ 35 w 45"/>
                <a:gd name="T67" fmla="*/ 19 h 29"/>
                <a:gd name="T68" fmla="*/ 38 w 45"/>
                <a:gd name="T69" fmla="*/ 19 h 29"/>
                <a:gd name="T70" fmla="*/ 42 w 45"/>
                <a:gd name="T71" fmla="*/ 20 h 29"/>
                <a:gd name="T72" fmla="*/ 42 w 45"/>
                <a:gd name="T73" fmla="*/ 17 h 29"/>
                <a:gd name="T74" fmla="*/ 44 w 45"/>
                <a:gd name="T75" fmla="*/ 17 h 29"/>
                <a:gd name="T76" fmla="*/ 45 w 45"/>
                <a:gd name="T77" fmla="*/ 16 h 29"/>
                <a:gd name="T78" fmla="*/ 44 w 45"/>
                <a:gd name="T79" fmla="*/ 14 h 29"/>
                <a:gd name="T80" fmla="*/ 40 w 45"/>
                <a:gd name="T81" fmla="*/ 12 h 29"/>
                <a:gd name="T82" fmla="*/ 37 w 45"/>
                <a:gd name="T83" fmla="*/ 12 h 29"/>
                <a:gd name="T84" fmla="*/ 34 w 45"/>
                <a:gd name="T85" fmla="*/ 10 h 29"/>
                <a:gd name="T86" fmla="*/ 33 w 45"/>
                <a:gd name="T87" fmla="*/ 10 h 29"/>
                <a:gd name="T88" fmla="*/ 30 w 45"/>
                <a:gd name="T89" fmla="*/ 9 h 29"/>
                <a:gd name="T90" fmla="*/ 26 w 45"/>
                <a:gd name="T91" fmla="*/ 6 h 29"/>
                <a:gd name="T92" fmla="*/ 25 w 45"/>
                <a:gd name="T93" fmla="*/ 6 h 29"/>
                <a:gd name="T94" fmla="*/ 26 w 45"/>
                <a:gd name="T95" fmla="*/ 6 h 29"/>
                <a:gd name="T96" fmla="*/ 29 w 45"/>
                <a:gd name="T97" fmla="*/ 8 h 29"/>
                <a:gd name="T98" fmla="*/ 34 w 45"/>
                <a:gd name="T99" fmla="*/ 8 h 29"/>
                <a:gd name="T100" fmla="*/ 35 w 45"/>
                <a:gd name="T101" fmla="*/ 8 h 29"/>
                <a:gd name="T102" fmla="*/ 34 w 45"/>
                <a:gd name="T103" fmla="*/ 6 h 29"/>
                <a:gd name="T104" fmla="*/ 33 w 45"/>
                <a:gd name="T105" fmla="*/ 6 h 29"/>
                <a:gd name="T106" fmla="*/ 29 w 45"/>
                <a:gd name="T107" fmla="*/ 5 h 29"/>
                <a:gd name="T108" fmla="*/ 27 w 45"/>
                <a:gd name="T109" fmla="*/ 2 h 29"/>
                <a:gd name="T110" fmla="*/ 26 w 45"/>
                <a:gd name="T111" fmla="*/ 2 h 29"/>
                <a:gd name="T112" fmla="*/ 25 w 45"/>
                <a:gd name="T113" fmla="*/ 2 h 29"/>
                <a:gd name="T114" fmla="*/ 23 w 45"/>
                <a:gd name="T115" fmla="*/ 1 h 29"/>
                <a:gd name="T116" fmla="*/ 12 w 45"/>
                <a:gd name="T117" fmla="*/ 0 h 29"/>
                <a:gd name="T118" fmla="*/ 12 w 45"/>
                <a:gd name="T119" fmla="*/ 0 h 29"/>
                <a:gd name="T120" fmla="*/ 10 w 45"/>
                <a:gd name="T121" fmla="*/ 0 h 29"/>
                <a:gd name="T122" fmla="*/ 6 w 45"/>
                <a:gd name="T123" fmla="*/ 0 h 29"/>
                <a:gd name="T124" fmla="*/ 4 w 45"/>
                <a:gd name="T125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" h="29">
                  <a:moveTo>
                    <a:pt x="4" y="2"/>
                  </a:moveTo>
                  <a:lnTo>
                    <a:pt x="6" y="4"/>
                  </a:lnTo>
                  <a:lnTo>
                    <a:pt x="4" y="5"/>
                  </a:lnTo>
                  <a:lnTo>
                    <a:pt x="4" y="8"/>
                  </a:lnTo>
                  <a:lnTo>
                    <a:pt x="4" y="9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3" y="14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1" y="27"/>
                  </a:lnTo>
                  <a:lnTo>
                    <a:pt x="4" y="27"/>
                  </a:lnTo>
                  <a:lnTo>
                    <a:pt x="4" y="28"/>
                  </a:lnTo>
                  <a:lnTo>
                    <a:pt x="6" y="29"/>
                  </a:lnTo>
                  <a:lnTo>
                    <a:pt x="7" y="25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1" y="19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5" y="17"/>
                  </a:lnTo>
                  <a:lnTo>
                    <a:pt x="16" y="19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22" y="21"/>
                  </a:lnTo>
                  <a:lnTo>
                    <a:pt x="25" y="19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4" y="17"/>
                  </a:lnTo>
                  <a:lnTo>
                    <a:pt x="35" y="19"/>
                  </a:lnTo>
                  <a:lnTo>
                    <a:pt x="38" y="19"/>
                  </a:lnTo>
                  <a:lnTo>
                    <a:pt x="42" y="20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5" y="16"/>
                  </a:lnTo>
                  <a:lnTo>
                    <a:pt x="44" y="14"/>
                  </a:lnTo>
                  <a:lnTo>
                    <a:pt x="40" y="12"/>
                  </a:lnTo>
                  <a:lnTo>
                    <a:pt x="37" y="12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0" y="9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9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29" y="5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3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0" name="Freeform 141"/>
            <p:cNvSpPr>
              <a:spLocks noEditPoints="1"/>
            </p:cNvSpPr>
            <p:nvPr/>
          </p:nvSpPr>
          <p:spPr bwMode="auto">
            <a:xfrm>
              <a:off x="533" y="794"/>
              <a:ext cx="851" cy="662"/>
            </a:xfrm>
            <a:custGeom>
              <a:avLst/>
              <a:gdLst>
                <a:gd name="T0" fmla="*/ 89 w 851"/>
                <a:gd name="T1" fmla="*/ 481 h 662"/>
                <a:gd name="T2" fmla="*/ 77 w 851"/>
                <a:gd name="T3" fmla="*/ 469 h 662"/>
                <a:gd name="T4" fmla="*/ 76 w 851"/>
                <a:gd name="T5" fmla="*/ 454 h 662"/>
                <a:gd name="T6" fmla="*/ 74 w 851"/>
                <a:gd name="T7" fmla="*/ 439 h 662"/>
                <a:gd name="T8" fmla="*/ 73 w 851"/>
                <a:gd name="T9" fmla="*/ 405 h 662"/>
                <a:gd name="T10" fmla="*/ 74 w 851"/>
                <a:gd name="T11" fmla="*/ 365 h 662"/>
                <a:gd name="T12" fmla="*/ 57 w 851"/>
                <a:gd name="T13" fmla="*/ 288 h 662"/>
                <a:gd name="T14" fmla="*/ 155 w 851"/>
                <a:gd name="T15" fmla="*/ 16 h 662"/>
                <a:gd name="T16" fmla="*/ 197 w 851"/>
                <a:gd name="T17" fmla="*/ 32 h 662"/>
                <a:gd name="T18" fmla="*/ 235 w 851"/>
                <a:gd name="T19" fmla="*/ 32 h 662"/>
                <a:gd name="T20" fmla="*/ 228 w 851"/>
                <a:gd name="T21" fmla="*/ 35 h 662"/>
                <a:gd name="T22" fmla="*/ 274 w 851"/>
                <a:gd name="T23" fmla="*/ 54 h 662"/>
                <a:gd name="T24" fmla="*/ 299 w 851"/>
                <a:gd name="T25" fmla="*/ 58 h 662"/>
                <a:gd name="T26" fmla="*/ 364 w 851"/>
                <a:gd name="T27" fmla="*/ 93 h 662"/>
                <a:gd name="T28" fmla="*/ 384 w 851"/>
                <a:gd name="T29" fmla="*/ 129 h 662"/>
                <a:gd name="T30" fmla="*/ 406 w 851"/>
                <a:gd name="T31" fmla="*/ 165 h 662"/>
                <a:gd name="T32" fmla="*/ 438 w 851"/>
                <a:gd name="T33" fmla="*/ 129 h 662"/>
                <a:gd name="T34" fmla="*/ 420 w 851"/>
                <a:gd name="T35" fmla="*/ 121 h 662"/>
                <a:gd name="T36" fmla="*/ 466 w 851"/>
                <a:gd name="T37" fmla="*/ 141 h 662"/>
                <a:gd name="T38" fmla="*/ 512 w 851"/>
                <a:gd name="T39" fmla="*/ 155 h 662"/>
                <a:gd name="T40" fmla="*/ 538 w 851"/>
                <a:gd name="T41" fmla="*/ 149 h 662"/>
                <a:gd name="T42" fmla="*/ 522 w 851"/>
                <a:gd name="T43" fmla="*/ 180 h 662"/>
                <a:gd name="T44" fmla="*/ 557 w 851"/>
                <a:gd name="T45" fmla="*/ 148 h 662"/>
                <a:gd name="T46" fmla="*/ 560 w 851"/>
                <a:gd name="T47" fmla="*/ 117 h 662"/>
                <a:gd name="T48" fmla="*/ 580 w 851"/>
                <a:gd name="T49" fmla="*/ 64 h 662"/>
                <a:gd name="T50" fmla="*/ 598 w 851"/>
                <a:gd name="T51" fmla="*/ 104 h 662"/>
                <a:gd name="T52" fmla="*/ 593 w 851"/>
                <a:gd name="T53" fmla="*/ 130 h 662"/>
                <a:gd name="T54" fmla="*/ 613 w 851"/>
                <a:gd name="T55" fmla="*/ 151 h 662"/>
                <a:gd name="T56" fmla="*/ 646 w 851"/>
                <a:gd name="T57" fmla="*/ 155 h 662"/>
                <a:gd name="T58" fmla="*/ 674 w 851"/>
                <a:gd name="T59" fmla="*/ 140 h 662"/>
                <a:gd name="T60" fmla="*/ 666 w 851"/>
                <a:gd name="T61" fmla="*/ 170 h 662"/>
                <a:gd name="T62" fmla="*/ 636 w 851"/>
                <a:gd name="T63" fmla="*/ 204 h 662"/>
                <a:gd name="T64" fmla="*/ 621 w 851"/>
                <a:gd name="T65" fmla="*/ 205 h 662"/>
                <a:gd name="T66" fmla="*/ 559 w 851"/>
                <a:gd name="T67" fmla="*/ 213 h 662"/>
                <a:gd name="T68" fmla="*/ 556 w 851"/>
                <a:gd name="T69" fmla="*/ 254 h 662"/>
                <a:gd name="T70" fmla="*/ 525 w 851"/>
                <a:gd name="T71" fmla="*/ 262 h 662"/>
                <a:gd name="T72" fmla="*/ 516 w 851"/>
                <a:gd name="T73" fmla="*/ 292 h 662"/>
                <a:gd name="T74" fmla="*/ 476 w 851"/>
                <a:gd name="T75" fmla="*/ 334 h 662"/>
                <a:gd name="T76" fmla="*/ 476 w 851"/>
                <a:gd name="T77" fmla="*/ 401 h 662"/>
                <a:gd name="T78" fmla="*/ 576 w 851"/>
                <a:gd name="T79" fmla="*/ 443 h 662"/>
                <a:gd name="T80" fmla="*/ 593 w 851"/>
                <a:gd name="T81" fmla="*/ 507 h 662"/>
                <a:gd name="T82" fmla="*/ 603 w 851"/>
                <a:gd name="T83" fmla="*/ 462 h 662"/>
                <a:gd name="T84" fmla="*/ 633 w 851"/>
                <a:gd name="T85" fmla="*/ 384 h 662"/>
                <a:gd name="T86" fmla="*/ 662 w 851"/>
                <a:gd name="T87" fmla="*/ 322 h 662"/>
                <a:gd name="T88" fmla="*/ 712 w 851"/>
                <a:gd name="T89" fmla="*/ 325 h 662"/>
                <a:gd name="T90" fmla="*/ 730 w 851"/>
                <a:gd name="T91" fmla="*/ 364 h 662"/>
                <a:gd name="T92" fmla="*/ 753 w 851"/>
                <a:gd name="T93" fmla="*/ 395 h 662"/>
                <a:gd name="T94" fmla="*/ 786 w 851"/>
                <a:gd name="T95" fmla="*/ 361 h 662"/>
                <a:gd name="T96" fmla="*/ 787 w 851"/>
                <a:gd name="T97" fmla="*/ 397 h 662"/>
                <a:gd name="T98" fmla="*/ 805 w 851"/>
                <a:gd name="T99" fmla="*/ 426 h 662"/>
                <a:gd name="T100" fmla="*/ 810 w 851"/>
                <a:gd name="T101" fmla="*/ 452 h 662"/>
                <a:gd name="T102" fmla="*/ 828 w 851"/>
                <a:gd name="T103" fmla="*/ 467 h 662"/>
                <a:gd name="T104" fmla="*/ 803 w 851"/>
                <a:gd name="T105" fmla="*/ 496 h 662"/>
                <a:gd name="T106" fmla="*/ 850 w 851"/>
                <a:gd name="T107" fmla="*/ 496 h 662"/>
                <a:gd name="T108" fmla="*/ 818 w 851"/>
                <a:gd name="T109" fmla="*/ 524 h 662"/>
                <a:gd name="T110" fmla="*/ 754 w 851"/>
                <a:gd name="T111" fmla="*/ 539 h 662"/>
                <a:gd name="T112" fmla="*/ 674 w 851"/>
                <a:gd name="T113" fmla="*/ 580 h 662"/>
                <a:gd name="T114" fmla="*/ 733 w 851"/>
                <a:gd name="T115" fmla="*/ 577 h 662"/>
                <a:gd name="T116" fmla="*/ 750 w 851"/>
                <a:gd name="T117" fmla="*/ 611 h 662"/>
                <a:gd name="T118" fmla="*/ 720 w 851"/>
                <a:gd name="T119" fmla="*/ 641 h 662"/>
                <a:gd name="T120" fmla="*/ 731 w 851"/>
                <a:gd name="T121" fmla="*/ 613 h 662"/>
                <a:gd name="T122" fmla="*/ 684 w 851"/>
                <a:gd name="T123" fmla="*/ 587 h 662"/>
                <a:gd name="T124" fmla="*/ 512 w 851"/>
                <a:gd name="T125" fmla="*/ 584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1" h="662">
                  <a:moveTo>
                    <a:pt x="730" y="378"/>
                  </a:moveTo>
                  <a:lnTo>
                    <a:pt x="730" y="379"/>
                  </a:lnTo>
                  <a:lnTo>
                    <a:pt x="730" y="378"/>
                  </a:lnTo>
                  <a:lnTo>
                    <a:pt x="730" y="378"/>
                  </a:lnTo>
                  <a:lnTo>
                    <a:pt x="730" y="378"/>
                  </a:lnTo>
                  <a:close/>
                  <a:moveTo>
                    <a:pt x="731" y="378"/>
                  </a:moveTo>
                  <a:lnTo>
                    <a:pt x="730" y="379"/>
                  </a:lnTo>
                  <a:lnTo>
                    <a:pt x="731" y="379"/>
                  </a:lnTo>
                  <a:lnTo>
                    <a:pt x="731" y="378"/>
                  </a:lnTo>
                  <a:lnTo>
                    <a:pt x="731" y="378"/>
                  </a:lnTo>
                  <a:close/>
                  <a:moveTo>
                    <a:pt x="104" y="508"/>
                  </a:moveTo>
                  <a:lnTo>
                    <a:pt x="104" y="508"/>
                  </a:lnTo>
                  <a:lnTo>
                    <a:pt x="103" y="508"/>
                  </a:lnTo>
                  <a:lnTo>
                    <a:pt x="102" y="504"/>
                  </a:lnTo>
                  <a:lnTo>
                    <a:pt x="104" y="500"/>
                  </a:lnTo>
                  <a:lnTo>
                    <a:pt x="104" y="497"/>
                  </a:lnTo>
                  <a:lnTo>
                    <a:pt x="103" y="499"/>
                  </a:lnTo>
                  <a:lnTo>
                    <a:pt x="100" y="499"/>
                  </a:lnTo>
                  <a:lnTo>
                    <a:pt x="98" y="500"/>
                  </a:lnTo>
                  <a:lnTo>
                    <a:pt x="95" y="497"/>
                  </a:lnTo>
                  <a:lnTo>
                    <a:pt x="96" y="494"/>
                  </a:lnTo>
                  <a:lnTo>
                    <a:pt x="96" y="496"/>
                  </a:lnTo>
                  <a:lnTo>
                    <a:pt x="98" y="497"/>
                  </a:lnTo>
                  <a:lnTo>
                    <a:pt x="99" y="497"/>
                  </a:lnTo>
                  <a:lnTo>
                    <a:pt x="99" y="496"/>
                  </a:lnTo>
                  <a:lnTo>
                    <a:pt x="98" y="494"/>
                  </a:lnTo>
                  <a:lnTo>
                    <a:pt x="98" y="492"/>
                  </a:lnTo>
                  <a:lnTo>
                    <a:pt x="96" y="492"/>
                  </a:lnTo>
                  <a:lnTo>
                    <a:pt x="93" y="493"/>
                  </a:lnTo>
                  <a:lnTo>
                    <a:pt x="92" y="492"/>
                  </a:lnTo>
                  <a:lnTo>
                    <a:pt x="89" y="489"/>
                  </a:lnTo>
                  <a:lnTo>
                    <a:pt x="89" y="488"/>
                  </a:lnTo>
                  <a:lnTo>
                    <a:pt x="93" y="486"/>
                  </a:lnTo>
                  <a:lnTo>
                    <a:pt x="95" y="484"/>
                  </a:lnTo>
                  <a:lnTo>
                    <a:pt x="96" y="482"/>
                  </a:lnTo>
                  <a:lnTo>
                    <a:pt x="95" y="481"/>
                  </a:lnTo>
                  <a:lnTo>
                    <a:pt x="93" y="482"/>
                  </a:lnTo>
                  <a:lnTo>
                    <a:pt x="91" y="482"/>
                  </a:lnTo>
                  <a:lnTo>
                    <a:pt x="89" y="481"/>
                  </a:lnTo>
                  <a:lnTo>
                    <a:pt x="91" y="480"/>
                  </a:lnTo>
                  <a:lnTo>
                    <a:pt x="93" y="475"/>
                  </a:lnTo>
                  <a:lnTo>
                    <a:pt x="93" y="473"/>
                  </a:lnTo>
                  <a:lnTo>
                    <a:pt x="95" y="471"/>
                  </a:lnTo>
                  <a:lnTo>
                    <a:pt x="95" y="470"/>
                  </a:lnTo>
                  <a:lnTo>
                    <a:pt x="93" y="470"/>
                  </a:lnTo>
                  <a:lnTo>
                    <a:pt x="92" y="473"/>
                  </a:lnTo>
                  <a:lnTo>
                    <a:pt x="92" y="477"/>
                  </a:lnTo>
                  <a:lnTo>
                    <a:pt x="89" y="480"/>
                  </a:lnTo>
                  <a:lnTo>
                    <a:pt x="88" y="480"/>
                  </a:lnTo>
                  <a:lnTo>
                    <a:pt x="87" y="480"/>
                  </a:lnTo>
                  <a:lnTo>
                    <a:pt x="85" y="478"/>
                  </a:lnTo>
                  <a:lnTo>
                    <a:pt x="85" y="478"/>
                  </a:lnTo>
                  <a:lnTo>
                    <a:pt x="85" y="477"/>
                  </a:lnTo>
                  <a:lnTo>
                    <a:pt x="85" y="475"/>
                  </a:lnTo>
                  <a:lnTo>
                    <a:pt x="84" y="477"/>
                  </a:lnTo>
                  <a:lnTo>
                    <a:pt x="83" y="478"/>
                  </a:lnTo>
                  <a:lnTo>
                    <a:pt x="83" y="478"/>
                  </a:lnTo>
                  <a:lnTo>
                    <a:pt x="81" y="477"/>
                  </a:lnTo>
                  <a:lnTo>
                    <a:pt x="80" y="477"/>
                  </a:lnTo>
                  <a:lnTo>
                    <a:pt x="79" y="478"/>
                  </a:lnTo>
                  <a:lnTo>
                    <a:pt x="77" y="477"/>
                  </a:lnTo>
                  <a:lnTo>
                    <a:pt x="77" y="477"/>
                  </a:lnTo>
                  <a:lnTo>
                    <a:pt x="79" y="474"/>
                  </a:lnTo>
                  <a:lnTo>
                    <a:pt x="81" y="474"/>
                  </a:lnTo>
                  <a:lnTo>
                    <a:pt x="84" y="474"/>
                  </a:lnTo>
                  <a:lnTo>
                    <a:pt x="87" y="471"/>
                  </a:lnTo>
                  <a:lnTo>
                    <a:pt x="88" y="470"/>
                  </a:lnTo>
                  <a:lnTo>
                    <a:pt x="88" y="467"/>
                  </a:lnTo>
                  <a:lnTo>
                    <a:pt x="88" y="469"/>
                  </a:lnTo>
                  <a:lnTo>
                    <a:pt x="85" y="470"/>
                  </a:lnTo>
                  <a:lnTo>
                    <a:pt x="84" y="473"/>
                  </a:lnTo>
                  <a:lnTo>
                    <a:pt x="83" y="474"/>
                  </a:lnTo>
                  <a:lnTo>
                    <a:pt x="80" y="473"/>
                  </a:lnTo>
                  <a:lnTo>
                    <a:pt x="79" y="471"/>
                  </a:lnTo>
                  <a:lnTo>
                    <a:pt x="77" y="471"/>
                  </a:lnTo>
                  <a:lnTo>
                    <a:pt x="77" y="470"/>
                  </a:lnTo>
                  <a:lnTo>
                    <a:pt x="79" y="469"/>
                  </a:lnTo>
                  <a:lnTo>
                    <a:pt x="77" y="469"/>
                  </a:lnTo>
                  <a:lnTo>
                    <a:pt x="74" y="469"/>
                  </a:lnTo>
                  <a:lnTo>
                    <a:pt x="73" y="469"/>
                  </a:lnTo>
                  <a:lnTo>
                    <a:pt x="72" y="469"/>
                  </a:lnTo>
                  <a:lnTo>
                    <a:pt x="70" y="470"/>
                  </a:lnTo>
                  <a:lnTo>
                    <a:pt x="68" y="469"/>
                  </a:lnTo>
                  <a:lnTo>
                    <a:pt x="68" y="466"/>
                  </a:lnTo>
                  <a:lnTo>
                    <a:pt x="68" y="465"/>
                  </a:lnTo>
                  <a:lnTo>
                    <a:pt x="69" y="466"/>
                  </a:lnTo>
                  <a:lnTo>
                    <a:pt x="72" y="467"/>
                  </a:lnTo>
                  <a:lnTo>
                    <a:pt x="74" y="466"/>
                  </a:lnTo>
                  <a:lnTo>
                    <a:pt x="74" y="465"/>
                  </a:lnTo>
                  <a:lnTo>
                    <a:pt x="73" y="465"/>
                  </a:lnTo>
                  <a:lnTo>
                    <a:pt x="70" y="465"/>
                  </a:lnTo>
                  <a:lnTo>
                    <a:pt x="70" y="465"/>
                  </a:lnTo>
                  <a:lnTo>
                    <a:pt x="70" y="465"/>
                  </a:lnTo>
                  <a:lnTo>
                    <a:pt x="72" y="465"/>
                  </a:lnTo>
                  <a:lnTo>
                    <a:pt x="74" y="465"/>
                  </a:lnTo>
                  <a:lnTo>
                    <a:pt x="74" y="463"/>
                  </a:lnTo>
                  <a:lnTo>
                    <a:pt x="72" y="463"/>
                  </a:lnTo>
                  <a:lnTo>
                    <a:pt x="70" y="462"/>
                  </a:lnTo>
                  <a:lnTo>
                    <a:pt x="68" y="463"/>
                  </a:lnTo>
                  <a:lnTo>
                    <a:pt x="66" y="463"/>
                  </a:lnTo>
                  <a:lnTo>
                    <a:pt x="65" y="462"/>
                  </a:lnTo>
                  <a:lnTo>
                    <a:pt x="65" y="459"/>
                  </a:lnTo>
                  <a:lnTo>
                    <a:pt x="68" y="459"/>
                  </a:lnTo>
                  <a:lnTo>
                    <a:pt x="69" y="460"/>
                  </a:lnTo>
                  <a:lnTo>
                    <a:pt x="72" y="460"/>
                  </a:lnTo>
                  <a:lnTo>
                    <a:pt x="73" y="459"/>
                  </a:lnTo>
                  <a:lnTo>
                    <a:pt x="70" y="459"/>
                  </a:lnTo>
                  <a:lnTo>
                    <a:pt x="69" y="458"/>
                  </a:lnTo>
                  <a:lnTo>
                    <a:pt x="66" y="458"/>
                  </a:lnTo>
                  <a:lnTo>
                    <a:pt x="66" y="458"/>
                  </a:lnTo>
                  <a:lnTo>
                    <a:pt x="69" y="456"/>
                  </a:lnTo>
                  <a:lnTo>
                    <a:pt x="70" y="456"/>
                  </a:lnTo>
                  <a:lnTo>
                    <a:pt x="72" y="456"/>
                  </a:lnTo>
                  <a:lnTo>
                    <a:pt x="72" y="455"/>
                  </a:lnTo>
                  <a:lnTo>
                    <a:pt x="72" y="454"/>
                  </a:lnTo>
                  <a:lnTo>
                    <a:pt x="73" y="454"/>
                  </a:lnTo>
                  <a:lnTo>
                    <a:pt x="76" y="454"/>
                  </a:lnTo>
                  <a:lnTo>
                    <a:pt x="79" y="454"/>
                  </a:lnTo>
                  <a:lnTo>
                    <a:pt x="79" y="452"/>
                  </a:lnTo>
                  <a:lnTo>
                    <a:pt x="76" y="452"/>
                  </a:lnTo>
                  <a:lnTo>
                    <a:pt x="74" y="451"/>
                  </a:lnTo>
                  <a:lnTo>
                    <a:pt x="73" y="451"/>
                  </a:lnTo>
                  <a:lnTo>
                    <a:pt x="72" y="452"/>
                  </a:lnTo>
                  <a:lnTo>
                    <a:pt x="70" y="454"/>
                  </a:lnTo>
                  <a:lnTo>
                    <a:pt x="68" y="455"/>
                  </a:lnTo>
                  <a:lnTo>
                    <a:pt x="68" y="454"/>
                  </a:lnTo>
                  <a:lnTo>
                    <a:pt x="68" y="452"/>
                  </a:lnTo>
                  <a:lnTo>
                    <a:pt x="68" y="451"/>
                  </a:lnTo>
                  <a:lnTo>
                    <a:pt x="68" y="448"/>
                  </a:lnTo>
                  <a:lnTo>
                    <a:pt x="72" y="447"/>
                  </a:lnTo>
                  <a:lnTo>
                    <a:pt x="72" y="446"/>
                  </a:lnTo>
                  <a:lnTo>
                    <a:pt x="77" y="441"/>
                  </a:lnTo>
                  <a:lnTo>
                    <a:pt x="80" y="441"/>
                  </a:lnTo>
                  <a:lnTo>
                    <a:pt x="80" y="443"/>
                  </a:lnTo>
                  <a:lnTo>
                    <a:pt x="80" y="446"/>
                  </a:lnTo>
                  <a:lnTo>
                    <a:pt x="81" y="447"/>
                  </a:lnTo>
                  <a:lnTo>
                    <a:pt x="83" y="447"/>
                  </a:lnTo>
                  <a:lnTo>
                    <a:pt x="81" y="444"/>
                  </a:lnTo>
                  <a:lnTo>
                    <a:pt x="81" y="440"/>
                  </a:lnTo>
                  <a:lnTo>
                    <a:pt x="84" y="440"/>
                  </a:lnTo>
                  <a:lnTo>
                    <a:pt x="87" y="440"/>
                  </a:lnTo>
                  <a:lnTo>
                    <a:pt x="84" y="439"/>
                  </a:lnTo>
                  <a:lnTo>
                    <a:pt x="81" y="439"/>
                  </a:lnTo>
                  <a:lnTo>
                    <a:pt x="80" y="440"/>
                  </a:lnTo>
                  <a:lnTo>
                    <a:pt x="79" y="439"/>
                  </a:lnTo>
                  <a:lnTo>
                    <a:pt x="80" y="436"/>
                  </a:lnTo>
                  <a:lnTo>
                    <a:pt x="83" y="436"/>
                  </a:lnTo>
                  <a:lnTo>
                    <a:pt x="84" y="435"/>
                  </a:lnTo>
                  <a:lnTo>
                    <a:pt x="87" y="431"/>
                  </a:lnTo>
                  <a:lnTo>
                    <a:pt x="85" y="429"/>
                  </a:lnTo>
                  <a:lnTo>
                    <a:pt x="85" y="429"/>
                  </a:lnTo>
                  <a:lnTo>
                    <a:pt x="84" y="432"/>
                  </a:lnTo>
                  <a:lnTo>
                    <a:pt x="83" y="433"/>
                  </a:lnTo>
                  <a:lnTo>
                    <a:pt x="80" y="433"/>
                  </a:lnTo>
                  <a:lnTo>
                    <a:pt x="77" y="437"/>
                  </a:lnTo>
                  <a:lnTo>
                    <a:pt x="74" y="439"/>
                  </a:lnTo>
                  <a:lnTo>
                    <a:pt x="72" y="440"/>
                  </a:lnTo>
                  <a:lnTo>
                    <a:pt x="69" y="439"/>
                  </a:lnTo>
                  <a:lnTo>
                    <a:pt x="70" y="437"/>
                  </a:lnTo>
                  <a:lnTo>
                    <a:pt x="72" y="437"/>
                  </a:lnTo>
                  <a:lnTo>
                    <a:pt x="70" y="436"/>
                  </a:lnTo>
                  <a:lnTo>
                    <a:pt x="66" y="437"/>
                  </a:lnTo>
                  <a:lnTo>
                    <a:pt x="65" y="436"/>
                  </a:lnTo>
                  <a:lnTo>
                    <a:pt x="66" y="435"/>
                  </a:lnTo>
                  <a:lnTo>
                    <a:pt x="69" y="433"/>
                  </a:lnTo>
                  <a:lnTo>
                    <a:pt x="70" y="432"/>
                  </a:lnTo>
                  <a:lnTo>
                    <a:pt x="73" y="433"/>
                  </a:lnTo>
                  <a:lnTo>
                    <a:pt x="73" y="432"/>
                  </a:lnTo>
                  <a:lnTo>
                    <a:pt x="73" y="431"/>
                  </a:lnTo>
                  <a:lnTo>
                    <a:pt x="72" y="429"/>
                  </a:lnTo>
                  <a:lnTo>
                    <a:pt x="73" y="429"/>
                  </a:lnTo>
                  <a:lnTo>
                    <a:pt x="74" y="428"/>
                  </a:lnTo>
                  <a:lnTo>
                    <a:pt x="73" y="426"/>
                  </a:lnTo>
                  <a:lnTo>
                    <a:pt x="72" y="428"/>
                  </a:lnTo>
                  <a:lnTo>
                    <a:pt x="70" y="428"/>
                  </a:lnTo>
                  <a:lnTo>
                    <a:pt x="69" y="426"/>
                  </a:lnTo>
                  <a:lnTo>
                    <a:pt x="69" y="421"/>
                  </a:lnTo>
                  <a:lnTo>
                    <a:pt x="68" y="420"/>
                  </a:lnTo>
                  <a:lnTo>
                    <a:pt x="68" y="418"/>
                  </a:lnTo>
                  <a:lnTo>
                    <a:pt x="69" y="416"/>
                  </a:lnTo>
                  <a:lnTo>
                    <a:pt x="72" y="416"/>
                  </a:lnTo>
                  <a:lnTo>
                    <a:pt x="73" y="417"/>
                  </a:lnTo>
                  <a:lnTo>
                    <a:pt x="76" y="417"/>
                  </a:lnTo>
                  <a:lnTo>
                    <a:pt x="79" y="418"/>
                  </a:lnTo>
                  <a:lnTo>
                    <a:pt x="79" y="417"/>
                  </a:lnTo>
                  <a:lnTo>
                    <a:pt x="76" y="417"/>
                  </a:lnTo>
                  <a:lnTo>
                    <a:pt x="74" y="417"/>
                  </a:lnTo>
                  <a:lnTo>
                    <a:pt x="73" y="414"/>
                  </a:lnTo>
                  <a:lnTo>
                    <a:pt x="70" y="413"/>
                  </a:lnTo>
                  <a:lnTo>
                    <a:pt x="70" y="412"/>
                  </a:lnTo>
                  <a:lnTo>
                    <a:pt x="72" y="410"/>
                  </a:lnTo>
                  <a:lnTo>
                    <a:pt x="73" y="409"/>
                  </a:lnTo>
                  <a:lnTo>
                    <a:pt x="74" y="407"/>
                  </a:lnTo>
                  <a:lnTo>
                    <a:pt x="74" y="405"/>
                  </a:lnTo>
                  <a:lnTo>
                    <a:pt x="73" y="405"/>
                  </a:lnTo>
                  <a:lnTo>
                    <a:pt x="70" y="407"/>
                  </a:lnTo>
                  <a:lnTo>
                    <a:pt x="69" y="409"/>
                  </a:lnTo>
                  <a:lnTo>
                    <a:pt x="65" y="410"/>
                  </a:lnTo>
                  <a:lnTo>
                    <a:pt x="64" y="412"/>
                  </a:lnTo>
                  <a:lnTo>
                    <a:pt x="64" y="414"/>
                  </a:lnTo>
                  <a:lnTo>
                    <a:pt x="62" y="413"/>
                  </a:lnTo>
                  <a:lnTo>
                    <a:pt x="61" y="410"/>
                  </a:lnTo>
                  <a:lnTo>
                    <a:pt x="59" y="406"/>
                  </a:lnTo>
                  <a:lnTo>
                    <a:pt x="59" y="401"/>
                  </a:lnTo>
                  <a:lnTo>
                    <a:pt x="61" y="397"/>
                  </a:lnTo>
                  <a:lnTo>
                    <a:pt x="61" y="395"/>
                  </a:lnTo>
                  <a:lnTo>
                    <a:pt x="58" y="395"/>
                  </a:lnTo>
                  <a:lnTo>
                    <a:pt x="58" y="391"/>
                  </a:lnTo>
                  <a:lnTo>
                    <a:pt x="59" y="391"/>
                  </a:lnTo>
                  <a:lnTo>
                    <a:pt x="61" y="391"/>
                  </a:lnTo>
                  <a:lnTo>
                    <a:pt x="62" y="393"/>
                  </a:lnTo>
                  <a:lnTo>
                    <a:pt x="62" y="390"/>
                  </a:lnTo>
                  <a:lnTo>
                    <a:pt x="64" y="388"/>
                  </a:lnTo>
                  <a:lnTo>
                    <a:pt x="65" y="384"/>
                  </a:lnTo>
                  <a:lnTo>
                    <a:pt x="66" y="384"/>
                  </a:lnTo>
                  <a:lnTo>
                    <a:pt x="69" y="384"/>
                  </a:lnTo>
                  <a:lnTo>
                    <a:pt x="70" y="383"/>
                  </a:lnTo>
                  <a:lnTo>
                    <a:pt x="69" y="383"/>
                  </a:lnTo>
                  <a:lnTo>
                    <a:pt x="69" y="383"/>
                  </a:lnTo>
                  <a:lnTo>
                    <a:pt x="72" y="379"/>
                  </a:lnTo>
                  <a:lnTo>
                    <a:pt x="73" y="378"/>
                  </a:lnTo>
                  <a:lnTo>
                    <a:pt x="77" y="375"/>
                  </a:lnTo>
                  <a:lnTo>
                    <a:pt x="77" y="373"/>
                  </a:lnTo>
                  <a:lnTo>
                    <a:pt x="76" y="373"/>
                  </a:lnTo>
                  <a:lnTo>
                    <a:pt x="74" y="372"/>
                  </a:lnTo>
                  <a:lnTo>
                    <a:pt x="72" y="375"/>
                  </a:lnTo>
                  <a:lnTo>
                    <a:pt x="72" y="378"/>
                  </a:lnTo>
                  <a:lnTo>
                    <a:pt x="68" y="382"/>
                  </a:lnTo>
                  <a:lnTo>
                    <a:pt x="68" y="382"/>
                  </a:lnTo>
                  <a:lnTo>
                    <a:pt x="68" y="380"/>
                  </a:lnTo>
                  <a:lnTo>
                    <a:pt x="70" y="378"/>
                  </a:lnTo>
                  <a:lnTo>
                    <a:pt x="70" y="373"/>
                  </a:lnTo>
                  <a:lnTo>
                    <a:pt x="73" y="368"/>
                  </a:lnTo>
                  <a:lnTo>
                    <a:pt x="74" y="365"/>
                  </a:lnTo>
                  <a:lnTo>
                    <a:pt x="73" y="364"/>
                  </a:lnTo>
                  <a:lnTo>
                    <a:pt x="74" y="364"/>
                  </a:lnTo>
                  <a:lnTo>
                    <a:pt x="74" y="363"/>
                  </a:lnTo>
                  <a:lnTo>
                    <a:pt x="74" y="361"/>
                  </a:lnTo>
                  <a:lnTo>
                    <a:pt x="74" y="360"/>
                  </a:lnTo>
                  <a:lnTo>
                    <a:pt x="74" y="360"/>
                  </a:lnTo>
                  <a:lnTo>
                    <a:pt x="74" y="359"/>
                  </a:lnTo>
                  <a:lnTo>
                    <a:pt x="73" y="357"/>
                  </a:lnTo>
                  <a:lnTo>
                    <a:pt x="73" y="356"/>
                  </a:lnTo>
                  <a:lnTo>
                    <a:pt x="72" y="353"/>
                  </a:lnTo>
                  <a:lnTo>
                    <a:pt x="69" y="352"/>
                  </a:lnTo>
                  <a:lnTo>
                    <a:pt x="68" y="350"/>
                  </a:lnTo>
                  <a:lnTo>
                    <a:pt x="68" y="349"/>
                  </a:lnTo>
                  <a:lnTo>
                    <a:pt x="65" y="346"/>
                  </a:lnTo>
                  <a:lnTo>
                    <a:pt x="64" y="345"/>
                  </a:lnTo>
                  <a:lnTo>
                    <a:pt x="62" y="345"/>
                  </a:lnTo>
                  <a:lnTo>
                    <a:pt x="62" y="344"/>
                  </a:lnTo>
                  <a:lnTo>
                    <a:pt x="62" y="344"/>
                  </a:lnTo>
                  <a:lnTo>
                    <a:pt x="62" y="341"/>
                  </a:lnTo>
                  <a:lnTo>
                    <a:pt x="61" y="341"/>
                  </a:lnTo>
                  <a:lnTo>
                    <a:pt x="61" y="339"/>
                  </a:lnTo>
                  <a:lnTo>
                    <a:pt x="62" y="338"/>
                  </a:lnTo>
                  <a:lnTo>
                    <a:pt x="62" y="338"/>
                  </a:lnTo>
                  <a:lnTo>
                    <a:pt x="62" y="337"/>
                  </a:lnTo>
                  <a:lnTo>
                    <a:pt x="61" y="335"/>
                  </a:lnTo>
                  <a:lnTo>
                    <a:pt x="59" y="335"/>
                  </a:lnTo>
                  <a:lnTo>
                    <a:pt x="59" y="334"/>
                  </a:lnTo>
                  <a:lnTo>
                    <a:pt x="62" y="333"/>
                  </a:lnTo>
                  <a:lnTo>
                    <a:pt x="61" y="325"/>
                  </a:lnTo>
                  <a:lnTo>
                    <a:pt x="61" y="316"/>
                  </a:lnTo>
                  <a:lnTo>
                    <a:pt x="62" y="310"/>
                  </a:lnTo>
                  <a:lnTo>
                    <a:pt x="61" y="307"/>
                  </a:lnTo>
                  <a:lnTo>
                    <a:pt x="61" y="306"/>
                  </a:lnTo>
                  <a:lnTo>
                    <a:pt x="62" y="303"/>
                  </a:lnTo>
                  <a:lnTo>
                    <a:pt x="62" y="301"/>
                  </a:lnTo>
                  <a:lnTo>
                    <a:pt x="61" y="299"/>
                  </a:lnTo>
                  <a:lnTo>
                    <a:pt x="61" y="295"/>
                  </a:lnTo>
                  <a:lnTo>
                    <a:pt x="58" y="292"/>
                  </a:lnTo>
                  <a:lnTo>
                    <a:pt x="57" y="288"/>
                  </a:lnTo>
                  <a:lnTo>
                    <a:pt x="58" y="285"/>
                  </a:lnTo>
                  <a:lnTo>
                    <a:pt x="55" y="278"/>
                  </a:lnTo>
                  <a:lnTo>
                    <a:pt x="55" y="277"/>
                  </a:lnTo>
                  <a:lnTo>
                    <a:pt x="57" y="274"/>
                  </a:lnTo>
                  <a:lnTo>
                    <a:pt x="57" y="273"/>
                  </a:lnTo>
                  <a:lnTo>
                    <a:pt x="57" y="270"/>
                  </a:lnTo>
                  <a:lnTo>
                    <a:pt x="54" y="269"/>
                  </a:lnTo>
                  <a:lnTo>
                    <a:pt x="51" y="269"/>
                  </a:lnTo>
                  <a:lnTo>
                    <a:pt x="47" y="270"/>
                  </a:lnTo>
                  <a:lnTo>
                    <a:pt x="46" y="270"/>
                  </a:lnTo>
                  <a:lnTo>
                    <a:pt x="42" y="272"/>
                  </a:lnTo>
                  <a:lnTo>
                    <a:pt x="39" y="274"/>
                  </a:lnTo>
                  <a:lnTo>
                    <a:pt x="35" y="280"/>
                  </a:lnTo>
                  <a:lnTo>
                    <a:pt x="32" y="281"/>
                  </a:lnTo>
                  <a:lnTo>
                    <a:pt x="30" y="281"/>
                  </a:lnTo>
                  <a:lnTo>
                    <a:pt x="24" y="282"/>
                  </a:lnTo>
                  <a:lnTo>
                    <a:pt x="24" y="282"/>
                  </a:lnTo>
                  <a:lnTo>
                    <a:pt x="24" y="280"/>
                  </a:lnTo>
                  <a:lnTo>
                    <a:pt x="26" y="277"/>
                  </a:lnTo>
                  <a:lnTo>
                    <a:pt x="24" y="274"/>
                  </a:lnTo>
                  <a:lnTo>
                    <a:pt x="21" y="261"/>
                  </a:lnTo>
                  <a:lnTo>
                    <a:pt x="19" y="255"/>
                  </a:lnTo>
                  <a:lnTo>
                    <a:pt x="19" y="251"/>
                  </a:lnTo>
                  <a:lnTo>
                    <a:pt x="20" y="247"/>
                  </a:lnTo>
                  <a:lnTo>
                    <a:pt x="15" y="246"/>
                  </a:lnTo>
                  <a:lnTo>
                    <a:pt x="11" y="248"/>
                  </a:lnTo>
                  <a:lnTo>
                    <a:pt x="8" y="247"/>
                  </a:lnTo>
                  <a:lnTo>
                    <a:pt x="0" y="247"/>
                  </a:lnTo>
                  <a:lnTo>
                    <a:pt x="136" y="0"/>
                  </a:lnTo>
                  <a:lnTo>
                    <a:pt x="137" y="1"/>
                  </a:lnTo>
                  <a:lnTo>
                    <a:pt x="138" y="1"/>
                  </a:lnTo>
                  <a:lnTo>
                    <a:pt x="145" y="5"/>
                  </a:lnTo>
                  <a:lnTo>
                    <a:pt x="147" y="6"/>
                  </a:lnTo>
                  <a:lnTo>
                    <a:pt x="149" y="8"/>
                  </a:lnTo>
                  <a:lnTo>
                    <a:pt x="149" y="9"/>
                  </a:lnTo>
                  <a:lnTo>
                    <a:pt x="151" y="9"/>
                  </a:lnTo>
                  <a:lnTo>
                    <a:pt x="153" y="11"/>
                  </a:lnTo>
                  <a:lnTo>
                    <a:pt x="153" y="13"/>
                  </a:lnTo>
                  <a:lnTo>
                    <a:pt x="155" y="16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55" y="20"/>
                  </a:lnTo>
                  <a:lnTo>
                    <a:pt x="155" y="23"/>
                  </a:lnTo>
                  <a:lnTo>
                    <a:pt x="156" y="24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7" y="27"/>
                  </a:lnTo>
                  <a:lnTo>
                    <a:pt x="159" y="30"/>
                  </a:lnTo>
                  <a:lnTo>
                    <a:pt x="163" y="34"/>
                  </a:lnTo>
                  <a:lnTo>
                    <a:pt x="164" y="35"/>
                  </a:lnTo>
                  <a:lnTo>
                    <a:pt x="166" y="35"/>
                  </a:lnTo>
                  <a:lnTo>
                    <a:pt x="167" y="36"/>
                  </a:lnTo>
                  <a:lnTo>
                    <a:pt x="167" y="38"/>
                  </a:lnTo>
                  <a:lnTo>
                    <a:pt x="168" y="39"/>
                  </a:lnTo>
                  <a:lnTo>
                    <a:pt x="170" y="38"/>
                  </a:lnTo>
                  <a:lnTo>
                    <a:pt x="171" y="42"/>
                  </a:lnTo>
                  <a:lnTo>
                    <a:pt x="172" y="45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6" y="47"/>
                  </a:lnTo>
                  <a:lnTo>
                    <a:pt x="179" y="51"/>
                  </a:lnTo>
                  <a:lnTo>
                    <a:pt x="179" y="53"/>
                  </a:lnTo>
                  <a:lnTo>
                    <a:pt x="179" y="53"/>
                  </a:lnTo>
                  <a:lnTo>
                    <a:pt x="179" y="55"/>
                  </a:lnTo>
                  <a:lnTo>
                    <a:pt x="176" y="58"/>
                  </a:lnTo>
                  <a:lnTo>
                    <a:pt x="175" y="59"/>
                  </a:lnTo>
                  <a:lnTo>
                    <a:pt x="181" y="55"/>
                  </a:lnTo>
                  <a:lnTo>
                    <a:pt x="182" y="54"/>
                  </a:lnTo>
                  <a:lnTo>
                    <a:pt x="183" y="55"/>
                  </a:lnTo>
                  <a:lnTo>
                    <a:pt x="185" y="51"/>
                  </a:lnTo>
                  <a:lnTo>
                    <a:pt x="183" y="46"/>
                  </a:lnTo>
                  <a:lnTo>
                    <a:pt x="183" y="42"/>
                  </a:lnTo>
                  <a:lnTo>
                    <a:pt x="185" y="39"/>
                  </a:lnTo>
                  <a:lnTo>
                    <a:pt x="189" y="38"/>
                  </a:lnTo>
                  <a:lnTo>
                    <a:pt x="191" y="36"/>
                  </a:lnTo>
                  <a:lnTo>
                    <a:pt x="194" y="35"/>
                  </a:lnTo>
                  <a:lnTo>
                    <a:pt x="195" y="34"/>
                  </a:lnTo>
                  <a:lnTo>
                    <a:pt x="197" y="32"/>
                  </a:lnTo>
                  <a:lnTo>
                    <a:pt x="198" y="32"/>
                  </a:lnTo>
                  <a:lnTo>
                    <a:pt x="201" y="31"/>
                  </a:lnTo>
                  <a:lnTo>
                    <a:pt x="204" y="31"/>
                  </a:lnTo>
                  <a:lnTo>
                    <a:pt x="204" y="32"/>
                  </a:lnTo>
                  <a:lnTo>
                    <a:pt x="206" y="32"/>
                  </a:lnTo>
                  <a:lnTo>
                    <a:pt x="208" y="32"/>
                  </a:lnTo>
                  <a:lnTo>
                    <a:pt x="210" y="30"/>
                  </a:lnTo>
                  <a:lnTo>
                    <a:pt x="212" y="27"/>
                  </a:lnTo>
                  <a:lnTo>
                    <a:pt x="213" y="27"/>
                  </a:lnTo>
                  <a:lnTo>
                    <a:pt x="215" y="27"/>
                  </a:lnTo>
                  <a:lnTo>
                    <a:pt x="216" y="27"/>
                  </a:lnTo>
                  <a:lnTo>
                    <a:pt x="216" y="25"/>
                  </a:lnTo>
                  <a:lnTo>
                    <a:pt x="217" y="25"/>
                  </a:lnTo>
                  <a:lnTo>
                    <a:pt x="219" y="27"/>
                  </a:lnTo>
                  <a:lnTo>
                    <a:pt x="225" y="25"/>
                  </a:lnTo>
                  <a:lnTo>
                    <a:pt x="231" y="24"/>
                  </a:lnTo>
                  <a:lnTo>
                    <a:pt x="232" y="23"/>
                  </a:lnTo>
                  <a:lnTo>
                    <a:pt x="234" y="23"/>
                  </a:lnTo>
                  <a:lnTo>
                    <a:pt x="235" y="24"/>
                  </a:lnTo>
                  <a:lnTo>
                    <a:pt x="236" y="24"/>
                  </a:lnTo>
                  <a:lnTo>
                    <a:pt x="238" y="21"/>
                  </a:lnTo>
                  <a:lnTo>
                    <a:pt x="242" y="20"/>
                  </a:lnTo>
                  <a:lnTo>
                    <a:pt x="243" y="20"/>
                  </a:lnTo>
                  <a:lnTo>
                    <a:pt x="244" y="20"/>
                  </a:lnTo>
                  <a:lnTo>
                    <a:pt x="246" y="20"/>
                  </a:lnTo>
                  <a:lnTo>
                    <a:pt x="246" y="21"/>
                  </a:lnTo>
                  <a:lnTo>
                    <a:pt x="249" y="21"/>
                  </a:lnTo>
                  <a:lnTo>
                    <a:pt x="249" y="20"/>
                  </a:lnTo>
                  <a:lnTo>
                    <a:pt x="249" y="19"/>
                  </a:lnTo>
                  <a:lnTo>
                    <a:pt x="250" y="20"/>
                  </a:lnTo>
                  <a:lnTo>
                    <a:pt x="250" y="21"/>
                  </a:lnTo>
                  <a:lnTo>
                    <a:pt x="251" y="23"/>
                  </a:lnTo>
                  <a:lnTo>
                    <a:pt x="251" y="24"/>
                  </a:lnTo>
                  <a:lnTo>
                    <a:pt x="250" y="24"/>
                  </a:lnTo>
                  <a:lnTo>
                    <a:pt x="249" y="27"/>
                  </a:lnTo>
                  <a:lnTo>
                    <a:pt x="244" y="28"/>
                  </a:lnTo>
                  <a:lnTo>
                    <a:pt x="239" y="30"/>
                  </a:lnTo>
                  <a:lnTo>
                    <a:pt x="238" y="31"/>
                  </a:lnTo>
                  <a:lnTo>
                    <a:pt x="235" y="32"/>
                  </a:lnTo>
                  <a:lnTo>
                    <a:pt x="234" y="32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29" y="31"/>
                  </a:lnTo>
                  <a:lnTo>
                    <a:pt x="225" y="34"/>
                  </a:lnTo>
                  <a:lnTo>
                    <a:pt x="223" y="32"/>
                  </a:lnTo>
                  <a:lnTo>
                    <a:pt x="221" y="34"/>
                  </a:lnTo>
                  <a:lnTo>
                    <a:pt x="217" y="34"/>
                  </a:lnTo>
                  <a:lnTo>
                    <a:pt x="215" y="34"/>
                  </a:lnTo>
                  <a:lnTo>
                    <a:pt x="213" y="36"/>
                  </a:lnTo>
                  <a:lnTo>
                    <a:pt x="208" y="39"/>
                  </a:lnTo>
                  <a:lnTo>
                    <a:pt x="208" y="38"/>
                  </a:lnTo>
                  <a:lnTo>
                    <a:pt x="205" y="40"/>
                  </a:lnTo>
                  <a:lnTo>
                    <a:pt x="204" y="42"/>
                  </a:lnTo>
                  <a:lnTo>
                    <a:pt x="202" y="43"/>
                  </a:lnTo>
                  <a:lnTo>
                    <a:pt x="201" y="42"/>
                  </a:lnTo>
                  <a:lnTo>
                    <a:pt x="200" y="43"/>
                  </a:lnTo>
                  <a:lnTo>
                    <a:pt x="198" y="46"/>
                  </a:lnTo>
                  <a:lnTo>
                    <a:pt x="195" y="46"/>
                  </a:lnTo>
                  <a:lnTo>
                    <a:pt x="194" y="47"/>
                  </a:lnTo>
                  <a:lnTo>
                    <a:pt x="197" y="50"/>
                  </a:lnTo>
                  <a:lnTo>
                    <a:pt x="200" y="51"/>
                  </a:lnTo>
                  <a:lnTo>
                    <a:pt x="197" y="49"/>
                  </a:lnTo>
                  <a:lnTo>
                    <a:pt x="197" y="49"/>
                  </a:lnTo>
                  <a:lnTo>
                    <a:pt x="200" y="49"/>
                  </a:lnTo>
                  <a:lnTo>
                    <a:pt x="201" y="49"/>
                  </a:lnTo>
                  <a:lnTo>
                    <a:pt x="202" y="49"/>
                  </a:lnTo>
                  <a:lnTo>
                    <a:pt x="202" y="47"/>
                  </a:lnTo>
                  <a:lnTo>
                    <a:pt x="205" y="43"/>
                  </a:lnTo>
                  <a:lnTo>
                    <a:pt x="209" y="43"/>
                  </a:lnTo>
                  <a:lnTo>
                    <a:pt x="210" y="43"/>
                  </a:lnTo>
                  <a:lnTo>
                    <a:pt x="217" y="39"/>
                  </a:lnTo>
                  <a:lnTo>
                    <a:pt x="217" y="36"/>
                  </a:lnTo>
                  <a:lnTo>
                    <a:pt x="219" y="36"/>
                  </a:lnTo>
                  <a:lnTo>
                    <a:pt x="220" y="38"/>
                  </a:lnTo>
                  <a:lnTo>
                    <a:pt x="223" y="36"/>
                  </a:lnTo>
                  <a:lnTo>
                    <a:pt x="224" y="36"/>
                  </a:lnTo>
                  <a:lnTo>
                    <a:pt x="224" y="38"/>
                  </a:lnTo>
                  <a:lnTo>
                    <a:pt x="228" y="35"/>
                  </a:lnTo>
                  <a:lnTo>
                    <a:pt x="228" y="36"/>
                  </a:lnTo>
                  <a:lnTo>
                    <a:pt x="225" y="40"/>
                  </a:lnTo>
                  <a:lnTo>
                    <a:pt x="225" y="42"/>
                  </a:lnTo>
                  <a:lnTo>
                    <a:pt x="228" y="38"/>
                  </a:lnTo>
                  <a:lnTo>
                    <a:pt x="232" y="38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6" y="31"/>
                  </a:lnTo>
                  <a:lnTo>
                    <a:pt x="250" y="30"/>
                  </a:lnTo>
                  <a:lnTo>
                    <a:pt x="251" y="30"/>
                  </a:lnTo>
                  <a:lnTo>
                    <a:pt x="254" y="30"/>
                  </a:lnTo>
                  <a:lnTo>
                    <a:pt x="253" y="31"/>
                  </a:lnTo>
                  <a:lnTo>
                    <a:pt x="250" y="32"/>
                  </a:lnTo>
                  <a:lnTo>
                    <a:pt x="250" y="34"/>
                  </a:lnTo>
                  <a:lnTo>
                    <a:pt x="251" y="35"/>
                  </a:lnTo>
                  <a:lnTo>
                    <a:pt x="254" y="32"/>
                  </a:lnTo>
                  <a:lnTo>
                    <a:pt x="259" y="30"/>
                  </a:lnTo>
                  <a:lnTo>
                    <a:pt x="261" y="30"/>
                  </a:lnTo>
                  <a:lnTo>
                    <a:pt x="261" y="28"/>
                  </a:lnTo>
                  <a:lnTo>
                    <a:pt x="263" y="27"/>
                  </a:lnTo>
                  <a:lnTo>
                    <a:pt x="265" y="28"/>
                  </a:lnTo>
                  <a:lnTo>
                    <a:pt x="265" y="25"/>
                  </a:lnTo>
                  <a:lnTo>
                    <a:pt x="266" y="24"/>
                  </a:lnTo>
                  <a:lnTo>
                    <a:pt x="268" y="25"/>
                  </a:lnTo>
                  <a:lnTo>
                    <a:pt x="269" y="27"/>
                  </a:lnTo>
                  <a:lnTo>
                    <a:pt x="270" y="23"/>
                  </a:lnTo>
                  <a:lnTo>
                    <a:pt x="269" y="20"/>
                  </a:lnTo>
                  <a:lnTo>
                    <a:pt x="270" y="19"/>
                  </a:lnTo>
                  <a:lnTo>
                    <a:pt x="269" y="17"/>
                  </a:lnTo>
                  <a:lnTo>
                    <a:pt x="270" y="15"/>
                  </a:lnTo>
                  <a:lnTo>
                    <a:pt x="274" y="13"/>
                  </a:lnTo>
                  <a:lnTo>
                    <a:pt x="274" y="16"/>
                  </a:lnTo>
                  <a:lnTo>
                    <a:pt x="274" y="25"/>
                  </a:lnTo>
                  <a:lnTo>
                    <a:pt x="273" y="28"/>
                  </a:lnTo>
                  <a:lnTo>
                    <a:pt x="273" y="35"/>
                  </a:lnTo>
                  <a:lnTo>
                    <a:pt x="272" y="39"/>
                  </a:lnTo>
                  <a:lnTo>
                    <a:pt x="272" y="50"/>
                  </a:lnTo>
                  <a:lnTo>
                    <a:pt x="273" y="53"/>
                  </a:lnTo>
                  <a:lnTo>
                    <a:pt x="274" y="54"/>
                  </a:lnTo>
                  <a:lnTo>
                    <a:pt x="277" y="57"/>
                  </a:lnTo>
                  <a:lnTo>
                    <a:pt x="280" y="55"/>
                  </a:lnTo>
                  <a:lnTo>
                    <a:pt x="278" y="53"/>
                  </a:lnTo>
                  <a:lnTo>
                    <a:pt x="277" y="53"/>
                  </a:lnTo>
                  <a:lnTo>
                    <a:pt x="276" y="51"/>
                  </a:lnTo>
                  <a:lnTo>
                    <a:pt x="278" y="50"/>
                  </a:lnTo>
                  <a:lnTo>
                    <a:pt x="281" y="51"/>
                  </a:lnTo>
                  <a:lnTo>
                    <a:pt x="281" y="49"/>
                  </a:lnTo>
                  <a:lnTo>
                    <a:pt x="280" y="49"/>
                  </a:lnTo>
                  <a:lnTo>
                    <a:pt x="282" y="46"/>
                  </a:lnTo>
                  <a:lnTo>
                    <a:pt x="285" y="46"/>
                  </a:lnTo>
                  <a:lnTo>
                    <a:pt x="285" y="49"/>
                  </a:lnTo>
                  <a:lnTo>
                    <a:pt x="288" y="46"/>
                  </a:lnTo>
                  <a:lnTo>
                    <a:pt x="285" y="42"/>
                  </a:lnTo>
                  <a:lnTo>
                    <a:pt x="288" y="42"/>
                  </a:lnTo>
                  <a:lnTo>
                    <a:pt x="292" y="39"/>
                  </a:lnTo>
                  <a:lnTo>
                    <a:pt x="292" y="38"/>
                  </a:lnTo>
                  <a:lnTo>
                    <a:pt x="295" y="36"/>
                  </a:lnTo>
                  <a:lnTo>
                    <a:pt x="295" y="39"/>
                  </a:lnTo>
                  <a:lnTo>
                    <a:pt x="295" y="42"/>
                  </a:lnTo>
                  <a:lnTo>
                    <a:pt x="292" y="43"/>
                  </a:lnTo>
                  <a:lnTo>
                    <a:pt x="293" y="45"/>
                  </a:lnTo>
                  <a:lnTo>
                    <a:pt x="291" y="47"/>
                  </a:lnTo>
                  <a:lnTo>
                    <a:pt x="291" y="49"/>
                  </a:lnTo>
                  <a:lnTo>
                    <a:pt x="291" y="49"/>
                  </a:lnTo>
                  <a:lnTo>
                    <a:pt x="293" y="49"/>
                  </a:lnTo>
                  <a:lnTo>
                    <a:pt x="293" y="50"/>
                  </a:lnTo>
                  <a:lnTo>
                    <a:pt x="293" y="51"/>
                  </a:lnTo>
                  <a:lnTo>
                    <a:pt x="291" y="51"/>
                  </a:lnTo>
                  <a:lnTo>
                    <a:pt x="289" y="54"/>
                  </a:lnTo>
                  <a:lnTo>
                    <a:pt x="288" y="54"/>
                  </a:lnTo>
                  <a:lnTo>
                    <a:pt x="287" y="54"/>
                  </a:lnTo>
                  <a:lnTo>
                    <a:pt x="285" y="57"/>
                  </a:lnTo>
                  <a:lnTo>
                    <a:pt x="287" y="58"/>
                  </a:lnTo>
                  <a:lnTo>
                    <a:pt x="291" y="58"/>
                  </a:lnTo>
                  <a:lnTo>
                    <a:pt x="292" y="59"/>
                  </a:lnTo>
                  <a:lnTo>
                    <a:pt x="295" y="59"/>
                  </a:lnTo>
                  <a:lnTo>
                    <a:pt x="296" y="58"/>
                  </a:lnTo>
                  <a:lnTo>
                    <a:pt x="299" y="58"/>
                  </a:lnTo>
                  <a:lnTo>
                    <a:pt x="302" y="53"/>
                  </a:lnTo>
                  <a:lnTo>
                    <a:pt x="303" y="50"/>
                  </a:lnTo>
                  <a:lnTo>
                    <a:pt x="306" y="50"/>
                  </a:lnTo>
                  <a:lnTo>
                    <a:pt x="307" y="51"/>
                  </a:lnTo>
                  <a:lnTo>
                    <a:pt x="310" y="51"/>
                  </a:lnTo>
                  <a:lnTo>
                    <a:pt x="312" y="53"/>
                  </a:lnTo>
                  <a:lnTo>
                    <a:pt x="314" y="53"/>
                  </a:lnTo>
                  <a:lnTo>
                    <a:pt x="316" y="55"/>
                  </a:lnTo>
                  <a:lnTo>
                    <a:pt x="319" y="55"/>
                  </a:lnTo>
                  <a:lnTo>
                    <a:pt x="319" y="58"/>
                  </a:lnTo>
                  <a:lnTo>
                    <a:pt x="321" y="64"/>
                  </a:lnTo>
                  <a:lnTo>
                    <a:pt x="321" y="66"/>
                  </a:lnTo>
                  <a:lnTo>
                    <a:pt x="323" y="70"/>
                  </a:lnTo>
                  <a:lnTo>
                    <a:pt x="333" y="76"/>
                  </a:lnTo>
                  <a:lnTo>
                    <a:pt x="334" y="78"/>
                  </a:lnTo>
                  <a:lnTo>
                    <a:pt x="337" y="80"/>
                  </a:lnTo>
                  <a:lnTo>
                    <a:pt x="341" y="84"/>
                  </a:lnTo>
                  <a:lnTo>
                    <a:pt x="341" y="84"/>
                  </a:lnTo>
                  <a:lnTo>
                    <a:pt x="344" y="85"/>
                  </a:lnTo>
                  <a:lnTo>
                    <a:pt x="345" y="87"/>
                  </a:lnTo>
                  <a:lnTo>
                    <a:pt x="346" y="88"/>
                  </a:lnTo>
                  <a:lnTo>
                    <a:pt x="348" y="87"/>
                  </a:lnTo>
                  <a:lnTo>
                    <a:pt x="348" y="88"/>
                  </a:lnTo>
                  <a:lnTo>
                    <a:pt x="352" y="91"/>
                  </a:lnTo>
                  <a:lnTo>
                    <a:pt x="353" y="91"/>
                  </a:lnTo>
                  <a:lnTo>
                    <a:pt x="353" y="93"/>
                  </a:lnTo>
                  <a:lnTo>
                    <a:pt x="355" y="95"/>
                  </a:lnTo>
                  <a:lnTo>
                    <a:pt x="356" y="93"/>
                  </a:lnTo>
                  <a:lnTo>
                    <a:pt x="355" y="92"/>
                  </a:lnTo>
                  <a:lnTo>
                    <a:pt x="356" y="91"/>
                  </a:lnTo>
                  <a:lnTo>
                    <a:pt x="353" y="88"/>
                  </a:lnTo>
                  <a:lnTo>
                    <a:pt x="353" y="87"/>
                  </a:lnTo>
                  <a:lnTo>
                    <a:pt x="357" y="89"/>
                  </a:lnTo>
                  <a:lnTo>
                    <a:pt x="357" y="91"/>
                  </a:lnTo>
                  <a:lnTo>
                    <a:pt x="359" y="91"/>
                  </a:lnTo>
                  <a:lnTo>
                    <a:pt x="359" y="89"/>
                  </a:lnTo>
                  <a:lnTo>
                    <a:pt x="360" y="88"/>
                  </a:lnTo>
                  <a:lnTo>
                    <a:pt x="363" y="92"/>
                  </a:lnTo>
                  <a:lnTo>
                    <a:pt x="364" y="93"/>
                  </a:lnTo>
                  <a:lnTo>
                    <a:pt x="365" y="93"/>
                  </a:lnTo>
                  <a:lnTo>
                    <a:pt x="367" y="98"/>
                  </a:lnTo>
                  <a:lnTo>
                    <a:pt x="368" y="99"/>
                  </a:lnTo>
                  <a:lnTo>
                    <a:pt x="368" y="102"/>
                  </a:lnTo>
                  <a:lnTo>
                    <a:pt x="370" y="104"/>
                  </a:lnTo>
                  <a:lnTo>
                    <a:pt x="368" y="107"/>
                  </a:lnTo>
                  <a:lnTo>
                    <a:pt x="368" y="110"/>
                  </a:lnTo>
                  <a:lnTo>
                    <a:pt x="365" y="111"/>
                  </a:lnTo>
                  <a:lnTo>
                    <a:pt x="360" y="110"/>
                  </a:lnTo>
                  <a:lnTo>
                    <a:pt x="357" y="110"/>
                  </a:lnTo>
                  <a:lnTo>
                    <a:pt x="357" y="111"/>
                  </a:lnTo>
                  <a:lnTo>
                    <a:pt x="357" y="111"/>
                  </a:lnTo>
                  <a:lnTo>
                    <a:pt x="353" y="110"/>
                  </a:lnTo>
                  <a:lnTo>
                    <a:pt x="352" y="110"/>
                  </a:lnTo>
                  <a:lnTo>
                    <a:pt x="352" y="112"/>
                  </a:lnTo>
                  <a:lnTo>
                    <a:pt x="350" y="114"/>
                  </a:lnTo>
                  <a:lnTo>
                    <a:pt x="350" y="115"/>
                  </a:lnTo>
                  <a:lnTo>
                    <a:pt x="348" y="115"/>
                  </a:lnTo>
                  <a:lnTo>
                    <a:pt x="345" y="117"/>
                  </a:lnTo>
                  <a:lnTo>
                    <a:pt x="346" y="118"/>
                  </a:lnTo>
                  <a:lnTo>
                    <a:pt x="349" y="118"/>
                  </a:lnTo>
                  <a:lnTo>
                    <a:pt x="349" y="121"/>
                  </a:lnTo>
                  <a:lnTo>
                    <a:pt x="352" y="122"/>
                  </a:lnTo>
                  <a:lnTo>
                    <a:pt x="353" y="122"/>
                  </a:lnTo>
                  <a:lnTo>
                    <a:pt x="356" y="123"/>
                  </a:lnTo>
                  <a:lnTo>
                    <a:pt x="356" y="126"/>
                  </a:lnTo>
                  <a:lnTo>
                    <a:pt x="359" y="126"/>
                  </a:lnTo>
                  <a:lnTo>
                    <a:pt x="363" y="127"/>
                  </a:lnTo>
                  <a:lnTo>
                    <a:pt x="367" y="129"/>
                  </a:lnTo>
                  <a:lnTo>
                    <a:pt x="371" y="130"/>
                  </a:lnTo>
                  <a:lnTo>
                    <a:pt x="374" y="130"/>
                  </a:lnTo>
                  <a:lnTo>
                    <a:pt x="374" y="129"/>
                  </a:lnTo>
                  <a:lnTo>
                    <a:pt x="375" y="129"/>
                  </a:lnTo>
                  <a:lnTo>
                    <a:pt x="378" y="130"/>
                  </a:lnTo>
                  <a:lnTo>
                    <a:pt x="378" y="133"/>
                  </a:lnTo>
                  <a:lnTo>
                    <a:pt x="380" y="130"/>
                  </a:lnTo>
                  <a:lnTo>
                    <a:pt x="382" y="132"/>
                  </a:lnTo>
                  <a:lnTo>
                    <a:pt x="383" y="130"/>
                  </a:lnTo>
                  <a:lnTo>
                    <a:pt x="384" y="129"/>
                  </a:lnTo>
                  <a:lnTo>
                    <a:pt x="386" y="129"/>
                  </a:lnTo>
                  <a:lnTo>
                    <a:pt x="386" y="130"/>
                  </a:lnTo>
                  <a:lnTo>
                    <a:pt x="387" y="130"/>
                  </a:lnTo>
                  <a:lnTo>
                    <a:pt x="391" y="129"/>
                  </a:lnTo>
                  <a:lnTo>
                    <a:pt x="397" y="126"/>
                  </a:lnTo>
                  <a:lnTo>
                    <a:pt x="399" y="126"/>
                  </a:lnTo>
                  <a:lnTo>
                    <a:pt x="399" y="127"/>
                  </a:lnTo>
                  <a:lnTo>
                    <a:pt x="398" y="129"/>
                  </a:lnTo>
                  <a:lnTo>
                    <a:pt x="398" y="130"/>
                  </a:lnTo>
                  <a:lnTo>
                    <a:pt x="399" y="130"/>
                  </a:lnTo>
                  <a:lnTo>
                    <a:pt x="399" y="133"/>
                  </a:lnTo>
                  <a:lnTo>
                    <a:pt x="399" y="134"/>
                  </a:lnTo>
                  <a:lnTo>
                    <a:pt x="399" y="136"/>
                  </a:lnTo>
                  <a:lnTo>
                    <a:pt x="401" y="136"/>
                  </a:lnTo>
                  <a:lnTo>
                    <a:pt x="402" y="134"/>
                  </a:lnTo>
                  <a:lnTo>
                    <a:pt x="404" y="136"/>
                  </a:lnTo>
                  <a:lnTo>
                    <a:pt x="404" y="138"/>
                  </a:lnTo>
                  <a:lnTo>
                    <a:pt x="402" y="141"/>
                  </a:lnTo>
                  <a:lnTo>
                    <a:pt x="402" y="144"/>
                  </a:lnTo>
                  <a:lnTo>
                    <a:pt x="404" y="145"/>
                  </a:lnTo>
                  <a:lnTo>
                    <a:pt x="405" y="142"/>
                  </a:lnTo>
                  <a:lnTo>
                    <a:pt x="405" y="140"/>
                  </a:lnTo>
                  <a:lnTo>
                    <a:pt x="406" y="138"/>
                  </a:lnTo>
                  <a:lnTo>
                    <a:pt x="406" y="138"/>
                  </a:lnTo>
                  <a:lnTo>
                    <a:pt x="406" y="142"/>
                  </a:lnTo>
                  <a:lnTo>
                    <a:pt x="405" y="145"/>
                  </a:lnTo>
                  <a:lnTo>
                    <a:pt x="404" y="148"/>
                  </a:lnTo>
                  <a:lnTo>
                    <a:pt x="402" y="152"/>
                  </a:lnTo>
                  <a:lnTo>
                    <a:pt x="405" y="155"/>
                  </a:lnTo>
                  <a:lnTo>
                    <a:pt x="405" y="159"/>
                  </a:lnTo>
                  <a:lnTo>
                    <a:pt x="404" y="161"/>
                  </a:lnTo>
                  <a:lnTo>
                    <a:pt x="406" y="164"/>
                  </a:lnTo>
                  <a:lnTo>
                    <a:pt x="406" y="165"/>
                  </a:lnTo>
                  <a:lnTo>
                    <a:pt x="405" y="167"/>
                  </a:lnTo>
                  <a:lnTo>
                    <a:pt x="406" y="168"/>
                  </a:lnTo>
                  <a:lnTo>
                    <a:pt x="408" y="171"/>
                  </a:lnTo>
                  <a:lnTo>
                    <a:pt x="408" y="179"/>
                  </a:lnTo>
                  <a:lnTo>
                    <a:pt x="408" y="171"/>
                  </a:lnTo>
                  <a:lnTo>
                    <a:pt x="406" y="165"/>
                  </a:lnTo>
                  <a:lnTo>
                    <a:pt x="408" y="160"/>
                  </a:lnTo>
                  <a:lnTo>
                    <a:pt x="410" y="156"/>
                  </a:lnTo>
                  <a:lnTo>
                    <a:pt x="412" y="156"/>
                  </a:lnTo>
                  <a:lnTo>
                    <a:pt x="412" y="157"/>
                  </a:lnTo>
                  <a:lnTo>
                    <a:pt x="410" y="159"/>
                  </a:lnTo>
                  <a:lnTo>
                    <a:pt x="410" y="160"/>
                  </a:lnTo>
                  <a:lnTo>
                    <a:pt x="412" y="161"/>
                  </a:lnTo>
                  <a:lnTo>
                    <a:pt x="413" y="160"/>
                  </a:lnTo>
                  <a:lnTo>
                    <a:pt x="413" y="160"/>
                  </a:lnTo>
                  <a:lnTo>
                    <a:pt x="414" y="160"/>
                  </a:lnTo>
                  <a:lnTo>
                    <a:pt x="414" y="157"/>
                  </a:lnTo>
                  <a:lnTo>
                    <a:pt x="413" y="155"/>
                  </a:lnTo>
                  <a:lnTo>
                    <a:pt x="413" y="153"/>
                  </a:lnTo>
                  <a:lnTo>
                    <a:pt x="416" y="153"/>
                  </a:lnTo>
                  <a:lnTo>
                    <a:pt x="416" y="152"/>
                  </a:lnTo>
                  <a:lnTo>
                    <a:pt x="413" y="151"/>
                  </a:lnTo>
                  <a:lnTo>
                    <a:pt x="414" y="149"/>
                  </a:lnTo>
                  <a:lnTo>
                    <a:pt x="414" y="144"/>
                  </a:lnTo>
                  <a:lnTo>
                    <a:pt x="417" y="138"/>
                  </a:lnTo>
                  <a:lnTo>
                    <a:pt x="416" y="137"/>
                  </a:lnTo>
                  <a:lnTo>
                    <a:pt x="416" y="134"/>
                  </a:lnTo>
                  <a:lnTo>
                    <a:pt x="418" y="133"/>
                  </a:lnTo>
                  <a:lnTo>
                    <a:pt x="421" y="133"/>
                  </a:lnTo>
                  <a:lnTo>
                    <a:pt x="421" y="133"/>
                  </a:lnTo>
                  <a:lnTo>
                    <a:pt x="423" y="132"/>
                  </a:lnTo>
                  <a:lnTo>
                    <a:pt x="424" y="130"/>
                  </a:lnTo>
                  <a:lnTo>
                    <a:pt x="425" y="132"/>
                  </a:lnTo>
                  <a:lnTo>
                    <a:pt x="427" y="132"/>
                  </a:lnTo>
                  <a:lnTo>
                    <a:pt x="428" y="129"/>
                  </a:lnTo>
                  <a:lnTo>
                    <a:pt x="429" y="129"/>
                  </a:lnTo>
                  <a:lnTo>
                    <a:pt x="429" y="130"/>
                  </a:lnTo>
                  <a:lnTo>
                    <a:pt x="431" y="130"/>
                  </a:lnTo>
                  <a:lnTo>
                    <a:pt x="433" y="130"/>
                  </a:lnTo>
                  <a:lnTo>
                    <a:pt x="433" y="127"/>
                  </a:lnTo>
                  <a:lnTo>
                    <a:pt x="435" y="127"/>
                  </a:lnTo>
                  <a:lnTo>
                    <a:pt x="436" y="129"/>
                  </a:lnTo>
                  <a:lnTo>
                    <a:pt x="438" y="129"/>
                  </a:lnTo>
                  <a:lnTo>
                    <a:pt x="438" y="133"/>
                  </a:lnTo>
                  <a:lnTo>
                    <a:pt x="438" y="129"/>
                  </a:lnTo>
                  <a:lnTo>
                    <a:pt x="438" y="127"/>
                  </a:lnTo>
                  <a:lnTo>
                    <a:pt x="439" y="123"/>
                  </a:lnTo>
                  <a:lnTo>
                    <a:pt x="440" y="123"/>
                  </a:lnTo>
                  <a:lnTo>
                    <a:pt x="442" y="125"/>
                  </a:lnTo>
                  <a:lnTo>
                    <a:pt x="443" y="125"/>
                  </a:lnTo>
                  <a:lnTo>
                    <a:pt x="444" y="123"/>
                  </a:lnTo>
                  <a:lnTo>
                    <a:pt x="446" y="125"/>
                  </a:lnTo>
                  <a:lnTo>
                    <a:pt x="448" y="122"/>
                  </a:lnTo>
                  <a:lnTo>
                    <a:pt x="448" y="119"/>
                  </a:lnTo>
                  <a:lnTo>
                    <a:pt x="450" y="118"/>
                  </a:lnTo>
                  <a:lnTo>
                    <a:pt x="447" y="118"/>
                  </a:lnTo>
                  <a:lnTo>
                    <a:pt x="447" y="118"/>
                  </a:lnTo>
                  <a:lnTo>
                    <a:pt x="446" y="118"/>
                  </a:lnTo>
                  <a:lnTo>
                    <a:pt x="440" y="119"/>
                  </a:lnTo>
                  <a:lnTo>
                    <a:pt x="439" y="119"/>
                  </a:lnTo>
                  <a:lnTo>
                    <a:pt x="439" y="121"/>
                  </a:lnTo>
                  <a:lnTo>
                    <a:pt x="436" y="121"/>
                  </a:lnTo>
                  <a:lnTo>
                    <a:pt x="436" y="122"/>
                  </a:lnTo>
                  <a:lnTo>
                    <a:pt x="436" y="123"/>
                  </a:lnTo>
                  <a:lnTo>
                    <a:pt x="435" y="121"/>
                  </a:lnTo>
                  <a:lnTo>
                    <a:pt x="435" y="119"/>
                  </a:lnTo>
                  <a:lnTo>
                    <a:pt x="433" y="121"/>
                  </a:lnTo>
                  <a:lnTo>
                    <a:pt x="432" y="122"/>
                  </a:lnTo>
                  <a:lnTo>
                    <a:pt x="431" y="123"/>
                  </a:lnTo>
                  <a:lnTo>
                    <a:pt x="429" y="122"/>
                  </a:lnTo>
                  <a:lnTo>
                    <a:pt x="427" y="122"/>
                  </a:lnTo>
                  <a:lnTo>
                    <a:pt x="427" y="121"/>
                  </a:lnTo>
                  <a:lnTo>
                    <a:pt x="425" y="121"/>
                  </a:lnTo>
                  <a:lnTo>
                    <a:pt x="425" y="122"/>
                  </a:lnTo>
                  <a:lnTo>
                    <a:pt x="427" y="123"/>
                  </a:lnTo>
                  <a:lnTo>
                    <a:pt x="427" y="125"/>
                  </a:lnTo>
                  <a:lnTo>
                    <a:pt x="424" y="126"/>
                  </a:lnTo>
                  <a:lnTo>
                    <a:pt x="424" y="125"/>
                  </a:lnTo>
                  <a:lnTo>
                    <a:pt x="420" y="125"/>
                  </a:lnTo>
                  <a:lnTo>
                    <a:pt x="420" y="123"/>
                  </a:lnTo>
                  <a:lnTo>
                    <a:pt x="421" y="122"/>
                  </a:lnTo>
                  <a:lnTo>
                    <a:pt x="423" y="119"/>
                  </a:lnTo>
                  <a:lnTo>
                    <a:pt x="421" y="119"/>
                  </a:lnTo>
                  <a:lnTo>
                    <a:pt x="420" y="121"/>
                  </a:lnTo>
                  <a:lnTo>
                    <a:pt x="418" y="119"/>
                  </a:lnTo>
                  <a:lnTo>
                    <a:pt x="418" y="118"/>
                  </a:lnTo>
                  <a:lnTo>
                    <a:pt x="421" y="117"/>
                  </a:lnTo>
                  <a:lnTo>
                    <a:pt x="424" y="112"/>
                  </a:lnTo>
                  <a:lnTo>
                    <a:pt x="427" y="112"/>
                  </a:lnTo>
                  <a:lnTo>
                    <a:pt x="428" y="112"/>
                  </a:lnTo>
                  <a:lnTo>
                    <a:pt x="438" y="112"/>
                  </a:lnTo>
                  <a:lnTo>
                    <a:pt x="443" y="111"/>
                  </a:lnTo>
                  <a:lnTo>
                    <a:pt x="444" y="111"/>
                  </a:lnTo>
                  <a:lnTo>
                    <a:pt x="447" y="110"/>
                  </a:lnTo>
                  <a:lnTo>
                    <a:pt x="448" y="112"/>
                  </a:lnTo>
                  <a:lnTo>
                    <a:pt x="450" y="114"/>
                  </a:lnTo>
                  <a:lnTo>
                    <a:pt x="451" y="114"/>
                  </a:lnTo>
                  <a:lnTo>
                    <a:pt x="452" y="115"/>
                  </a:lnTo>
                  <a:lnTo>
                    <a:pt x="451" y="119"/>
                  </a:lnTo>
                  <a:lnTo>
                    <a:pt x="451" y="122"/>
                  </a:lnTo>
                  <a:lnTo>
                    <a:pt x="452" y="122"/>
                  </a:lnTo>
                  <a:lnTo>
                    <a:pt x="451" y="123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1" y="126"/>
                  </a:lnTo>
                  <a:lnTo>
                    <a:pt x="451" y="130"/>
                  </a:lnTo>
                  <a:lnTo>
                    <a:pt x="454" y="130"/>
                  </a:lnTo>
                  <a:lnTo>
                    <a:pt x="455" y="132"/>
                  </a:lnTo>
                  <a:lnTo>
                    <a:pt x="455" y="132"/>
                  </a:lnTo>
                  <a:lnTo>
                    <a:pt x="452" y="133"/>
                  </a:lnTo>
                  <a:lnTo>
                    <a:pt x="452" y="136"/>
                  </a:lnTo>
                  <a:lnTo>
                    <a:pt x="451" y="137"/>
                  </a:lnTo>
                  <a:lnTo>
                    <a:pt x="454" y="137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9" y="140"/>
                  </a:lnTo>
                  <a:lnTo>
                    <a:pt x="462" y="140"/>
                  </a:lnTo>
                  <a:lnTo>
                    <a:pt x="463" y="138"/>
                  </a:lnTo>
                  <a:lnTo>
                    <a:pt x="465" y="140"/>
                  </a:lnTo>
                  <a:lnTo>
                    <a:pt x="465" y="141"/>
                  </a:lnTo>
                  <a:lnTo>
                    <a:pt x="465" y="141"/>
                  </a:lnTo>
                  <a:lnTo>
                    <a:pt x="466" y="141"/>
                  </a:lnTo>
                  <a:lnTo>
                    <a:pt x="467" y="142"/>
                  </a:lnTo>
                  <a:lnTo>
                    <a:pt x="466" y="144"/>
                  </a:lnTo>
                  <a:lnTo>
                    <a:pt x="466" y="145"/>
                  </a:lnTo>
                  <a:lnTo>
                    <a:pt x="467" y="145"/>
                  </a:lnTo>
                  <a:lnTo>
                    <a:pt x="467" y="146"/>
                  </a:lnTo>
                  <a:lnTo>
                    <a:pt x="472" y="151"/>
                  </a:lnTo>
                  <a:lnTo>
                    <a:pt x="472" y="152"/>
                  </a:lnTo>
                  <a:lnTo>
                    <a:pt x="474" y="151"/>
                  </a:lnTo>
                  <a:lnTo>
                    <a:pt x="474" y="151"/>
                  </a:lnTo>
                  <a:lnTo>
                    <a:pt x="474" y="153"/>
                  </a:lnTo>
                  <a:lnTo>
                    <a:pt x="476" y="153"/>
                  </a:lnTo>
                  <a:lnTo>
                    <a:pt x="478" y="155"/>
                  </a:lnTo>
                  <a:lnTo>
                    <a:pt x="481" y="153"/>
                  </a:lnTo>
                  <a:lnTo>
                    <a:pt x="484" y="153"/>
                  </a:lnTo>
                  <a:lnTo>
                    <a:pt x="485" y="152"/>
                  </a:lnTo>
                  <a:lnTo>
                    <a:pt x="489" y="151"/>
                  </a:lnTo>
                  <a:lnTo>
                    <a:pt x="489" y="151"/>
                  </a:lnTo>
                  <a:lnTo>
                    <a:pt x="491" y="152"/>
                  </a:lnTo>
                  <a:lnTo>
                    <a:pt x="495" y="152"/>
                  </a:lnTo>
                  <a:lnTo>
                    <a:pt x="499" y="155"/>
                  </a:lnTo>
                  <a:lnTo>
                    <a:pt x="500" y="155"/>
                  </a:lnTo>
                  <a:lnTo>
                    <a:pt x="501" y="156"/>
                  </a:lnTo>
                  <a:lnTo>
                    <a:pt x="503" y="156"/>
                  </a:lnTo>
                  <a:lnTo>
                    <a:pt x="507" y="155"/>
                  </a:lnTo>
                  <a:lnTo>
                    <a:pt x="508" y="157"/>
                  </a:lnTo>
                  <a:lnTo>
                    <a:pt x="510" y="156"/>
                  </a:lnTo>
                  <a:lnTo>
                    <a:pt x="510" y="153"/>
                  </a:lnTo>
                  <a:lnTo>
                    <a:pt x="508" y="152"/>
                  </a:lnTo>
                  <a:lnTo>
                    <a:pt x="507" y="148"/>
                  </a:lnTo>
                  <a:lnTo>
                    <a:pt x="508" y="148"/>
                  </a:lnTo>
                  <a:lnTo>
                    <a:pt x="510" y="148"/>
                  </a:lnTo>
                  <a:lnTo>
                    <a:pt x="511" y="152"/>
                  </a:lnTo>
                  <a:lnTo>
                    <a:pt x="511" y="155"/>
                  </a:lnTo>
                  <a:lnTo>
                    <a:pt x="515" y="159"/>
                  </a:lnTo>
                  <a:lnTo>
                    <a:pt x="516" y="160"/>
                  </a:lnTo>
                  <a:lnTo>
                    <a:pt x="516" y="163"/>
                  </a:lnTo>
                  <a:lnTo>
                    <a:pt x="516" y="157"/>
                  </a:lnTo>
                  <a:lnTo>
                    <a:pt x="516" y="156"/>
                  </a:lnTo>
                  <a:lnTo>
                    <a:pt x="512" y="155"/>
                  </a:lnTo>
                  <a:lnTo>
                    <a:pt x="512" y="151"/>
                  </a:lnTo>
                  <a:lnTo>
                    <a:pt x="511" y="146"/>
                  </a:lnTo>
                  <a:lnTo>
                    <a:pt x="511" y="145"/>
                  </a:lnTo>
                  <a:lnTo>
                    <a:pt x="512" y="145"/>
                  </a:lnTo>
                  <a:lnTo>
                    <a:pt x="512" y="146"/>
                  </a:lnTo>
                  <a:lnTo>
                    <a:pt x="514" y="148"/>
                  </a:lnTo>
                  <a:lnTo>
                    <a:pt x="515" y="146"/>
                  </a:lnTo>
                  <a:lnTo>
                    <a:pt x="515" y="145"/>
                  </a:lnTo>
                  <a:lnTo>
                    <a:pt x="514" y="142"/>
                  </a:lnTo>
                  <a:lnTo>
                    <a:pt x="514" y="141"/>
                  </a:lnTo>
                  <a:lnTo>
                    <a:pt x="514" y="141"/>
                  </a:lnTo>
                  <a:lnTo>
                    <a:pt x="514" y="140"/>
                  </a:lnTo>
                  <a:lnTo>
                    <a:pt x="515" y="140"/>
                  </a:lnTo>
                  <a:lnTo>
                    <a:pt x="516" y="141"/>
                  </a:lnTo>
                  <a:lnTo>
                    <a:pt x="516" y="142"/>
                  </a:lnTo>
                  <a:lnTo>
                    <a:pt x="518" y="142"/>
                  </a:lnTo>
                  <a:lnTo>
                    <a:pt x="518" y="142"/>
                  </a:lnTo>
                  <a:lnTo>
                    <a:pt x="520" y="141"/>
                  </a:lnTo>
                  <a:lnTo>
                    <a:pt x="522" y="138"/>
                  </a:lnTo>
                  <a:lnTo>
                    <a:pt x="523" y="138"/>
                  </a:lnTo>
                  <a:lnTo>
                    <a:pt x="525" y="140"/>
                  </a:lnTo>
                  <a:lnTo>
                    <a:pt x="525" y="141"/>
                  </a:lnTo>
                  <a:lnTo>
                    <a:pt x="525" y="142"/>
                  </a:lnTo>
                  <a:lnTo>
                    <a:pt x="525" y="141"/>
                  </a:lnTo>
                  <a:lnTo>
                    <a:pt x="526" y="141"/>
                  </a:lnTo>
                  <a:lnTo>
                    <a:pt x="527" y="142"/>
                  </a:lnTo>
                  <a:lnTo>
                    <a:pt x="527" y="145"/>
                  </a:lnTo>
                  <a:lnTo>
                    <a:pt x="526" y="146"/>
                  </a:lnTo>
                  <a:lnTo>
                    <a:pt x="527" y="148"/>
                  </a:lnTo>
                  <a:lnTo>
                    <a:pt x="530" y="148"/>
                  </a:lnTo>
                  <a:lnTo>
                    <a:pt x="531" y="149"/>
                  </a:lnTo>
                  <a:lnTo>
                    <a:pt x="530" y="151"/>
                  </a:lnTo>
                  <a:lnTo>
                    <a:pt x="527" y="152"/>
                  </a:lnTo>
                  <a:lnTo>
                    <a:pt x="527" y="152"/>
                  </a:lnTo>
                  <a:lnTo>
                    <a:pt x="529" y="153"/>
                  </a:lnTo>
                  <a:lnTo>
                    <a:pt x="531" y="152"/>
                  </a:lnTo>
                  <a:lnTo>
                    <a:pt x="533" y="149"/>
                  </a:lnTo>
                  <a:lnTo>
                    <a:pt x="535" y="148"/>
                  </a:lnTo>
                  <a:lnTo>
                    <a:pt x="538" y="149"/>
                  </a:lnTo>
                  <a:lnTo>
                    <a:pt x="538" y="149"/>
                  </a:lnTo>
                  <a:lnTo>
                    <a:pt x="537" y="151"/>
                  </a:lnTo>
                  <a:lnTo>
                    <a:pt x="535" y="152"/>
                  </a:lnTo>
                  <a:lnTo>
                    <a:pt x="535" y="155"/>
                  </a:lnTo>
                  <a:lnTo>
                    <a:pt x="531" y="156"/>
                  </a:lnTo>
                  <a:lnTo>
                    <a:pt x="531" y="157"/>
                  </a:lnTo>
                  <a:lnTo>
                    <a:pt x="527" y="161"/>
                  </a:lnTo>
                  <a:lnTo>
                    <a:pt x="527" y="163"/>
                  </a:lnTo>
                  <a:lnTo>
                    <a:pt x="527" y="164"/>
                  </a:lnTo>
                  <a:lnTo>
                    <a:pt x="526" y="161"/>
                  </a:lnTo>
                  <a:lnTo>
                    <a:pt x="525" y="164"/>
                  </a:lnTo>
                  <a:lnTo>
                    <a:pt x="525" y="168"/>
                  </a:lnTo>
                  <a:lnTo>
                    <a:pt x="525" y="170"/>
                  </a:lnTo>
                  <a:lnTo>
                    <a:pt x="526" y="168"/>
                  </a:lnTo>
                  <a:lnTo>
                    <a:pt x="527" y="168"/>
                  </a:lnTo>
                  <a:lnTo>
                    <a:pt x="527" y="170"/>
                  </a:lnTo>
                  <a:lnTo>
                    <a:pt x="525" y="172"/>
                  </a:lnTo>
                  <a:lnTo>
                    <a:pt x="525" y="174"/>
                  </a:lnTo>
                  <a:lnTo>
                    <a:pt x="527" y="172"/>
                  </a:lnTo>
                  <a:lnTo>
                    <a:pt x="530" y="171"/>
                  </a:lnTo>
                  <a:lnTo>
                    <a:pt x="531" y="171"/>
                  </a:lnTo>
                  <a:lnTo>
                    <a:pt x="530" y="174"/>
                  </a:lnTo>
                  <a:lnTo>
                    <a:pt x="529" y="175"/>
                  </a:lnTo>
                  <a:lnTo>
                    <a:pt x="530" y="175"/>
                  </a:lnTo>
                  <a:lnTo>
                    <a:pt x="531" y="174"/>
                  </a:lnTo>
                  <a:lnTo>
                    <a:pt x="530" y="176"/>
                  </a:lnTo>
                  <a:lnTo>
                    <a:pt x="530" y="179"/>
                  </a:lnTo>
                  <a:lnTo>
                    <a:pt x="529" y="180"/>
                  </a:lnTo>
                  <a:lnTo>
                    <a:pt x="526" y="179"/>
                  </a:lnTo>
                  <a:lnTo>
                    <a:pt x="525" y="178"/>
                  </a:lnTo>
                  <a:lnTo>
                    <a:pt x="522" y="179"/>
                  </a:lnTo>
                  <a:lnTo>
                    <a:pt x="520" y="175"/>
                  </a:lnTo>
                  <a:lnTo>
                    <a:pt x="520" y="175"/>
                  </a:lnTo>
                  <a:lnTo>
                    <a:pt x="519" y="179"/>
                  </a:lnTo>
                  <a:lnTo>
                    <a:pt x="520" y="180"/>
                  </a:lnTo>
                  <a:lnTo>
                    <a:pt x="522" y="185"/>
                  </a:lnTo>
                  <a:lnTo>
                    <a:pt x="520" y="189"/>
                  </a:lnTo>
                  <a:lnTo>
                    <a:pt x="523" y="185"/>
                  </a:lnTo>
                  <a:lnTo>
                    <a:pt x="522" y="180"/>
                  </a:lnTo>
                  <a:lnTo>
                    <a:pt x="523" y="179"/>
                  </a:lnTo>
                  <a:lnTo>
                    <a:pt x="525" y="180"/>
                  </a:lnTo>
                  <a:lnTo>
                    <a:pt x="527" y="180"/>
                  </a:lnTo>
                  <a:lnTo>
                    <a:pt x="530" y="182"/>
                  </a:lnTo>
                  <a:lnTo>
                    <a:pt x="531" y="180"/>
                  </a:lnTo>
                  <a:lnTo>
                    <a:pt x="531" y="179"/>
                  </a:lnTo>
                  <a:lnTo>
                    <a:pt x="534" y="178"/>
                  </a:lnTo>
                  <a:lnTo>
                    <a:pt x="537" y="175"/>
                  </a:lnTo>
                  <a:lnTo>
                    <a:pt x="538" y="175"/>
                  </a:lnTo>
                  <a:lnTo>
                    <a:pt x="541" y="174"/>
                  </a:lnTo>
                  <a:lnTo>
                    <a:pt x="538" y="175"/>
                  </a:lnTo>
                  <a:lnTo>
                    <a:pt x="537" y="174"/>
                  </a:lnTo>
                  <a:lnTo>
                    <a:pt x="535" y="176"/>
                  </a:lnTo>
                  <a:lnTo>
                    <a:pt x="534" y="176"/>
                  </a:lnTo>
                  <a:lnTo>
                    <a:pt x="533" y="176"/>
                  </a:lnTo>
                  <a:lnTo>
                    <a:pt x="534" y="174"/>
                  </a:lnTo>
                  <a:lnTo>
                    <a:pt x="535" y="172"/>
                  </a:lnTo>
                  <a:lnTo>
                    <a:pt x="534" y="171"/>
                  </a:lnTo>
                  <a:lnTo>
                    <a:pt x="534" y="170"/>
                  </a:lnTo>
                  <a:lnTo>
                    <a:pt x="535" y="167"/>
                  </a:lnTo>
                  <a:lnTo>
                    <a:pt x="535" y="164"/>
                  </a:lnTo>
                  <a:lnTo>
                    <a:pt x="534" y="163"/>
                  </a:lnTo>
                  <a:lnTo>
                    <a:pt x="535" y="163"/>
                  </a:lnTo>
                  <a:lnTo>
                    <a:pt x="537" y="159"/>
                  </a:lnTo>
                  <a:lnTo>
                    <a:pt x="538" y="156"/>
                  </a:lnTo>
                  <a:lnTo>
                    <a:pt x="541" y="155"/>
                  </a:lnTo>
                  <a:lnTo>
                    <a:pt x="541" y="155"/>
                  </a:lnTo>
                  <a:lnTo>
                    <a:pt x="541" y="156"/>
                  </a:lnTo>
                  <a:lnTo>
                    <a:pt x="542" y="156"/>
                  </a:lnTo>
                  <a:lnTo>
                    <a:pt x="544" y="155"/>
                  </a:lnTo>
                  <a:lnTo>
                    <a:pt x="544" y="155"/>
                  </a:lnTo>
                  <a:lnTo>
                    <a:pt x="545" y="155"/>
                  </a:lnTo>
                  <a:lnTo>
                    <a:pt x="545" y="156"/>
                  </a:lnTo>
                  <a:lnTo>
                    <a:pt x="548" y="156"/>
                  </a:lnTo>
                  <a:lnTo>
                    <a:pt x="549" y="155"/>
                  </a:lnTo>
                  <a:lnTo>
                    <a:pt x="554" y="152"/>
                  </a:lnTo>
                  <a:lnTo>
                    <a:pt x="556" y="149"/>
                  </a:lnTo>
                  <a:lnTo>
                    <a:pt x="556" y="149"/>
                  </a:lnTo>
                  <a:lnTo>
                    <a:pt x="557" y="148"/>
                  </a:lnTo>
                  <a:lnTo>
                    <a:pt x="559" y="146"/>
                  </a:lnTo>
                  <a:lnTo>
                    <a:pt x="563" y="145"/>
                  </a:lnTo>
                  <a:lnTo>
                    <a:pt x="564" y="144"/>
                  </a:lnTo>
                  <a:lnTo>
                    <a:pt x="564" y="142"/>
                  </a:lnTo>
                  <a:lnTo>
                    <a:pt x="564" y="140"/>
                  </a:lnTo>
                  <a:lnTo>
                    <a:pt x="565" y="137"/>
                  </a:lnTo>
                  <a:lnTo>
                    <a:pt x="567" y="134"/>
                  </a:lnTo>
                  <a:lnTo>
                    <a:pt x="565" y="133"/>
                  </a:lnTo>
                  <a:lnTo>
                    <a:pt x="564" y="134"/>
                  </a:lnTo>
                  <a:lnTo>
                    <a:pt x="563" y="134"/>
                  </a:lnTo>
                  <a:lnTo>
                    <a:pt x="563" y="136"/>
                  </a:lnTo>
                  <a:lnTo>
                    <a:pt x="561" y="137"/>
                  </a:lnTo>
                  <a:lnTo>
                    <a:pt x="560" y="138"/>
                  </a:lnTo>
                  <a:lnTo>
                    <a:pt x="559" y="137"/>
                  </a:lnTo>
                  <a:lnTo>
                    <a:pt x="557" y="137"/>
                  </a:lnTo>
                  <a:lnTo>
                    <a:pt x="556" y="136"/>
                  </a:lnTo>
                  <a:lnTo>
                    <a:pt x="557" y="133"/>
                  </a:lnTo>
                  <a:lnTo>
                    <a:pt x="559" y="133"/>
                  </a:lnTo>
                  <a:lnTo>
                    <a:pt x="560" y="132"/>
                  </a:lnTo>
                  <a:lnTo>
                    <a:pt x="564" y="130"/>
                  </a:lnTo>
                  <a:lnTo>
                    <a:pt x="564" y="129"/>
                  </a:lnTo>
                  <a:lnTo>
                    <a:pt x="563" y="127"/>
                  </a:lnTo>
                  <a:lnTo>
                    <a:pt x="564" y="125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8" y="126"/>
                  </a:lnTo>
                  <a:lnTo>
                    <a:pt x="567" y="129"/>
                  </a:lnTo>
                  <a:lnTo>
                    <a:pt x="568" y="129"/>
                  </a:lnTo>
                  <a:lnTo>
                    <a:pt x="571" y="127"/>
                  </a:lnTo>
                  <a:lnTo>
                    <a:pt x="572" y="123"/>
                  </a:lnTo>
                  <a:lnTo>
                    <a:pt x="572" y="122"/>
                  </a:lnTo>
                  <a:lnTo>
                    <a:pt x="571" y="121"/>
                  </a:lnTo>
                  <a:lnTo>
                    <a:pt x="568" y="121"/>
                  </a:lnTo>
                  <a:lnTo>
                    <a:pt x="567" y="121"/>
                  </a:lnTo>
                  <a:lnTo>
                    <a:pt x="564" y="119"/>
                  </a:lnTo>
                  <a:lnTo>
                    <a:pt x="563" y="117"/>
                  </a:lnTo>
                  <a:lnTo>
                    <a:pt x="563" y="114"/>
                  </a:lnTo>
                  <a:lnTo>
                    <a:pt x="561" y="117"/>
                  </a:lnTo>
                  <a:lnTo>
                    <a:pt x="560" y="117"/>
                  </a:lnTo>
                  <a:lnTo>
                    <a:pt x="559" y="114"/>
                  </a:lnTo>
                  <a:lnTo>
                    <a:pt x="556" y="112"/>
                  </a:lnTo>
                  <a:lnTo>
                    <a:pt x="556" y="110"/>
                  </a:lnTo>
                  <a:lnTo>
                    <a:pt x="554" y="110"/>
                  </a:lnTo>
                  <a:lnTo>
                    <a:pt x="553" y="110"/>
                  </a:lnTo>
                  <a:lnTo>
                    <a:pt x="553" y="108"/>
                  </a:lnTo>
                  <a:lnTo>
                    <a:pt x="552" y="107"/>
                  </a:lnTo>
                  <a:lnTo>
                    <a:pt x="553" y="104"/>
                  </a:lnTo>
                  <a:lnTo>
                    <a:pt x="553" y="103"/>
                  </a:lnTo>
                  <a:lnTo>
                    <a:pt x="552" y="100"/>
                  </a:lnTo>
                  <a:lnTo>
                    <a:pt x="552" y="95"/>
                  </a:lnTo>
                  <a:lnTo>
                    <a:pt x="554" y="93"/>
                  </a:lnTo>
                  <a:lnTo>
                    <a:pt x="557" y="89"/>
                  </a:lnTo>
                  <a:lnTo>
                    <a:pt x="560" y="89"/>
                  </a:lnTo>
                  <a:lnTo>
                    <a:pt x="563" y="89"/>
                  </a:lnTo>
                  <a:lnTo>
                    <a:pt x="563" y="88"/>
                  </a:lnTo>
                  <a:lnTo>
                    <a:pt x="564" y="87"/>
                  </a:lnTo>
                  <a:lnTo>
                    <a:pt x="564" y="85"/>
                  </a:lnTo>
                  <a:lnTo>
                    <a:pt x="563" y="85"/>
                  </a:lnTo>
                  <a:lnTo>
                    <a:pt x="561" y="87"/>
                  </a:lnTo>
                  <a:lnTo>
                    <a:pt x="560" y="85"/>
                  </a:lnTo>
                  <a:lnTo>
                    <a:pt x="560" y="84"/>
                  </a:lnTo>
                  <a:lnTo>
                    <a:pt x="559" y="83"/>
                  </a:lnTo>
                  <a:lnTo>
                    <a:pt x="560" y="80"/>
                  </a:lnTo>
                  <a:lnTo>
                    <a:pt x="563" y="76"/>
                  </a:lnTo>
                  <a:lnTo>
                    <a:pt x="564" y="72"/>
                  </a:lnTo>
                  <a:lnTo>
                    <a:pt x="565" y="72"/>
                  </a:lnTo>
                  <a:lnTo>
                    <a:pt x="567" y="69"/>
                  </a:lnTo>
                  <a:lnTo>
                    <a:pt x="569" y="69"/>
                  </a:lnTo>
                  <a:lnTo>
                    <a:pt x="571" y="66"/>
                  </a:lnTo>
                  <a:lnTo>
                    <a:pt x="573" y="65"/>
                  </a:lnTo>
                  <a:lnTo>
                    <a:pt x="575" y="66"/>
                  </a:lnTo>
                  <a:lnTo>
                    <a:pt x="573" y="69"/>
                  </a:lnTo>
                  <a:lnTo>
                    <a:pt x="575" y="70"/>
                  </a:lnTo>
                  <a:lnTo>
                    <a:pt x="575" y="72"/>
                  </a:lnTo>
                  <a:lnTo>
                    <a:pt x="578" y="70"/>
                  </a:lnTo>
                  <a:lnTo>
                    <a:pt x="578" y="69"/>
                  </a:lnTo>
                  <a:lnTo>
                    <a:pt x="580" y="65"/>
                  </a:lnTo>
                  <a:lnTo>
                    <a:pt x="580" y="64"/>
                  </a:lnTo>
                  <a:lnTo>
                    <a:pt x="579" y="64"/>
                  </a:lnTo>
                  <a:lnTo>
                    <a:pt x="576" y="62"/>
                  </a:lnTo>
                  <a:lnTo>
                    <a:pt x="575" y="61"/>
                  </a:lnTo>
                  <a:lnTo>
                    <a:pt x="578" y="58"/>
                  </a:lnTo>
                  <a:lnTo>
                    <a:pt x="580" y="58"/>
                  </a:lnTo>
                  <a:lnTo>
                    <a:pt x="580" y="57"/>
                  </a:lnTo>
                  <a:lnTo>
                    <a:pt x="584" y="55"/>
                  </a:lnTo>
                  <a:lnTo>
                    <a:pt x="584" y="53"/>
                  </a:lnTo>
                  <a:lnTo>
                    <a:pt x="586" y="53"/>
                  </a:lnTo>
                  <a:lnTo>
                    <a:pt x="588" y="53"/>
                  </a:lnTo>
                  <a:lnTo>
                    <a:pt x="593" y="54"/>
                  </a:lnTo>
                  <a:lnTo>
                    <a:pt x="593" y="57"/>
                  </a:lnTo>
                  <a:lnTo>
                    <a:pt x="593" y="57"/>
                  </a:lnTo>
                  <a:lnTo>
                    <a:pt x="594" y="58"/>
                  </a:lnTo>
                  <a:lnTo>
                    <a:pt x="595" y="59"/>
                  </a:lnTo>
                  <a:lnTo>
                    <a:pt x="597" y="61"/>
                  </a:lnTo>
                  <a:lnTo>
                    <a:pt x="597" y="64"/>
                  </a:lnTo>
                  <a:lnTo>
                    <a:pt x="595" y="64"/>
                  </a:lnTo>
                  <a:lnTo>
                    <a:pt x="595" y="66"/>
                  </a:lnTo>
                  <a:lnTo>
                    <a:pt x="595" y="68"/>
                  </a:lnTo>
                  <a:lnTo>
                    <a:pt x="597" y="69"/>
                  </a:lnTo>
                  <a:lnTo>
                    <a:pt x="598" y="72"/>
                  </a:lnTo>
                  <a:lnTo>
                    <a:pt x="597" y="76"/>
                  </a:lnTo>
                  <a:lnTo>
                    <a:pt x="599" y="76"/>
                  </a:lnTo>
                  <a:lnTo>
                    <a:pt x="599" y="77"/>
                  </a:lnTo>
                  <a:lnTo>
                    <a:pt x="597" y="80"/>
                  </a:lnTo>
                  <a:lnTo>
                    <a:pt x="597" y="81"/>
                  </a:lnTo>
                  <a:lnTo>
                    <a:pt x="595" y="84"/>
                  </a:lnTo>
                  <a:lnTo>
                    <a:pt x="595" y="87"/>
                  </a:lnTo>
                  <a:lnTo>
                    <a:pt x="594" y="88"/>
                  </a:lnTo>
                  <a:lnTo>
                    <a:pt x="595" y="89"/>
                  </a:lnTo>
                  <a:lnTo>
                    <a:pt x="594" y="92"/>
                  </a:lnTo>
                  <a:lnTo>
                    <a:pt x="597" y="95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7" y="100"/>
                  </a:lnTo>
                  <a:lnTo>
                    <a:pt x="595" y="102"/>
                  </a:lnTo>
                  <a:lnTo>
                    <a:pt x="595" y="103"/>
                  </a:lnTo>
                  <a:lnTo>
                    <a:pt x="598" y="104"/>
                  </a:lnTo>
                  <a:lnTo>
                    <a:pt x="599" y="106"/>
                  </a:lnTo>
                  <a:lnTo>
                    <a:pt x="598" y="108"/>
                  </a:lnTo>
                  <a:lnTo>
                    <a:pt x="597" y="110"/>
                  </a:lnTo>
                  <a:lnTo>
                    <a:pt x="595" y="108"/>
                  </a:lnTo>
                  <a:lnTo>
                    <a:pt x="594" y="110"/>
                  </a:lnTo>
                  <a:lnTo>
                    <a:pt x="593" y="107"/>
                  </a:lnTo>
                  <a:lnTo>
                    <a:pt x="593" y="104"/>
                  </a:lnTo>
                  <a:lnTo>
                    <a:pt x="590" y="106"/>
                  </a:lnTo>
                  <a:lnTo>
                    <a:pt x="590" y="108"/>
                  </a:lnTo>
                  <a:lnTo>
                    <a:pt x="587" y="108"/>
                  </a:lnTo>
                  <a:lnTo>
                    <a:pt x="587" y="110"/>
                  </a:lnTo>
                  <a:lnTo>
                    <a:pt x="590" y="110"/>
                  </a:lnTo>
                  <a:lnTo>
                    <a:pt x="591" y="111"/>
                  </a:lnTo>
                  <a:lnTo>
                    <a:pt x="591" y="112"/>
                  </a:lnTo>
                  <a:lnTo>
                    <a:pt x="586" y="117"/>
                  </a:lnTo>
                  <a:lnTo>
                    <a:pt x="583" y="117"/>
                  </a:lnTo>
                  <a:lnTo>
                    <a:pt x="583" y="118"/>
                  </a:lnTo>
                  <a:lnTo>
                    <a:pt x="582" y="118"/>
                  </a:lnTo>
                  <a:lnTo>
                    <a:pt x="582" y="121"/>
                  </a:lnTo>
                  <a:lnTo>
                    <a:pt x="583" y="122"/>
                  </a:lnTo>
                  <a:lnTo>
                    <a:pt x="584" y="122"/>
                  </a:lnTo>
                  <a:lnTo>
                    <a:pt x="586" y="122"/>
                  </a:lnTo>
                  <a:lnTo>
                    <a:pt x="586" y="125"/>
                  </a:lnTo>
                  <a:lnTo>
                    <a:pt x="588" y="126"/>
                  </a:lnTo>
                  <a:lnTo>
                    <a:pt x="591" y="125"/>
                  </a:lnTo>
                  <a:lnTo>
                    <a:pt x="591" y="123"/>
                  </a:lnTo>
                  <a:lnTo>
                    <a:pt x="594" y="123"/>
                  </a:lnTo>
                  <a:lnTo>
                    <a:pt x="594" y="123"/>
                  </a:lnTo>
                  <a:lnTo>
                    <a:pt x="594" y="125"/>
                  </a:lnTo>
                  <a:lnTo>
                    <a:pt x="594" y="126"/>
                  </a:lnTo>
                  <a:lnTo>
                    <a:pt x="595" y="126"/>
                  </a:lnTo>
                  <a:lnTo>
                    <a:pt x="597" y="127"/>
                  </a:lnTo>
                  <a:lnTo>
                    <a:pt x="599" y="126"/>
                  </a:lnTo>
                  <a:lnTo>
                    <a:pt x="601" y="127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4" y="132"/>
                  </a:lnTo>
                  <a:lnTo>
                    <a:pt x="594" y="133"/>
                  </a:lnTo>
                  <a:lnTo>
                    <a:pt x="593" y="130"/>
                  </a:lnTo>
                  <a:lnTo>
                    <a:pt x="593" y="130"/>
                  </a:lnTo>
                  <a:lnTo>
                    <a:pt x="591" y="129"/>
                  </a:lnTo>
                  <a:lnTo>
                    <a:pt x="591" y="130"/>
                  </a:lnTo>
                  <a:lnTo>
                    <a:pt x="593" y="133"/>
                  </a:lnTo>
                  <a:lnTo>
                    <a:pt x="593" y="134"/>
                  </a:lnTo>
                  <a:lnTo>
                    <a:pt x="594" y="138"/>
                  </a:lnTo>
                  <a:lnTo>
                    <a:pt x="594" y="141"/>
                  </a:lnTo>
                  <a:lnTo>
                    <a:pt x="594" y="141"/>
                  </a:lnTo>
                  <a:lnTo>
                    <a:pt x="594" y="144"/>
                  </a:lnTo>
                  <a:lnTo>
                    <a:pt x="593" y="144"/>
                  </a:lnTo>
                  <a:lnTo>
                    <a:pt x="593" y="146"/>
                  </a:lnTo>
                  <a:lnTo>
                    <a:pt x="593" y="149"/>
                  </a:lnTo>
                  <a:lnTo>
                    <a:pt x="590" y="152"/>
                  </a:lnTo>
                  <a:lnTo>
                    <a:pt x="590" y="153"/>
                  </a:lnTo>
                  <a:lnTo>
                    <a:pt x="591" y="156"/>
                  </a:lnTo>
                  <a:lnTo>
                    <a:pt x="590" y="156"/>
                  </a:lnTo>
                  <a:lnTo>
                    <a:pt x="590" y="157"/>
                  </a:lnTo>
                  <a:lnTo>
                    <a:pt x="591" y="157"/>
                  </a:lnTo>
                  <a:lnTo>
                    <a:pt x="593" y="156"/>
                  </a:lnTo>
                  <a:lnTo>
                    <a:pt x="594" y="153"/>
                  </a:lnTo>
                  <a:lnTo>
                    <a:pt x="597" y="152"/>
                  </a:lnTo>
                  <a:lnTo>
                    <a:pt x="597" y="152"/>
                  </a:lnTo>
                  <a:lnTo>
                    <a:pt x="597" y="151"/>
                  </a:lnTo>
                  <a:lnTo>
                    <a:pt x="598" y="149"/>
                  </a:lnTo>
                  <a:lnTo>
                    <a:pt x="599" y="151"/>
                  </a:lnTo>
                  <a:lnTo>
                    <a:pt x="601" y="149"/>
                  </a:lnTo>
                  <a:lnTo>
                    <a:pt x="601" y="145"/>
                  </a:lnTo>
                  <a:lnTo>
                    <a:pt x="601" y="142"/>
                  </a:lnTo>
                  <a:lnTo>
                    <a:pt x="603" y="140"/>
                  </a:lnTo>
                  <a:lnTo>
                    <a:pt x="606" y="136"/>
                  </a:lnTo>
                  <a:lnTo>
                    <a:pt x="607" y="134"/>
                  </a:lnTo>
                  <a:lnTo>
                    <a:pt x="609" y="134"/>
                  </a:lnTo>
                  <a:lnTo>
                    <a:pt x="609" y="134"/>
                  </a:lnTo>
                  <a:lnTo>
                    <a:pt x="610" y="137"/>
                  </a:lnTo>
                  <a:lnTo>
                    <a:pt x="612" y="141"/>
                  </a:lnTo>
                  <a:lnTo>
                    <a:pt x="612" y="144"/>
                  </a:lnTo>
                  <a:lnTo>
                    <a:pt x="614" y="146"/>
                  </a:lnTo>
                  <a:lnTo>
                    <a:pt x="614" y="149"/>
                  </a:lnTo>
                  <a:lnTo>
                    <a:pt x="613" y="151"/>
                  </a:lnTo>
                  <a:lnTo>
                    <a:pt x="614" y="156"/>
                  </a:lnTo>
                  <a:lnTo>
                    <a:pt x="613" y="159"/>
                  </a:lnTo>
                  <a:lnTo>
                    <a:pt x="610" y="159"/>
                  </a:lnTo>
                  <a:lnTo>
                    <a:pt x="609" y="157"/>
                  </a:lnTo>
                  <a:lnTo>
                    <a:pt x="607" y="159"/>
                  </a:lnTo>
                  <a:lnTo>
                    <a:pt x="607" y="161"/>
                  </a:lnTo>
                  <a:lnTo>
                    <a:pt x="607" y="164"/>
                  </a:lnTo>
                  <a:lnTo>
                    <a:pt x="606" y="165"/>
                  </a:lnTo>
                  <a:lnTo>
                    <a:pt x="605" y="168"/>
                  </a:lnTo>
                  <a:lnTo>
                    <a:pt x="606" y="170"/>
                  </a:lnTo>
                  <a:lnTo>
                    <a:pt x="606" y="174"/>
                  </a:lnTo>
                  <a:lnTo>
                    <a:pt x="607" y="182"/>
                  </a:lnTo>
                  <a:lnTo>
                    <a:pt x="609" y="186"/>
                  </a:lnTo>
                  <a:lnTo>
                    <a:pt x="609" y="187"/>
                  </a:lnTo>
                  <a:lnTo>
                    <a:pt x="610" y="190"/>
                  </a:lnTo>
                  <a:lnTo>
                    <a:pt x="613" y="190"/>
                  </a:lnTo>
                  <a:lnTo>
                    <a:pt x="612" y="186"/>
                  </a:lnTo>
                  <a:lnTo>
                    <a:pt x="612" y="186"/>
                  </a:lnTo>
                  <a:lnTo>
                    <a:pt x="613" y="185"/>
                  </a:lnTo>
                  <a:lnTo>
                    <a:pt x="614" y="183"/>
                  </a:lnTo>
                  <a:lnTo>
                    <a:pt x="616" y="187"/>
                  </a:lnTo>
                  <a:lnTo>
                    <a:pt x="617" y="186"/>
                  </a:lnTo>
                  <a:lnTo>
                    <a:pt x="617" y="183"/>
                  </a:lnTo>
                  <a:lnTo>
                    <a:pt x="618" y="182"/>
                  </a:lnTo>
                  <a:lnTo>
                    <a:pt x="620" y="178"/>
                  </a:lnTo>
                  <a:lnTo>
                    <a:pt x="621" y="178"/>
                  </a:lnTo>
                  <a:lnTo>
                    <a:pt x="624" y="175"/>
                  </a:lnTo>
                  <a:lnTo>
                    <a:pt x="624" y="174"/>
                  </a:lnTo>
                  <a:lnTo>
                    <a:pt x="625" y="172"/>
                  </a:lnTo>
                  <a:lnTo>
                    <a:pt x="629" y="170"/>
                  </a:lnTo>
                  <a:lnTo>
                    <a:pt x="632" y="164"/>
                  </a:lnTo>
                  <a:lnTo>
                    <a:pt x="635" y="160"/>
                  </a:lnTo>
                  <a:lnTo>
                    <a:pt x="636" y="155"/>
                  </a:lnTo>
                  <a:lnTo>
                    <a:pt x="639" y="153"/>
                  </a:lnTo>
                  <a:lnTo>
                    <a:pt x="640" y="156"/>
                  </a:lnTo>
                  <a:lnTo>
                    <a:pt x="641" y="155"/>
                  </a:lnTo>
                  <a:lnTo>
                    <a:pt x="643" y="156"/>
                  </a:lnTo>
                  <a:lnTo>
                    <a:pt x="646" y="156"/>
                  </a:lnTo>
                  <a:lnTo>
                    <a:pt x="646" y="155"/>
                  </a:lnTo>
                  <a:lnTo>
                    <a:pt x="644" y="153"/>
                  </a:lnTo>
                  <a:lnTo>
                    <a:pt x="641" y="152"/>
                  </a:lnTo>
                  <a:lnTo>
                    <a:pt x="643" y="151"/>
                  </a:lnTo>
                  <a:lnTo>
                    <a:pt x="646" y="151"/>
                  </a:lnTo>
                  <a:lnTo>
                    <a:pt x="647" y="152"/>
                  </a:lnTo>
                  <a:lnTo>
                    <a:pt x="647" y="151"/>
                  </a:lnTo>
                  <a:lnTo>
                    <a:pt x="650" y="151"/>
                  </a:lnTo>
                  <a:lnTo>
                    <a:pt x="650" y="151"/>
                  </a:lnTo>
                  <a:lnTo>
                    <a:pt x="650" y="148"/>
                  </a:lnTo>
                  <a:lnTo>
                    <a:pt x="648" y="148"/>
                  </a:lnTo>
                  <a:lnTo>
                    <a:pt x="647" y="145"/>
                  </a:lnTo>
                  <a:lnTo>
                    <a:pt x="646" y="145"/>
                  </a:lnTo>
                  <a:lnTo>
                    <a:pt x="646" y="142"/>
                  </a:lnTo>
                  <a:lnTo>
                    <a:pt x="647" y="141"/>
                  </a:lnTo>
                  <a:lnTo>
                    <a:pt x="647" y="138"/>
                  </a:lnTo>
                  <a:lnTo>
                    <a:pt x="650" y="138"/>
                  </a:lnTo>
                  <a:lnTo>
                    <a:pt x="648" y="137"/>
                  </a:lnTo>
                  <a:lnTo>
                    <a:pt x="648" y="136"/>
                  </a:lnTo>
                  <a:lnTo>
                    <a:pt x="650" y="133"/>
                  </a:lnTo>
                  <a:lnTo>
                    <a:pt x="650" y="133"/>
                  </a:lnTo>
                  <a:lnTo>
                    <a:pt x="648" y="132"/>
                  </a:lnTo>
                  <a:lnTo>
                    <a:pt x="651" y="132"/>
                  </a:lnTo>
                  <a:lnTo>
                    <a:pt x="652" y="130"/>
                  </a:lnTo>
                  <a:lnTo>
                    <a:pt x="650" y="129"/>
                  </a:lnTo>
                  <a:lnTo>
                    <a:pt x="650" y="127"/>
                  </a:lnTo>
                  <a:lnTo>
                    <a:pt x="652" y="127"/>
                  </a:lnTo>
                  <a:lnTo>
                    <a:pt x="652" y="129"/>
                  </a:lnTo>
                  <a:lnTo>
                    <a:pt x="655" y="130"/>
                  </a:lnTo>
                  <a:lnTo>
                    <a:pt x="656" y="129"/>
                  </a:lnTo>
                  <a:lnTo>
                    <a:pt x="659" y="129"/>
                  </a:lnTo>
                  <a:lnTo>
                    <a:pt x="663" y="132"/>
                  </a:lnTo>
                  <a:lnTo>
                    <a:pt x="663" y="133"/>
                  </a:lnTo>
                  <a:lnTo>
                    <a:pt x="665" y="134"/>
                  </a:lnTo>
                  <a:lnTo>
                    <a:pt x="669" y="136"/>
                  </a:lnTo>
                  <a:lnTo>
                    <a:pt x="670" y="134"/>
                  </a:lnTo>
                  <a:lnTo>
                    <a:pt x="673" y="137"/>
                  </a:lnTo>
                  <a:lnTo>
                    <a:pt x="675" y="137"/>
                  </a:lnTo>
                  <a:lnTo>
                    <a:pt x="675" y="138"/>
                  </a:lnTo>
                  <a:lnTo>
                    <a:pt x="674" y="140"/>
                  </a:lnTo>
                  <a:lnTo>
                    <a:pt x="675" y="141"/>
                  </a:lnTo>
                  <a:lnTo>
                    <a:pt x="674" y="142"/>
                  </a:lnTo>
                  <a:lnTo>
                    <a:pt x="673" y="140"/>
                  </a:lnTo>
                  <a:lnTo>
                    <a:pt x="671" y="140"/>
                  </a:lnTo>
                  <a:lnTo>
                    <a:pt x="671" y="141"/>
                  </a:lnTo>
                  <a:lnTo>
                    <a:pt x="677" y="145"/>
                  </a:lnTo>
                  <a:lnTo>
                    <a:pt x="677" y="146"/>
                  </a:lnTo>
                  <a:lnTo>
                    <a:pt x="675" y="148"/>
                  </a:lnTo>
                  <a:lnTo>
                    <a:pt x="675" y="148"/>
                  </a:lnTo>
                  <a:lnTo>
                    <a:pt x="678" y="148"/>
                  </a:lnTo>
                  <a:lnTo>
                    <a:pt x="681" y="148"/>
                  </a:lnTo>
                  <a:lnTo>
                    <a:pt x="682" y="151"/>
                  </a:lnTo>
                  <a:lnTo>
                    <a:pt x="684" y="151"/>
                  </a:lnTo>
                  <a:lnTo>
                    <a:pt x="684" y="152"/>
                  </a:lnTo>
                  <a:lnTo>
                    <a:pt x="682" y="153"/>
                  </a:lnTo>
                  <a:lnTo>
                    <a:pt x="678" y="156"/>
                  </a:lnTo>
                  <a:lnTo>
                    <a:pt x="677" y="157"/>
                  </a:lnTo>
                  <a:lnTo>
                    <a:pt x="675" y="157"/>
                  </a:lnTo>
                  <a:lnTo>
                    <a:pt x="678" y="157"/>
                  </a:lnTo>
                  <a:lnTo>
                    <a:pt x="680" y="159"/>
                  </a:lnTo>
                  <a:lnTo>
                    <a:pt x="680" y="160"/>
                  </a:lnTo>
                  <a:lnTo>
                    <a:pt x="681" y="160"/>
                  </a:lnTo>
                  <a:lnTo>
                    <a:pt x="681" y="161"/>
                  </a:lnTo>
                  <a:lnTo>
                    <a:pt x="680" y="163"/>
                  </a:lnTo>
                  <a:lnTo>
                    <a:pt x="681" y="164"/>
                  </a:lnTo>
                  <a:lnTo>
                    <a:pt x="678" y="165"/>
                  </a:lnTo>
                  <a:lnTo>
                    <a:pt x="674" y="167"/>
                  </a:lnTo>
                  <a:lnTo>
                    <a:pt x="673" y="167"/>
                  </a:lnTo>
                  <a:lnTo>
                    <a:pt x="671" y="168"/>
                  </a:lnTo>
                  <a:lnTo>
                    <a:pt x="670" y="167"/>
                  </a:lnTo>
                  <a:lnTo>
                    <a:pt x="669" y="165"/>
                  </a:lnTo>
                  <a:lnTo>
                    <a:pt x="666" y="165"/>
                  </a:lnTo>
                  <a:lnTo>
                    <a:pt x="666" y="164"/>
                  </a:lnTo>
                  <a:lnTo>
                    <a:pt x="665" y="164"/>
                  </a:lnTo>
                  <a:lnTo>
                    <a:pt x="663" y="165"/>
                  </a:lnTo>
                  <a:lnTo>
                    <a:pt x="663" y="167"/>
                  </a:lnTo>
                  <a:lnTo>
                    <a:pt x="665" y="167"/>
                  </a:lnTo>
                  <a:lnTo>
                    <a:pt x="666" y="168"/>
                  </a:lnTo>
                  <a:lnTo>
                    <a:pt x="666" y="170"/>
                  </a:lnTo>
                  <a:lnTo>
                    <a:pt x="665" y="171"/>
                  </a:lnTo>
                  <a:lnTo>
                    <a:pt x="666" y="171"/>
                  </a:lnTo>
                  <a:lnTo>
                    <a:pt x="665" y="174"/>
                  </a:lnTo>
                  <a:lnTo>
                    <a:pt x="665" y="175"/>
                  </a:lnTo>
                  <a:lnTo>
                    <a:pt x="666" y="175"/>
                  </a:lnTo>
                  <a:lnTo>
                    <a:pt x="667" y="174"/>
                  </a:lnTo>
                  <a:lnTo>
                    <a:pt x="667" y="174"/>
                  </a:lnTo>
                  <a:lnTo>
                    <a:pt x="667" y="175"/>
                  </a:lnTo>
                  <a:lnTo>
                    <a:pt x="665" y="176"/>
                  </a:lnTo>
                  <a:lnTo>
                    <a:pt x="663" y="179"/>
                  </a:lnTo>
                  <a:lnTo>
                    <a:pt x="665" y="182"/>
                  </a:lnTo>
                  <a:lnTo>
                    <a:pt x="667" y="183"/>
                  </a:lnTo>
                  <a:lnTo>
                    <a:pt x="666" y="185"/>
                  </a:lnTo>
                  <a:lnTo>
                    <a:pt x="669" y="190"/>
                  </a:lnTo>
                  <a:lnTo>
                    <a:pt x="669" y="193"/>
                  </a:lnTo>
                  <a:lnTo>
                    <a:pt x="667" y="193"/>
                  </a:lnTo>
                  <a:lnTo>
                    <a:pt x="667" y="195"/>
                  </a:lnTo>
                  <a:lnTo>
                    <a:pt x="665" y="198"/>
                  </a:lnTo>
                  <a:lnTo>
                    <a:pt x="665" y="199"/>
                  </a:lnTo>
                  <a:lnTo>
                    <a:pt x="663" y="201"/>
                  </a:lnTo>
                  <a:lnTo>
                    <a:pt x="662" y="201"/>
                  </a:lnTo>
                  <a:lnTo>
                    <a:pt x="658" y="201"/>
                  </a:lnTo>
                  <a:lnTo>
                    <a:pt x="656" y="202"/>
                  </a:lnTo>
                  <a:lnTo>
                    <a:pt x="655" y="205"/>
                  </a:lnTo>
                  <a:lnTo>
                    <a:pt x="654" y="206"/>
                  </a:lnTo>
                  <a:lnTo>
                    <a:pt x="652" y="208"/>
                  </a:lnTo>
                  <a:lnTo>
                    <a:pt x="651" y="208"/>
                  </a:lnTo>
                  <a:lnTo>
                    <a:pt x="647" y="210"/>
                  </a:lnTo>
                  <a:lnTo>
                    <a:pt x="646" y="210"/>
                  </a:lnTo>
                  <a:lnTo>
                    <a:pt x="644" y="210"/>
                  </a:lnTo>
                  <a:lnTo>
                    <a:pt x="643" y="213"/>
                  </a:lnTo>
                  <a:lnTo>
                    <a:pt x="637" y="214"/>
                  </a:lnTo>
                  <a:lnTo>
                    <a:pt x="636" y="213"/>
                  </a:lnTo>
                  <a:lnTo>
                    <a:pt x="637" y="212"/>
                  </a:lnTo>
                  <a:lnTo>
                    <a:pt x="636" y="209"/>
                  </a:lnTo>
                  <a:lnTo>
                    <a:pt x="635" y="208"/>
                  </a:lnTo>
                  <a:lnTo>
                    <a:pt x="635" y="206"/>
                  </a:lnTo>
                  <a:lnTo>
                    <a:pt x="636" y="205"/>
                  </a:lnTo>
                  <a:lnTo>
                    <a:pt x="636" y="204"/>
                  </a:lnTo>
                  <a:lnTo>
                    <a:pt x="637" y="201"/>
                  </a:lnTo>
                  <a:lnTo>
                    <a:pt x="636" y="202"/>
                  </a:lnTo>
                  <a:lnTo>
                    <a:pt x="635" y="204"/>
                  </a:lnTo>
                  <a:lnTo>
                    <a:pt x="635" y="198"/>
                  </a:lnTo>
                  <a:lnTo>
                    <a:pt x="633" y="198"/>
                  </a:lnTo>
                  <a:lnTo>
                    <a:pt x="632" y="195"/>
                  </a:lnTo>
                  <a:lnTo>
                    <a:pt x="629" y="197"/>
                  </a:lnTo>
                  <a:lnTo>
                    <a:pt x="629" y="197"/>
                  </a:lnTo>
                  <a:lnTo>
                    <a:pt x="627" y="197"/>
                  </a:lnTo>
                  <a:lnTo>
                    <a:pt x="625" y="199"/>
                  </a:lnTo>
                  <a:lnTo>
                    <a:pt x="627" y="199"/>
                  </a:lnTo>
                  <a:lnTo>
                    <a:pt x="629" y="198"/>
                  </a:lnTo>
                  <a:lnTo>
                    <a:pt x="631" y="198"/>
                  </a:lnTo>
                  <a:lnTo>
                    <a:pt x="631" y="201"/>
                  </a:lnTo>
                  <a:lnTo>
                    <a:pt x="632" y="201"/>
                  </a:lnTo>
                  <a:lnTo>
                    <a:pt x="633" y="205"/>
                  </a:lnTo>
                  <a:lnTo>
                    <a:pt x="633" y="208"/>
                  </a:lnTo>
                  <a:lnTo>
                    <a:pt x="633" y="209"/>
                  </a:lnTo>
                  <a:lnTo>
                    <a:pt x="635" y="212"/>
                  </a:lnTo>
                  <a:lnTo>
                    <a:pt x="633" y="213"/>
                  </a:lnTo>
                  <a:lnTo>
                    <a:pt x="635" y="214"/>
                  </a:lnTo>
                  <a:lnTo>
                    <a:pt x="635" y="216"/>
                  </a:lnTo>
                  <a:lnTo>
                    <a:pt x="633" y="216"/>
                  </a:lnTo>
                  <a:lnTo>
                    <a:pt x="629" y="213"/>
                  </a:lnTo>
                  <a:lnTo>
                    <a:pt x="629" y="212"/>
                  </a:lnTo>
                  <a:lnTo>
                    <a:pt x="628" y="210"/>
                  </a:lnTo>
                  <a:lnTo>
                    <a:pt x="627" y="209"/>
                  </a:lnTo>
                  <a:lnTo>
                    <a:pt x="625" y="210"/>
                  </a:lnTo>
                  <a:lnTo>
                    <a:pt x="628" y="213"/>
                  </a:lnTo>
                  <a:lnTo>
                    <a:pt x="627" y="214"/>
                  </a:lnTo>
                  <a:lnTo>
                    <a:pt x="624" y="213"/>
                  </a:lnTo>
                  <a:lnTo>
                    <a:pt x="622" y="213"/>
                  </a:lnTo>
                  <a:lnTo>
                    <a:pt x="622" y="212"/>
                  </a:lnTo>
                  <a:lnTo>
                    <a:pt x="621" y="212"/>
                  </a:lnTo>
                  <a:lnTo>
                    <a:pt x="621" y="210"/>
                  </a:lnTo>
                  <a:lnTo>
                    <a:pt x="621" y="208"/>
                  </a:lnTo>
                  <a:lnTo>
                    <a:pt x="622" y="206"/>
                  </a:lnTo>
                  <a:lnTo>
                    <a:pt x="621" y="206"/>
                  </a:lnTo>
                  <a:lnTo>
                    <a:pt x="621" y="205"/>
                  </a:lnTo>
                  <a:lnTo>
                    <a:pt x="617" y="206"/>
                  </a:lnTo>
                  <a:lnTo>
                    <a:pt x="614" y="206"/>
                  </a:lnTo>
                  <a:lnTo>
                    <a:pt x="613" y="205"/>
                  </a:lnTo>
                  <a:lnTo>
                    <a:pt x="610" y="205"/>
                  </a:lnTo>
                  <a:lnTo>
                    <a:pt x="609" y="204"/>
                  </a:lnTo>
                  <a:lnTo>
                    <a:pt x="607" y="205"/>
                  </a:lnTo>
                  <a:lnTo>
                    <a:pt x="609" y="206"/>
                  </a:lnTo>
                  <a:lnTo>
                    <a:pt x="607" y="208"/>
                  </a:lnTo>
                  <a:lnTo>
                    <a:pt x="607" y="210"/>
                  </a:lnTo>
                  <a:lnTo>
                    <a:pt x="609" y="212"/>
                  </a:lnTo>
                  <a:lnTo>
                    <a:pt x="612" y="212"/>
                  </a:lnTo>
                  <a:lnTo>
                    <a:pt x="613" y="214"/>
                  </a:lnTo>
                  <a:lnTo>
                    <a:pt x="612" y="217"/>
                  </a:lnTo>
                  <a:lnTo>
                    <a:pt x="609" y="219"/>
                  </a:lnTo>
                  <a:lnTo>
                    <a:pt x="603" y="221"/>
                  </a:lnTo>
                  <a:lnTo>
                    <a:pt x="602" y="225"/>
                  </a:lnTo>
                  <a:lnTo>
                    <a:pt x="599" y="228"/>
                  </a:lnTo>
                  <a:lnTo>
                    <a:pt x="597" y="228"/>
                  </a:lnTo>
                  <a:lnTo>
                    <a:pt x="595" y="229"/>
                  </a:lnTo>
                  <a:lnTo>
                    <a:pt x="595" y="232"/>
                  </a:lnTo>
                  <a:lnTo>
                    <a:pt x="593" y="232"/>
                  </a:lnTo>
                  <a:lnTo>
                    <a:pt x="586" y="231"/>
                  </a:lnTo>
                  <a:lnTo>
                    <a:pt x="583" y="228"/>
                  </a:lnTo>
                  <a:lnTo>
                    <a:pt x="583" y="225"/>
                  </a:lnTo>
                  <a:lnTo>
                    <a:pt x="579" y="224"/>
                  </a:lnTo>
                  <a:lnTo>
                    <a:pt x="579" y="223"/>
                  </a:lnTo>
                  <a:lnTo>
                    <a:pt x="580" y="223"/>
                  </a:lnTo>
                  <a:lnTo>
                    <a:pt x="582" y="223"/>
                  </a:lnTo>
                  <a:lnTo>
                    <a:pt x="580" y="221"/>
                  </a:lnTo>
                  <a:lnTo>
                    <a:pt x="578" y="221"/>
                  </a:lnTo>
                  <a:lnTo>
                    <a:pt x="575" y="216"/>
                  </a:lnTo>
                  <a:lnTo>
                    <a:pt x="572" y="213"/>
                  </a:lnTo>
                  <a:lnTo>
                    <a:pt x="568" y="213"/>
                  </a:lnTo>
                  <a:lnTo>
                    <a:pt x="564" y="212"/>
                  </a:lnTo>
                  <a:lnTo>
                    <a:pt x="559" y="212"/>
                  </a:lnTo>
                  <a:lnTo>
                    <a:pt x="557" y="210"/>
                  </a:lnTo>
                  <a:lnTo>
                    <a:pt x="557" y="212"/>
                  </a:lnTo>
                  <a:lnTo>
                    <a:pt x="559" y="214"/>
                  </a:lnTo>
                  <a:lnTo>
                    <a:pt x="559" y="213"/>
                  </a:lnTo>
                  <a:lnTo>
                    <a:pt x="560" y="213"/>
                  </a:lnTo>
                  <a:lnTo>
                    <a:pt x="565" y="214"/>
                  </a:lnTo>
                  <a:lnTo>
                    <a:pt x="571" y="214"/>
                  </a:lnTo>
                  <a:lnTo>
                    <a:pt x="572" y="216"/>
                  </a:lnTo>
                  <a:lnTo>
                    <a:pt x="572" y="217"/>
                  </a:lnTo>
                  <a:lnTo>
                    <a:pt x="571" y="217"/>
                  </a:lnTo>
                  <a:lnTo>
                    <a:pt x="569" y="217"/>
                  </a:lnTo>
                  <a:lnTo>
                    <a:pt x="571" y="219"/>
                  </a:lnTo>
                  <a:lnTo>
                    <a:pt x="571" y="223"/>
                  </a:lnTo>
                  <a:lnTo>
                    <a:pt x="572" y="223"/>
                  </a:lnTo>
                  <a:lnTo>
                    <a:pt x="575" y="227"/>
                  </a:lnTo>
                  <a:lnTo>
                    <a:pt x="576" y="231"/>
                  </a:lnTo>
                  <a:lnTo>
                    <a:pt x="580" y="232"/>
                  </a:lnTo>
                  <a:lnTo>
                    <a:pt x="584" y="233"/>
                  </a:lnTo>
                  <a:lnTo>
                    <a:pt x="593" y="235"/>
                  </a:lnTo>
                  <a:lnTo>
                    <a:pt x="594" y="238"/>
                  </a:lnTo>
                  <a:lnTo>
                    <a:pt x="593" y="239"/>
                  </a:lnTo>
                  <a:lnTo>
                    <a:pt x="590" y="240"/>
                  </a:lnTo>
                  <a:lnTo>
                    <a:pt x="587" y="242"/>
                  </a:lnTo>
                  <a:lnTo>
                    <a:pt x="584" y="246"/>
                  </a:lnTo>
                  <a:lnTo>
                    <a:pt x="584" y="246"/>
                  </a:lnTo>
                  <a:lnTo>
                    <a:pt x="583" y="246"/>
                  </a:lnTo>
                  <a:lnTo>
                    <a:pt x="583" y="247"/>
                  </a:lnTo>
                  <a:lnTo>
                    <a:pt x="575" y="255"/>
                  </a:lnTo>
                  <a:lnTo>
                    <a:pt x="572" y="257"/>
                  </a:lnTo>
                  <a:lnTo>
                    <a:pt x="569" y="259"/>
                  </a:lnTo>
                  <a:lnTo>
                    <a:pt x="568" y="261"/>
                  </a:lnTo>
                  <a:lnTo>
                    <a:pt x="567" y="259"/>
                  </a:lnTo>
                  <a:lnTo>
                    <a:pt x="565" y="259"/>
                  </a:lnTo>
                  <a:lnTo>
                    <a:pt x="565" y="261"/>
                  </a:lnTo>
                  <a:lnTo>
                    <a:pt x="563" y="258"/>
                  </a:lnTo>
                  <a:lnTo>
                    <a:pt x="560" y="257"/>
                  </a:lnTo>
                  <a:lnTo>
                    <a:pt x="559" y="258"/>
                  </a:lnTo>
                  <a:lnTo>
                    <a:pt x="559" y="257"/>
                  </a:lnTo>
                  <a:lnTo>
                    <a:pt x="557" y="257"/>
                  </a:lnTo>
                  <a:lnTo>
                    <a:pt x="559" y="254"/>
                  </a:lnTo>
                  <a:lnTo>
                    <a:pt x="559" y="254"/>
                  </a:lnTo>
                  <a:lnTo>
                    <a:pt x="559" y="252"/>
                  </a:lnTo>
                  <a:lnTo>
                    <a:pt x="556" y="254"/>
                  </a:lnTo>
                  <a:lnTo>
                    <a:pt x="554" y="258"/>
                  </a:lnTo>
                  <a:lnTo>
                    <a:pt x="553" y="257"/>
                  </a:lnTo>
                  <a:lnTo>
                    <a:pt x="552" y="252"/>
                  </a:lnTo>
                  <a:lnTo>
                    <a:pt x="552" y="255"/>
                  </a:lnTo>
                  <a:lnTo>
                    <a:pt x="553" y="257"/>
                  </a:lnTo>
                  <a:lnTo>
                    <a:pt x="552" y="262"/>
                  </a:lnTo>
                  <a:lnTo>
                    <a:pt x="549" y="265"/>
                  </a:lnTo>
                  <a:lnTo>
                    <a:pt x="548" y="265"/>
                  </a:lnTo>
                  <a:lnTo>
                    <a:pt x="548" y="263"/>
                  </a:lnTo>
                  <a:lnTo>
                    <a:pt x="546" y="261"/>
                  </a:lnTo>
                  <a:lnTo>
                    <a:pt x="545" y="263"/>
                  </a:lnTo>
                  <a:lnTo>
                    <a:pt x="546" y="265"/>
                  </a:lnTo>
                  <a:lnTo>
                    <a:pt x="545" y="265"/>
                  </a:lnTo>
                  <a:lnTo>
                    <a:pt x="544" y="267"/>
                  </a:lnTo>
                  <a:lnTo>
                    <a:pt x="544" y="267"/>
                  </a:lnTo>
                  <a:lnTo>
                    <a:pt x="541" y="266"/>
                  </a:lnTo>
                  <a:lnTo>
                    <a:pt x="541" y="265"/>
                  </a:lnTo>
                  <a:lnTo>
                    <a:pt x="538" y="263"/>
                  </a:lnTo>
                  <a:lnTo>
                    <a:pt x="537" y="261"/>
                  </a:lnTo>
                  <a:lnTo>
                    <a:pt x="531" y="258"/>
                  </a:lnTo>
                  <a:lnTo>
                    <a:pt x="527" y="257"/>
                  </a:lnTo>
                  <a:lnTo>
                    <a:pt x="526" y="252"/>
                  </a:lnTo>
                  <a:lnTo>
                    <a:pt x="525" y="252"/>
                  </a:lnTo>
                  <a:lnTo>
                    <a:pt x="520" y="250"/>
                  </a:lnTo>
                  <a:lnTo>
                    <a:pt x="519" y="247"/>
                  </a:lnTo>
                  <a:lnTo>
                    <a:pt x="519" y="251"/>
                  </a:lnTo>
                  <a:lnTo>
                    <a:pt x="518" y="251"/>
                  </a:lnTo>
                  <a:lnTo>
                    <a:pt x="519" y="254"/>
                  </a:lnTo>
                  <a:lnTo>
                    <a:pt x="520" y="255"/>
                  </a:lnTo>
                  <a:lnTo>
                    <a:pt x="522" y="255"/>
                  </a:lnTo>
                  <a:lnTo>
                    <a:pt x="520" y="252"/>
                  </a:lnTo>
                  <a:lnTo>
                    <a:pt x="520" y="252"/>
                  </a:lnTo>
                  <a:lnTo>
                    <a:pt x="522" y="252"/>
                  </a:lnTo>
                  <a:lnTo>
                    <a:pt x="527" y="257"/>
                  </a:lnTo>
                  <a:lnTo>
                    <a:pt x="531" y="259"/>
                  </a:lnTo>
                  <a:lnTo>
                    <a:pt x="531" y="261"/>
                  </a:lnTo>
                  <a:lnTo>
                    <a:pt x="529" y="262"/>
                  </a:lnTo>
                  <a:lnTo>
                    <a:pt x="526" y="263"/>
                  </a:lnTo>
                  <a:lnTo>
                    <a:pt x="525" y="262"/>
                  </a:lnTo>
                  <a:lnTo>
                    <a:pt x="525" y="263"/>
                  </a:lnTo>
                  <a:lnTo>
                    <a:pt x="525" y="265"/>
                  </a:lnTo>
                  <a:lnTo>
                    <a:pt x="526" y="265"/>
                  </a:lnTo>
                  <a:lnTo>
                    <a:pt x="530" y="263"/>
                  </a:lnTo>
                  <a:lnTo>
                    <a:pt x="533" y="261"/>
                  </a:lnTo>
                  <a:lnTo>
                    <a:pt x="534" y="261"/>
                  </a:lnTo>
                  <a:lnTo>
                    <a:pt x="535" y="263"/>
                  </a:lnTo>
                  <a:lnTo>
                    <a:pt x="535" y="266"/>
                  </a:lnTo>
                  <a:lnTo>
                    <a:pt x="541" y="270"/>
                  </a:lnTo>
                  <a:lnTo>
                    <a:pt x="539" y="276"/>
                  </a:lnTo>
                  <a:lnTo>
                    <a:pt x="537" y="280"/>
                  </a:lnTo>
                  <a:lnTo>
                    <a:pt x="535" y="280"/>
                  </a:lnTo>
                  <a:lnTo>
                    <a:pt x="534" y="281"/>
                  </a:lnTo>
                  <a:lnTo>
                    <a:pt x="531" y="281"/>
                  </a:lnTo>
                  <a:lnTo>
                    <a:pt x="529" y="280"/>
                  </a:lnTo>
                  <a:lnTo>
                    <a:pt x="523" y="278"/>
                  </a:lnTo>
                  <a:lnTo>
                    <a:pt x="520" y="274"/>
                  </a:lnTo>
                  <a:lnTo>
                    <a:pt x="519" y="270"/>
                  </a:lnTo>
                  <a:lnTo>
                    <a:pt x="518" y="269"/>
                  </a:lnTo>
                  <a:lnTo>
                    <a:pt x="518" y="270"/>
                  </a:lnTo>
                  <a:lnTo>
                    <a:pt x="518" y="272"/>
                  </a:lnTo>
                  <a:lnTo>
                    <a:pt x="518" y="273"/>
                  </a:lnTo>
                  <a:lnTo>
                    <a:pt x="519" y="276"/>
                  </a:lnTo>
                  <a:lnTo>
                    <a:pt x="522" y="281"/>
                  </a:lnTo>
                  <a:lnTo>
                    <a:pt x="523" y="285"/>
                  </a:lnTo>
                  <a:lnTo>
                    <a:pt x="522" y="286"/>
                  </a:lnTo>
                  <a:lnTo>
                    <a:pt x="520" y="285"/>
                  </a:lnTo>
                  <a:lnTo>
                    <a:pt x="519" y="285"/>
                  </a:lnTo>
                  <a:lnTo>
                    <a:pt x="518" y="282"/>
                  </a:lnTo>
                  <a:lnTo>
                    <a:pt x="518" y="284"/>
                  </a:lnTo>
                  <a:lnTo>
                    <a:pt x="516" y="285"/>
                  </a:lnTo>
                  <a:lnTo>
                    <a:pt x="518" y="286"/>
                  </a:lnTo>
                  <a:lnTo>
                    <a:pt x="519" y="286"/>
                  </a:lnTo>
                  <a:lnTo>
                    <a:pt x="520" y="289"/>
                  </a:lnTo>
                  <a:lnTo>
                    <a:pt x="516" y="288"/>
                  </a:lnTo>
                  <a:lnTo>
                    <a:pt x="515" y="286"/>
                  </a:lnTo>
                  <a:lnTo>
                    <a:pt x="515" y="289"/>
                  </a:lnTo>
                  <a:lnTo>
                    <a:pt x="516" y="291"/>
                  </a:lnTo>
                  <a:lnTo>
                    <a:pt x="516" y="292"/>
                  </a:lnTo>
                  <a:lnTo>
                    <a:pt x="514" y="293"/>
                  </a:lnTo>
                  <a:lnTo>
                    <a:pt x="514" y="292"/>
                  </a:lnTo>
                  <a:lnTo>
                    <a:pt x="512" y="291"/>
                  </a:lnTo>
                  <a:lnTo>
                    <a:pt x="514" y="292"/>
                  </a:lnTo>
                  <a:lnTo>
                    <a:pt x="512" y="293"/>
                  </a:lnTo>
                  <a:lnTo>
                    <a:pt x="512" y="293"/>
                  </a:lnTo>
                  <a:lnTo>
                    <a:pt x="510" y="293"/>
                  </a:lnTo>
                  <a:lnTo>
                    <a:pt x="508" y="295"/>
                  </a:lnTo>
                  <a:lnTo>
                    <a:pt x="504" y="296"/>
                  </a:lnTo>
                  <a:lnTo>
                    <a:pt x="507" y="297"/>
                  </a:lnTo>
                  <a:lnTo>
                    <a:pt x="507" y="299"/>
                  </a:lnTo>
                  <a:lnTo>
                    <a:pt x="506" y="299"/>
                  </a:lnTo>
                  <a:lnTo>
                    <a:pt x="506" y="299"/>
                  </a:lnTo>
                  <a:lnTo>
                    <a:pt x="503" y="296"/>
                  </a:lnTo>
                  <a:lnTo>
                    <a:pt x="501" y="296"/>
                  </a:lnTo>
                  <a:lnTo>
                    <a:pt x="501" y="297"/>
                  </a:lnTo>
                  <a:lnTo>
                    <a:pt x="500" y="297"/>
                  </a:lnTo>
                  <a:lnTo>
                    <a:pt x="503" y="300"/>
                  </a:lnTo>
                  <a:lnTo>
                    <a:pt x="501" y="301"/>
                  </a:lnTo>
                  <a:lnTo>
                    <a:pt x="501" y="303"/>
                  </a:lnTo>
                  <a:lnTo>
                    <a:pt x="499" y="303"/>
                  </a:lnTo>
                  <a:lnTo>
                    <a:pt x="497" y="306"/>
                  </a:lnTo>
                  <a:lnTo>
                    <a:pt x="495" y="307"/>
                  </a:lnTo>
                  <a:lnTo>
                    <a:pt x="496" y="308"/>
                  </a:lnTo>
                  <a:lnTo>
                    <a:pt x="495" y="310"/>
                  </a:lnTo>
                  <a:lnTo>
                    <a:pt x="493" y="310"/>
                  </a:lnTo>
                  <a:lnTo>
                    <a:pt x="492" y="312"/>
                  </a:lnTo>
                  <a:lnTo>
                    <a:pt x="492" y="314"/>
                  </a:lnTo>
                  <a:lnTo>
                    <a:pt x="491" y="315"/>
                  </a:lnTo>
                  <a:lnTo>
                    <a:pt x="486" y="318"/>
                  </a:lnTo>
                  <a:lnTo>
                    <a:pt x="485" y="319"/>
                  </a:lnTo>
                  <a:lnTo>
                    <a:pt x="484" y="320"/>
                  </a:lnTo>
                  <a:lnTo>
                    <a:pt x="482" y="323"/>
                  </a:lnTo>
                  <a:lnTo>
                    <a:pt x="480" y="322"/>
                  </a:lnTo>
                  <a:lnTo>
                    <a:pt x="480" y="323"/>
                  </a:lnTo>
                  <a:lnTo>
                    <a:pt x="481" y="326"/>
                  </a:lnTo>
                  <a:lnTo>
                    <a:pt x="478" y="327"/>
                  </a:lnTo>
                  <a:lnTo>
                    <a:pt x="477" y="331"/>
                  </a:lnTo>
                  <a:lnTo>
                    <a:pt x="476" y="334"/>
                  </a:lnTo>
                  <a:lnTo>
                    <a:pt x="476" y="337"/>
                  </a:lnTo>
                  <a:lnTo>
                    <a:pt x="473" y="338"/>
                  </a:lnTo>
                  <a:lnTo>
                    <a:pt x="472" y="344"/>
                  </a:lnTo>
                  <a:lnTo>
                    <a:pt x="473" y="344"/>
                  </a:lnTo>
                  <a:lnTo>
                    <a:pt x="473" y="348"/>
                  </a:lnTo>
                  <a:lnTo>
                    <a:pt x="470" y="350"/>
                  </a:lnTo>
                  <a:lnTo>
                    <a:pt x="470" y="353"/>
                  </a:lnTo>
                  <a:lnTo>
                    <a:pt x="467" y="353"/>
                  </a:lnTo>
                  <a:lnTo>
                    <a:pt x="466" y="354"/>
                  </a:lnTo>
                  <a:lnTo>
                    <a:pt x="469" y="356"/>
                  </a:lnTo>
                  <a:lnTo>
                    <a:pt x="470" y="357"/>
                  </a:lnTo>
                  <a:lnTo>
                    <a:pt x="469" y="359"/>
                  </a:lnTo>
                  <a:lnTo>
                    <a:pt x="470" y="361"/>
                  </a:lnTo>
                  <a:lnTo>
                    <a:pt x="470" y="364"/>
                  </a:lnTo>
                  <a:lnTo>
                    <a:pt x="472" y="364"/>
                  </a:lnTo>
                  <a:lnTo>
                    <a:pt x="469" y="369"/>
                  </a:lnTo>
                  <a:lnTo>
                    <a:pt x="466" y="372"/>
                  </a:lnTo>
                  <a:lnTo>
                    <a:pt x="459" y="373"/>
                  </a:lnTo>
                  <a:lnTo>
                    <a:pt x="458" y="376"/>
                  </a:lnTo>
                  <a:lnTo>
                    <a:pt x="462" y="373"/>
                  </a:lnTo>
                  <a:lnTo>
                    <a:pt x="467" y="373"/>
                  </a:lnTo>
                  <a:lnTo>
                    <a:pt x="472" y="368"/>
                  </a:lnTo>
                  <a:lnTo>
                    <a:pt x="474" y="363"/>
                  </a:lnTo>
                  <a:lnTo>
                    <a:pt x="481" y="363"/>
                  </a:lnTo>
                  <a:lnTo>
                    <a:pt x="482" y="363"/>
                  </a:lnTo>
                  <a:lnTo>
                    <a:pt x="482" y="365"/>
                  </a:lnTo>
                  <a:lnTo>
                    <a:pt x="482" y="368"/>
                  </a:lnTo>
                  <a:lnTo>
                    <a:pt x="482" y="371"/>
                  </a:lnTo>
                  <a:lnTo>
                    <a:pt x="484" y="373"/>
                  </a:lnTo>
                  <a:lnTo>
                    <a:pt x="484" y="379"/>
                  </a:lnTo>
                  <a:lnTo>
                    <a:pt x="481" y="383"/>
                  </a:lnTo>
                  <a:lnTo>
                    <a:pt x="482" y="384"/>
                  </a:lnTo>
                  <a:lnTo>
                    <a:pt x="484" y="390"/>
                  </a:lnTo>
                  <a:lnTo>
                    <a:pt x="482" y="391"/>
                  </a:lnTo>
                  <a:lnTo>
                    <a:pt x="476" y="399"/>
                  </a:lnTo>
                  <a:lnTo>
                    <a:pt x="472" y="399"/>
                  </a:lnTo>
                  <a:lnTo>
                    <a:pt x="470" y="399"/>
                  </a:lnTo>
                  <a:lnTo>
                    <a:pt x="472" y="401"/>
                  </a:lnTo>
                  <a:lnTo>
                    <a:pt x="476" y="401"/>
                  </a:lnTo>
                  <a:lnTo>
                    <a:pt x="484" y="398"/>
                  </a:lnTo>
                  <a:lnTo>
                    <a:pt x="492" y="395"/>
                  </a:lnTo>
                  <a:lnTo>
                    <a:pt x="496" y="395"/>
                  </a:lnTo>
                  <a:lnTo>
                    <a:pt x="501" y="398"/>
                  </a:lnTo>
                  <a:lnTo>
                    <a:pt x="506" y="401"/>
                  </a:lnTo>
                  <a:lnTo>
                    <a:pt x="511" y="403"/>
                  </a:lnTo>
                  <a:lnTo>
                    <a:pt x="512" y="403"/>
                  </a:lnTo>
                  <a:lnTo>
                    <a:pt x="514" y="405"/>
                  </a:lnTo>
                  <a:lnTo>
                    <a:pt x="518" y="409"/>
                  </a:lnTo>
                  <a:lnTo>
                    <a:pt x="519" y="409"/>
                  </a:lnTo>
                  <a:lnTo>
                    <a:pt x="522" y="413"/>
                  </a:lnTo>
                  <a:lnTo>
                    <a:pt x="523" y="414"/>
                  </a:lnTo>
                  <a:lnTo>
                    <a:pt x="523" y="416"/>
                  </a:lnTo>
                  <a:lnTo>
                    <a:pt x="525" y="417"/>
                  </a:lnTo>
                  <a:lnTo>
                    <a:pt x="526" y="421"/>
                  </a:lnTo>
                  <a:lnTo>
                    <a:pt x="526" y="422"/>
                  </a:lnTo>
                  <a:lnTo>
                    <a:pt x="529" y="422"/>
                  </a:lnTo>
                  <a:lnTo>
                    <a:pt x="529" y="424"/>
                  </a:lnTo>
                  <a:lnTo>
                    <a:pt x="534" y="426"/>
                  </a:lnTo>
                  <a:lnTo>
                    <a:pt x="535" y="426"/>
                  </a:lnTo>
                  <a:lnTo>
                    <a:pt x="539" y="429"/>
                  </a:lnTo>
                  <a:lnTo>
                    <a:pt x="541" y="429"/>
                  </a:lnTo>
                  <a:lnTo>
                    <a:pt x="545" y="433"/>
                  </a:lnTo>
                  <a:lnTo>
                    <a:pt x="545" y="435"/>
                  </a:lnTo>
                  <a:lnTo>
                    <a:pt x="548" y="437"/>
                  </a:lnTo>
                  <a:lnTo>
                    <a:pt x="548" y="439"/>
                  </a:lnTo>
                  <a:lnTo>
                    <a:pt x="549" y="440"/>
                  </a:lnTo>
                  <a:lnTo>
                    <a:pt x="552" y="440"/>
                  </a:lnTo>
                  <a:lnTo>
                    <a:pt x="553" y="440"/>
                  </a:lnTo>
                  <a:lnTo>
                    <a:pt x="556" y="440"/>
                  </a:lnTo>
                  <a:lnTo>
                    <a:pt x="561" y="440"/>
                  </a:lnTo>
                  <a:lnTo>
                    <a:pt x="563" y="441"/>
                  </a:lnTo>
                  <a:lnTo>
                    <a:pt x="563" y="441"/>
                  </a:lnTo>
                  <a:lnTo>
                    <a:pt x="567" y="441"/>
                  </a:lnTo>
                  <a:lnTo>
                    <a:pt x="571" y="443"/>
                  </a:lnTo>
                  <a:lnTo>
                    <a:pt x="573" y="441"/>
                  </a:lnTo>
                  <a:lnTo>
                    <a:pt x="575" y="441"/>
                  </a:lnTo>
                  <a:lnTo>
                    <a:pt x="575" y="443"/>
                  </a:lnTo>
                  <a:lnTo>
                    <a:pt x="576" y="443"/>
                  </a:lnTo>
                  <a:lnTo>
                    <a:pt x="578" y="443"/>
                  </a:lnTo>
                  <a:lnTo>
                    <a:pt x="578" y="446"/>
                  </a:lnTo>
                  <a:lnTo>
                    <a:pt x="575" y="451"/>
                  </a:lnTo>
                  <a:lnTo>
                    <a:pt x="575" y="454"/>
                  </a:lnTo>
                  <a:lnTo>
                    <a:pt x="572" y="456"/>
                  </a:lnTo>
                  <a:lnTo>
                    <a:pt x="571" y="459"/>
                  </a:lnTo>
                  <a:lnTo>
                    <a:pt x="571" y="462"/>
                  </a:lnTo>
                  <a:lnTo>
                    <a:pt x="572" y="462"/>
                  </a:lnTo>
                  <a:lnTo>
                    <a:pt x="572" y="467"/>
                  </a:lnTo>
                  <a:lnTo>
                    <a:pt x="569" y="471"/>
                  </a:lnTo>
                  <a:lnTo>
                    <a:pt x="569" y="474"/>
                  </a:lnTo>
                  <a:lnTo>
                    <a:pt x="568" y="477"/>
                  </a:lnTo>
                  <a:lnTo>
                    <a:pt x="567" y="480"/>
                  </a:lnTo>
                  <a:lnTo>
                    <a:pt x="565" y="484"/>
                  </a:lnTo>
                  <a:lnTo>
                    <a:pt x="565" y="485"/>
                  </a:lnTo>
                  <a:lnTo>
                    <a:pt x="568" y="488"/>
                  </a:lnTo>
                  <a:lnTo>
                    <a:pt x="568" y="490"/>
                  </a:lnTo>
                  <a:lnTo>
                    <a:pt x="569" y="492"/>
                  </a:lnTo>
                  <a:lnTo>
                    <a:pt x="571" y="493"/>
                  </a:lnTo>
                  <a:lnTo>
                    <a:pt x="571" y="494"/>
                  </a:lnTo>
                  <a:lnTo>
                    <a:pt x="571" y="496"/>
                  </a:lnTo>
                  <a:lnTo>
                    <a:pt x="571" y="497"/>
                  </a:lnTo>
                  <a:lnTo>
                    <a:pt x="573" y="499"/>
                  </a:lnTo>
                  <a:lnTo>
                    <a:pt x="576" y="500"/>
                  </a:lnTo>
                  <a:lnTo>
                    <a:pt x="576" y="500"/>
                  </a:lnTo>
                  <a:lnTo>
                    <a:pt x="576" y="501"/>
                  </a:lnTo>
                  <a:lnTo>
                    <a:pt x="579" y="504"/>
                  </a:lnTo>
                  <a:lnTo>
                    <a:pt x="579" y="507"/>
                  </a:lnTo>
                  <a:lnTo>
                    <a:pt x="579" y="509"/>
                  </a:lnTo>
                  <a:lnTo>
                    <a:pt x="579" y="512"/>
                  </a:lnTo>
                  <a:lnTo>
                    <a:pt x="573" y="516"/>
                  </a:lnTo>
                  <a:lnTo>
                    <a:pt x="578" y="515"/>
                  </a:lnTo>
                  <a:lnTo>
                    <a:pt x="580" y="512"/>
                  </a:lnTo>
                  <a:lnTo>
                    <a:pt x="583" y="513"/>
                  </a:lnTo>
                  <a:lnTo>
                    <a:pt x="586" y="515"/>
                  </a:lnTo>
                  <a:lnTo>
                    <a:pt x="587" y="515"/>
                  </a:lnTo>
                  <a:lnTo>
                    <a:pt x="588" y="513"/>
                  </a:lnTo>
                  <a:lnTo>
                    <a:pt x="588" y="512"/>
                  </a:lnTo>
                  <a:lnTo>
                    <a:pt x="593" y="507"/>
                  </a:lnTo>
                  <a:lnTo>
                    <a:pt x="593" y="507"/>
                  </a:lnTo>
                  <a:lnTo>
                    <a:pt x="593" y="508"/>
                  </a:lnTo>
                  <a:lnTo>
                    <a:pt x="593" y="509"/>
                  </a:lnTo>
                  <a:lnTo>
                    <a:pt x="594" y="509"/>
                  </a:lnTo>
                  <a:lnTo>
                    <a:pt x="595" y="515"/>
                  </a:lnTo>
                  <a:lnTo>
                    <a:pt x="594" y="518"/>
                  </a:lnTo>
                  <a:lnTo>
                    <a:pt x="597" y="519"/>
                  </a:lnTo>
                  <a:lnTo>
                    <a:pt x="601" y="520"/>
                  </a:lnTo>
                  <a:lnTo>
                    <a:pt x="599" y="519"/>
                  </a:lnTo>
                  <a:lnTo>
                    <a:pt x="597" y="516"/>
                  </a:lnTo>
                  <a:lnTo>
                    <a:pt x="597" y="513"/>
                  </a:lnTo>
                  <a:lnTo>
                    <a:pt x="597" y="509"/>
                  </a:lnTo>
                  <a:lnTo>
                    <a:pt x="598" y="508"/>
                  </a:lnTo>
                  <a:lnTo>
                    <a:pt x="597" y="507"/>
                  </a:lnTo>
                  <a:lnTo>
                    <a:pt x="597" y="505"/>
                  </a:lnTo>
                  <a:lnTo>
                    <a:pt x="598" y="505"/>
                  </a:lnTo>
                  <a:lnTo>
                    <a:pt x="599" y="505"/>
                  </a:lnTo>
                  <a:lnTo>
                    <a:pt x="599" y="501"/>
                  </a:lnTo>
                  <a:lnTo>
                    <a:pt x="602" y="499"/>
                  </a:lnTo>
                  <a:lnTo>
                    <a:pt x="602" y="497"/>
                  </a:lnTo>
                  <a:lnTo>
                    <a:pt x="602" y="494"/>
                  </a:lnTo>
                  <a:lnTo>
                    <a:pt x="601" y="493"/>
                  </a:lnTo>
                  <a:lnTo>
                    <a:pt x="601" y="492"/>
                  </a:lnTo>
                  <a:lnTo>
                    <a:pt x="602" y="489"/>
                  </a:lnTo>
                  <a:lnTo>
                    <a:pt x="602" y="488"/>
                  </a:lnTo>
                  <a:lnTo>
                    <a:pt x="602" y="486"/>
                  </a:lnTo>
                  <a:lnTo>
                    <a:pt x="601" y="485"/>
                  </a:lnTo>
                  <a:lnTo>
                    <a:pt x="599" y="484"/>
                  </a:lnTo>
                  <a:lnTo>
                    <a:pt x="602" y="478"/>
                  </a:lnTo>
                  <a:lnTo>
                    <a:pt x="601" y="475"/>
                  </a:lnTo>
                  <a:lnTo>
                    <a:pt x="602" y="471"/>
                  </a:lnTo>
                  <a:lnTo>
                    <a:pt x="603" y="471"/>
                  </a:lnTo>
                  <a:lnTo>
                    <a:pt x="602" y="469"/>
                  </a:lnTo>
                  <a:lnTo>
                    <a:pt x="603" y="467"/>
                  </a:lnTo>
                  <a:lnTo>
                    <a:pt x="603" y="466"/>
                  </a:lnTo>
                  <a:lnTo>
                    <a:pt x="605" y="465"/>
                  </a:lnTo>
                  <a:lnTo>
                    <a:pt x="603" y="465"/>
                  </a:lnTo>
                  <a:lnTo>
                    <a:pt x="602" y="463"/>
                  </a:lnTo>
                  <a:lnTo>
                    <a:pt x="603" y="462"/>
                  </a:lnTo>
                  <a:lnTo>
                    <a:pt x="602" y="460"/>
                  </a:lnTo>
                  <a:lnTo>
                    <a:pt x="602" y="458"/>
                  </a:lnTo>
                  <a:lnTo>
                    <a:pt x="602" y="456"/>
                  </a:lnTo>
                  <a:lnTo>
                    <a:pt x="601" y="454"/>
                  </a:lnTo>
                  <a:lnTo>
                    <a:pt x="601" y="452"/>
                  </a:lnTo>
                  <a:lnTo>
                    <a:pt x="603" y="451"/>
                  </a:lnTo>
                  <a:lnTo>
                    <a:pt x="609" y="451"/>
                  </a:lnTo>
                  <a:lnTo>
                    <a:pt x="610" y="448"/>
                  </a:lnTo>
                  <a:lnTo>
                    <a:pt x="613" y="450"/>
                  </a:lnTo>
                  <a:lnTo>
                    <a:pt x="614" y="448"/>
                  </a:lnTo>
                  <a:lnTo>
                    <a:pt x="620" y="446"/>
                  </a:lnTo>
                  <a:lnTo>
                    <a:pt x="627" y="443"/>
                  </a:lnTo>
                  <a:lnTo>
                    <a:pt x="627" y="443"/>
                  </a:lnTo>
                  <a:lnTo>
                    <a:pt x="628" y="440"/>
                  </a:lnTo>
                  <a:lnTo>
                    <a:pt x="633" y="439"/>
                  </a:lnTo>
                  <a:lnTo>
                    <a:pt x="633" y="436"/>
                  </a:lnTo>
                  <a:lnTo>
                    <a:pt x="636" y="435"/>
                  </a:lnTo>
                  <a:lnTo>
                    <a:pt x="640" y="431"/>
                  </a:lnTo>
                  <a:lnTo>
                    <a:pt x="641" y="431"/>
                  </a:lnTo>
                  <a:lnTo>
                    <a:pt x="643" y="432"/>
                  </a:lnTo>
                  <a:lnTo>
                    <a:pt x="644" y="431"/>
                  </a:lnTo>
                  <a:lnTo>
                    <a:pt x="647" y="429"/>
                  </a:lnTo>
                  <a:lnTo>
                    <a:pt x="644" y="426"/>
                  </a:lnTo>
                  <a:lnTo>
                    <a:pt x="644" y="424"/>
                  </a:lnTo>
                  <a:lnTo>
                    <a:pt x="643" y="425"/>
                  </a:lnTo>
                  <a:lnTo>
                    <a:pt x="641" y="426"/>
                  </a:lnTo>
                  <a:lnTo>
                    <a:pt x="641" y="428"/>
                  </a:lnTo>
                  <a:lnTo>
                    <a:pt x="641" y="424"/>
                  </a:lnTo>
                  <a:lnTo>
                    <a:pt x="644" y="418"/>
                  </a:lnTo>
                  <a:lnTo>
                    <a:pt x="644" y="418"/>
                  </a:lnTo>
                  <a:lnTo>
                    <a:pt x="644" y="414"/>
                  </a:lnTo>
                  <a:lnTo>
                    <a:pt x="646" y="412"/>
                  </a:lnTo>
                  <a:lnTo>
                    <a:pt x="643" y="407"/>
                  </a:lnTo>
                  <a:lnTo>
                    <a:pt x="644" y="401"/>
                  </a:lnTo>
                  <a:lnTo>
                    <a:pt x="643" y="394"/>
                  </a:lnTo>
                  <a:lnTo>
                    <a:pt x="639" y="388"/>
                  </a:lnTo>
                  <a:lnTo>
                    <a:pt x="637" y="387"/>
                  </a:lnTo>
                  <a:lnTo>
                    <a:pt x="636" y="384"/>
                  </a:lnTo>
                  <a:lnTo>
                    <a:pt x="633" y="384"/>
                  </a:lnTo>
                  <a:lnTo>
                    <a:pt x="633" y="382"/>
                  </a:lnTo>
                  <a:lnTo>
                    <a:pt x="635" y="378"/>
                  </a:lnTo>
                  <a:lnTo>
                    <a:pt x="637" y="376"/>
                  </a:lnTo>
                  <a:lnTo>
                    <a:pt x="643" y="369"/>
                  </a:lnTo>
                  <a:lnTo>
                    <a:pt x="644" y="369"/>
                  </a:lnTo>
                  <a:lnTo>
                    <a:pt x="647" y="368"/>
                  </a:lnTo>
                  <a:lnTo>
                    <a:pt x="647" y="367"/>
                  </a:lnTo>
                  <a:lnTo>
                    <a:pt x="646" y="365"/>
                  </a:lnTo>
                  <a:lnTo>
                    <a:pt x="646" y="365"/>
                  </a:lnTo>
                  <a:lnTo>
                    <a:pt x="648" y="361"/>
                  </a:lnTo>
                  <a:lnTo>
                    <a:pt x="650" y="361"/>
                  </a:lnTo>
                  <a:lnTo>
                    <a:pt x="651" y="364"/>
                  </a:lnTo>
                  <a:lnTo>
                    <a:pt x="652" y="365"/>
                  </a:lnTo>
                  <a:lnTo>
                    <a:pt x="651" y="364"/>
                  </a:lnTo>
                  <a:lnTo>
                    <a:pt x="651" y="361"/>
                  </a:lnTo>
                  <a:lnTo>
                    <a:pt x="654" y="360"/>
                  </a:lnTo>
                  <a:lnTo>
                    <a:pt x="656" y="356"/>
                  </a:lnTo>
                  <a:lnTo>
                    <a:pt x="656" y="354"/>
                  </a:lnTo>
                  <a:lnTo>
                    <a:pt x="652" y="354"/>
                  </a:lnTo>
                  <a:lnTo>
                    <a:pt x="652" y="353"/>
                  </a:lnTo>
                  <a:lnTo>
                    <a:pt x="655" y="350"/>
                  </a:lnTo>
                  <a:lnTo>
                    <a:pt x="654" y="349"/>
                  </a:lnTo>
                  <a:lnTo>
                    <a:pt x="652" y="348"/>
                  </a:lnTo>
                  <a:lnTo>
                    <a:pt x="654" y="346"/>
                  </a:lnTo>
                  <a:lnTo>
                    <a:pt x="656" y="345"/>
                  </a:lnTo>
                  <a:lnTo>
                    <a:pt x="654" y="345"/>
                  </a:lnTo>
                  <a:lnTo>
                    <a:pt x="654" y="344"/>
                  </a:lnTo>
                  <a:lnTo>
                    <a:pt x="655" y="339"/>
                  </a:lnTo>
                  <a:lnTo>
                    <a:pt x="656" y="339"/>
                  </a:lnTo>
                  <a:lnTo>
                    <a:pt x="655" y="338"/>
                  </a:lnTo>
                  <a:lnTo>
                    <a:pt x="651" y="339"/>
                  </a:lnTo>
                  <a:lnTo>
                    <a:pt x="650" y="338"/>
                  </a:lnTo>
                  <a:lnTo>
                    <a:pt x="651" y="337"/>
                  </a:lnTo>
                  <a:lnTo>
                    <a:pt x="655" y="333"/>
                  </a:lnTo>
                  <a:lnTo>
                    <a:pt x="658" y="329"/>
                  </a:lnTo>
                  <a:lnTo>
                    <a:pt x="659" y="326"/>
                  </a:lnTo>
                  <a:lnTo>
                    <a:pt x="661" y="326"/>
                  </a:lnTo>
                  <a:lnTo>
                    <a:pt x="662" y="325"/>
                  </a:lnTo>
                  <a:lnTo>
                    <a:pt x="662" y="322"/>
                  </a:lnTo>
                  <a:lnTo>
                    <a:pt x="661" y="322"/>
                  </a:lnTo>
                  <a:lnTo>
                    <a:pt x="661" y="320"/>
                  </a:lnTo>
                  <a:lnTo>
                    <a:pt x="659" y="320"/>
                  </a:lnTo>
                  <a:lnTo>
                    <a:pt x="658" y="318"/>
                  </a:lnTo>
                  <a:lnTo>
                    <a:pt x="658" y="314"/>
                  </a:lnTo>
                  <a:lnTo>
                    <a:pt x="659" y="310"/>
                  </a:lnTo>
                  <a:lnTo>
                    <a:pt x="659" y="307"/>
                  </a:lnTo>
                  <a:lnTo>
                    <a:pt x="661" y="306"/>
                  </a:lnTo>
                  <a:lnTo>
                    <a:pt x="662" y="307"/>
                  </a:lnTo>
                  <a:lnTo>
                    <a:pt x="663" y="307"/>
                  </a:lnTo>
                  <a:lnTo>
                    <a:pt x="663" y="306"/>
                  </a:lnTo>
                  <a:lnTo>
                    <a:pt x="665" y="304"/>
                  </a:lnTo>
                  <a:lnTo>
                    <a:pt x="666" y="303"/>
                  </a:lnTo>
                  <a:lnTo>
                    <a:pt x="667" y="303"/>
                  </a:lnTo>
                  <a:lnTo>
                    <a:pt x="669" y="304"/>
                  </a:lnTo>
                  <a:lnTo>
                    <a:pt x="673" y="304"/>
                  </a:lnTo>
                  <a:lnTo>
                    <a:pt x="677" y="306"/>
                  </a:lnTo>
                  <a:lnTo>
                    <a:pt x="682" y="310"/>
                  </a:lnTo>
                  <a:lnTo>
                    <a:pt x="685" y="310"/>
                  </a:lnTo>
                  <a:lnTo>
                    <a:pt x="685" y="311"/>
                  </a:lnTo>
                  <a:lnTo>
                    <a:pt x="681" y="312"/>
                  </a:lnTo>
                  <a:lnTo>
                    <a:pt x="685" y="312"/>
                  </a:lnTo>
                  <a:lnTo>
                    <a:pt x="689" y="310"/>
                  </a:lnTo>
                  <a:lnTo>
                    <a:pt x="690" y="310"/>
                  </a:lnTo>
                  <a:lnTo>
                    <a:pt x="692" y="311"/>
                  </a:lnTo>
                  <a:lnTo>
                    <a:pt x="693" y="311"/>
                  </a:lnTo>
                  <a:lnTo>
                    <a:pt x="696" y="314"/>
                  </a:lnTo>
                  <a:lnTo>
                    <a:pt x="696" y="311"/>
                  </a:lnTo>
                  <a:lnTo>
                    <a:pt x="699" y="312"/>
                  </a:lnTo>
                  <a:lnTo>
                    <a:pt x="699" y="311"/>
                  </a:lnTo>
                  <a:lnTo>
                    <a:pt x="701" y="311"/>
                  </a:lnTo>
                  <a:lnTo>
                    <a:pt x="704" y="310"/>
                  </a:lnTo>
                  <a:lnTo>
                    <a:pt x="708" y="312"/>
                  </a:lnTo>
                  <a:lnTo>
                    <a:pt x="708" y="315"/>
                  </a:lnTo>
                  <a:lnTo>
                    <a:pt x="711" y="316"/>
                  </a:lnTo>
                  <a:lnTo>
                    <a:pt x="714" y="316"/>
                  </a:lnTo>
                  <a:lnTo>
                    <a:pt x="714" y="320"/>
                  </a:lnTo>
                  <a:lnTo>
                    <a:pt x="712" y="322"/>
                  </a:lnTo>
                  <a:lnTo>
                    <a:pt x="712" y="325"/>
                  </a:lnTo>
                  <a:lnTo>
                    <a:pt x="714" y="323"/>
                  </a:lnTo>
                  <a:lnTo>
                    <a:pt x="716" y="326"/>
                  </a:lnTo>
                  <a:lnTo>
                    <a:pt x="716" y="327"/>
                  </a:lnTo>
                  <a:lnTo>
                    <a:pt x="715" y="329"/>
                  </a:lnTo>
                  <a:lnTo>
                    <a:pt x="718" y="330"/>
                  </a:lnTo>
                  <a:lnTo>
                    <a:pt x="719" y="329"/>
                  </a:lnTo>
                  <a:lnTo>
                    <a:pt x="720" y="331"/>
                  </a:lnTo>
                  <a:lnTo>
                    <a:pt x="720" y="333"/>
                  </a:lnTo>
                  <a:lnTo>
                    <a:pt x="719" y="331"/>
                  </a:lnTo>
                  <a:lnTo>
                    <a:pt x="718" y="333"/>
                  </a:lnTo>
                  <a:lnTo>
                    <a:pt x="715" y="333"/>
                  </a:lnTo>
                  <a:lnTo>
                    <a:pt x="718" y="337"/>
                  </a:lnTo>
                  <a:lnTo>
                    <a:pt x="718" y="338"/>
                  </a:lnTo>
                  <a:lnTo>
                    <a:pt x="720" y="337"/>
                  </a:lnTo>
                  <a:lnTo>
                    <a:pt x="720" y="338"/>
                  </a:lnTo>
                  <a:lnTo>
                    <a:pt x="722" y="337"/>
                  </a:lnTo>
                  <a:lnTo>
                    <a:pt x="726" y="341"/>
                  </a:lnTo>
                  <a:lnTo>
                    <a:pt x="727" y="339"/>
                  </a:lnTo>
                  <a:lnTo>
                    <a:pt x="729" y="341"/>
                  </a:lnTo>
                  <a:lnTo>
                    <a:pt x="730" y="339"/>
                  </a:lnTo>
                  <a:lnTo>
                    <a:pt x="734" y="341"/>
                  </a:lnTo>
                  <a:lnTo>
                    <a:pt x="733" y="345"/>
                  </a:lnTo>
                  <a:lnTo>
                    <a:pt x="734" y="348"/>
                  </a:lnTo>
                  <a:lnTo>
                    <a:pt x="737" y="345"/>
                  </a:lnTo>
                  <a:lnTo>
                    <a:pt x="738" y="341"/>
                  </a:lnTo>
                  <a:lnTo>
                    <a:pt x="739" y="341"/>
                  </a:lnTo>
                  <a:lnTo>
                    <a:pt x="739" y="345"/>
                  </a:lnTo>
                  <a:lnTo>
                    <a:pt x="739" y="349"/>
                  </a:lnTo>
                  <a:lnTo>
                    <a:pt x="735" y="350"/>
                  </a:lnTo>
                  <a:lnTo>
                    <a:pt x="734" y="353"/>
                  </a:lnTo>
                  <a:lnTo>
                    <a:pt x="734" y="359"/>
                  </a:lnTo>
                  <a:lnTo>
                    <a:pt x="733" y="361"/>
                  </a:lnTo>
                  <a:lnTo>
                    <a:pt x="733" y="359"/>
                  </a:lnTo>
                  <a:lnTo>
                    <a:pt x="731" y="360"/>
                  </a:lnTo>
                  <a:lnTo>
                    <a:pt x="731" y="363"/>
                  </a:lnTo>
                  <a:lnTo>
                    <a:pt x="726" y="363"/>
                  </a:lnTo>
                  <a:lnTo>
                    <a:pt x="719" y="360"/>
                  </a:lnTo>
                  <a:lnTo>
                    <a:pt x="724" y="363"/>
                  </a:lnTo>
                  <a:lnTo>
                    <a:pt x="730" y="364"/>
                  </a:lnTo>
                  <a:lnTo>
                    <a:pt x="733" y="367"/>
                  </a:lnTo>
                  <a:lnTo>
                    <a:pt x="733" y="371"/>
                  </a:lnTo>
                  <a:lnTo>
                    <a:pt x="730" y="373"/>
                  </a:lnTo>
                  <a:lnTo>
                    <a:pt x="730" y="375"/>
                  </a:lnTo>
                  <a:lnTo>
                    <a:pt x="727" y="379"/>
                  </a:lnTo>
                  <a:lnTo>
                    <a:pt x="729" y="379"/>
                  </a:lnTo>
                  <a:lnTo>
                    <a:pt x="731" y="383"/>
                  </a:lnTo>
                  <a:lnTo>
                    <a:pt x="733" y="384"/>
                  </a:lnTo>
                  <a:lnTo>
                    <a:pt x="731" y="384"/>
                  </a:lnTo>
                  <a:lnTo>
                    <a:pt x="727" y="383"/>
                  </a:lnTo>
                  <a:lnTo>
                    <a:pt x="730" y="387"/>
                  </a:lnTo>
                  <a:lnTo>
                    <a:pt x="733" y="388"/>
                  </a:lnTo>
                  <a:lnTo>
                    <a:pt x="734" y="388"/>
                  </a:lnTo>
                  <a:lnTo>
                    <a:pt x="733" y="386"/>
                  </a:lnTo>
                  <a:lnTo>
                    <a:pt x="735" y="386"/>
                  </a:lnTo>
                  <a:lnTo>
                    <a:pt x="737" y="387"/>
                  </a:lnTo>
                  <a:lnTo>
                    <a:pt x="738" y="390"/>
                  </a:lnTo>
                  <a:lnTo>
                    <a:pt x="738" y="393"/>
                  </a:lnTo>
                  <a:lnTo>
                    <a:pt x="738" y="395"/>
                  </a:lnTo>
                  <a:lnTo>
                    <a:pt x="735" y="399"/>
                  </a:lnTo>
                  <a:lnTo>
                    <a:pt x="735" y="401"/>
                  </a:lnTo>
                  <a:lnTo>
                    <a:pt x="734" y="403"/>
                  </a:lnTo>
                  <a:lnTo>
                    <a:pt x="735" y="402"/>
                  </a:lnTo>
                  <a:lnTo>
                    <a:pt x="739" y="397"/>
                  </a:lnTo>
                  <a:lnTo>
                    <a:pt x="742" y="393"/>
                  </a:lnTo>
                  <a:lnTo>
                    <a:pt x="742" y="394"/>
                  </a:lnTo>
                  <a:lnTo>
                    <a:pt x="742" y="395"/>
                  </a:lnTo>
                  <a:lnTo>
                    <a:pt x="742" y="401"/>
                  </a:lnTo>
                  <a:lnTo>
                    <a:pt x="742" y="401"/>
                  </a:lnTo>
                  <a:lnTo>
                    <a:pt x="742" y="403"/>
                  </a:lnTo>
                  <a:lnTo>
                    <a:pt x="741" y="406"/>
                  </a:lnTo>
                  <a:lnTo>
                    <a:pt x="743" y="402"/>
                  </a:lnTo>
                  <a:lnTo>
                    <a:pt x="743" y="399"/>
                  </a:lnTo>
                  <a:lnTo>
                    <a:pt x="746" y="398"/>
                  </a:lnTo>
                  <a:lnTo>
                    <a:pt x="749" y="398"/>
                  </a:lnTo>
                  <a:lnTo>
                    <a:pt x="750" y="395"/>
                  </a:lnTo>
                  <a:lnTo>
                    <a:pt x="752" y="397"/>
                  </a:lnTo>
                  <a:lnTo>
                    <a:pt x="753" y="397"/>
                  </a:lnTo>
                  <a:lnTo>
                    <a:pt x="753" y="395"/>
                  </a:lnTo>
                  <a:lnTo>
                    <a:pt x="756" y="395"/>
                  </a:lnTo>
                  <a:lnTo>
                    <a:pt x="756" y="393"/>
                  </a:lnTo>
                  <a:lnTo>
                    <a:pt x="757" y="391"/>
                  </a:lnTo>
                  <a:lnTo>
                    <a:pt x="761" y="388"/>
                  </a:lnTo>
                  <a:lnTo>
                    <a:pt x="762" y="390"/>
                  </a:lnTo>
                  <a:lnTo>
                    <a:pt x="762" y="394"/>
                  </a:lnTo>
                  <a:lnTo>
                    <a:pt x="762" y="397"/>
                  </a:lnTo>
                  <a:lnTo>
                    <a:pt x="764" y="393"/>
                  </a:lnTo>
                  <a:lnTo>
                    <a:pt x="764" y="390"/>
                  </a:lnTo>
                  <a:lnTo>
                    <a:pt x="765" y="388"/>
                  </a:lnTo>
                  <a:lnTo>
                    <a:pt x="765" y="388"/>
                  </a:lnTo>
                  <a:lnTo>
                    <a:pt x="767" y="386"/>
                  </a:lnTo>
                  <a:lnTo>
                    <a:pt x="768" y="386"/>
                  </a:lnTo>
                  <a:lnTo>
                    <a:pt x="768" y="383"/>
                  </a:lnTo>
                  <a:lnTo>
                    <a:pt x="771" y="382"/>
                  </a:lnTo>
                  <a:lnTo>
                    <a:pt x="772" y="379"/>
                  </a:lnTo>
                  <a:lnTo>
                    <a:pt x="772" y="378"/>
                  </a:lnTo>
                  <a:lnTo>
                    <a:pt x="773" y="378"/>
                  </a:lnTo>
                  <a:lnTo>
                    <a:pt x="776" y="379"/>
                  </a:lnTo>
                  <a:lnTo>
                    <a:pt x="776" y="378"/>
                  </a:lnTo>
                  <a:lnTo>
                    <a:pt x="775" y="376"/>
                  </a:lnTo>
                  <a:lnTo>
                    <a:pt x="773" y="376"/>
                  </a:lnTo>
                  <a:lnTo>
                    <a:pt x="773" y="375"/>
                  </a:lnTo>
                  <a:lnTo>
                    <a:pt x="775" y="371"/>
                  </a:lnTo>
                  <a:lnTo>
                    <a:pt x="776" y="371"/>
                  </a:lnTo>
                  <a:lnTo>
                    <a:pt x="777" y="372"/>
                  </a:lnTo>
                  <a:lnTo>
                    <a:pt x="776" y="369"/>
                  </a:lnTo>
                  <a:lnTo>
                    <a:pt x="777" y="369"/>
                  </a:lnTo>
                  <a:lnTo>
                    <a:pt x="779" y="367"/>
                  </a:lnTo>
                  <a:lnTo>
                    <a:pt x="782" y="364"/>
                  </a:lnTo>
                  <a:lnTo>
                    <a:pt x="782" y="363"/>
                  </a:lnTo>
                  <a:lnTo>
                    <a:pt x="782" y="361"/>
                  </a:lnTo>
                  <a:lnTo>
                    <a:pt x="783" y="359"/>
                  </a:lnTo>
                  <a:lnTo>
                    <a:pt x="786" y="357"/>
                  </a:lnTo>
                  <a:lnTo>
                    <a:pt x="787" y="359"/>
                  </a:lnTo>
                  <a:lnTo>
                    <a:pt x="784" y="360"/>
                  </a:lnTo>
                  <a:lnTo>
                    <a:pt x="787" y="359"/>
                  </a:lnTo>
                  <a:lnTo>
                    <a:pt x="788" y="360"/>
                  </a:lnTo>
                  <a:lnTo>
                    <a:pt x="786" y="361"/>
                  </a:lnTo>
                  <a:lnTo>
                    <a:pt x="786" y="363"/>
                  </a:lnTo>
                  <a:lnTo>
                    <a:pt x="787" y="364"/>
                  </a:lnTo>
                  <a:lnTo>
                    <a:pt x="786" y="365"/>
                  </a:lnTo>
                  <a:lnTo>
                    <a:pt x="784" y="365"/>
                  </a:lnTo>
                  <a:lnTo>
                    <a:pt x="784" y="367"/>
                  </a:lnTo>
                  <a:lnTo>
                    <a:pt x="786" y="367"/>
                  </a:lnTo>
                  <a:lnTo>
                    <a:pt x="788" y="367"/>
                  </a:lnTo>
                  <a:lnTo>
                    <a:pt x="787" y="368"/>
                  </a:lnTo>
                  <a:lnTo>
                    <a:pt x="787" y="369"/>
                  </a:lnTo>
                  <a:lnTo>
                    <a:pt x="788" y="369"/>
                  </a:lnTo>
                  <a:lnTo>
                    <a:pt x="788" y="372"/>
                  </a:lnTo>
                  <a:lnTo>
                    <a:pt x="787" y="372"/>
                  </a:lnTo>
                  <a:lnTo>
                    <a:pt x="787" y="375"/>
                  </a:lnTo>
                  <a:lnTo>
                    <a:pt x="790" y="376"/>
                  </a:lnTo>
                  <a:lnTo>
                    <a:pt x="790" y="380"/>
                  </a:lnTo>
                  <a:lnTo>
                    <a:pt x="788" y="380"/>
                  </a:lnTo>
                  <a:lnTo>
                    <a:pt x="787" y="380"/>
                  </a:lnTo>
                  <a:lnTo>
                    <a:pt x="786" y="380"/>
                  </a:lnTo>
                  <a:lnTo>
                    <a:pt x="787" y="382"/>
                  </a:lnTo>
                  <a:lnTo>
                    <a:pt x="788" y="383"/>
                  </a:lnTo>
                  <a:lnTo>
                    <a:pt x="788" y="383"/>
                  </a:lnTo>
                  <a:lnTo>
                    <a:pt x="791" y="382"/>
                  </a:lnTo>
                  <a:lnTo>
                    <a:pt x="791" y="383"/>
                  </a:lnTo>
                  <a:lnTo>
                    <a:pt x="792" y="384"/>
                  </a:lnTo>
                  <a:lnTo>
                    <a:pt x="791" y="387"/>
                  </a:lnTo>
                  <a:lnTo>
                    <a:pt x="788" y="387"/>
                  </a:lnTo>
                  <a:lnTo>
                    <a:pt x="786" y="387"/>
                  </a:lnTo>
                  <a:lnTo>
                    <a:pt x="784" y="388"/>
                  </a:lnTo>
                  <a:lnTo>
                    <a:pt x="787" y="390"/>
                  </a:lnTo>
                  <a:lnTo>
                    <a:pt x="792" y="388"/>
                  </a:lnTo>
                  <a:lnTo>
                    <a:pt x="794" y="388"/>
                  </a:lnTo>
                  <a:lnTo>
                    <a:pt x="794" y="391"/>
                  </a:lnTo>
                  <a:lnTo>
                    <a:pt x="791" y="393"/>
                  </a:lnTo>
                  <a:lnTo>
                    <a:pt x="792" y="394"/>
                  </a:lnTo>
                  <a:lnTo>
                    <a:pt x="795" y="393"/>
                  </a:lnTo>
                  <a:lnTo>
                    <a:pt x="795" y="395"/>
                  </a:lnTo>
                  <a:lnTo>
                    <a:pt x="792" y="398"/>
                  </a:lnTo>
                  <a:lnTo>
                    <a:pt x="790" y="398"/>
                  </a:lnTo>
                  <a:lnTo>
                    <a:pt x="787" y="397"/>
                  </a:lnTo>
                  <a:lnTo>
                    <a:pt x="787" y="398"/>
                  </a:lnTo>
                  <a:lnTo>
                    <a:pt x="787" y="399"/>
                  </a:lnTo>
                  <a:lnTo>
                    <a:pt x="786" y="402"/>
                  </a:lnTo>
                  <a:lnTo>
                    <a:pt x="790" y="401"/>
                  </a:lnTo>
                  <a:lnTo>
                    <a:pt x="792" y="401"/>
                  </a:lnTo>
                  <a:lnTo>
                    <a:pt x="795" y="399"/>
                  </a:lnTo>
                  <a:lnTo>
                    <a:pt x="796" y="401"/>
                  </a:lnTo>
                  <a:lnTo>
                    <a:pt x="795" y="402"/>
                  </a:lnTo>
                  <a:lnTo>
                    <a:pt x="795" y="402"/>
                  </a:lnTo>
                  <a:lnTo>
                    <a:pt x="792" y="403"/>
                  </a:lnTo>
                  <a:lnTo>
                    <a:pt x="791" y="403"/>
                  </a:lnTo>
                  <a:lnTo>
                    <a:pt x="787" y="407"/>
                  </a:lnTo>
                  <a:lnTo>
                    <a:pt x="791" y="406"/>
                  </a:lnTo>
                  <a:lnTo>
                    <a:pt x="794" y="406"/>
                  </a:lnTo>
                  <a:lnTo>
                    <a:pt x="795" y="406"/>
                  </a:lnTo>
                  <a:lnTo>
                    <a:pt x="798" y="406"/>
                  </a:lnTo>
                  <a:lnTo>
                    <a:pt x="798" y="409"/>
                  </a:lnTo>
                  <a:lnTo>
                    <a:pt x="795" y="409"/>
                  </a:lnTo>
                  <a:lnTo>
                    <a:pt x="792" y="410"/>
                  </a:lnTo>
                  <a:lnTo>
                    <a:pt x="792" y="413"/>
                  </a:lnTo>
                  <a:lnTo>
                    <a:pt x="794" y="412"/>
                  </a:lnTo>
                  <a:lnTo>
                    <a:pt x="796" y="412"/>
                  </a:lnTo>
                  <a:lnTo>
                    <a:pt x="798" y="410"/>
                  </a:lnTo>
                  <a:lnTo>
                    <a:pt x="799" y="413"/>
                  </a:lnTo>
                  <a:lnTo>
                    <a:pt x="801" y="416"/>
                  </a:lnTo>
                  <a:lnTo>
                    <a:pt x="798" y="418"/>
                  </a:lnTo>
                  <a:lnTo>
                    <a:pt x="796" y="417"/>
                  </a:lnTo>
                  <a:lnTo>
                    <a:pt x="795" y="418"/>
                  </a:lnTo>
                  <a:lnTo>
                    <a:pt x="794" y="418"/>
                  </a:lnTo>
                  <a:lnTo>
                    <a:pt x="795" y="420"/>
                  </a:lnTo>
                  <a:lnTo>
                    <a:pt x="796" y="420"/>
                  </a:lnTo>
                  <a:lnTo>
                    <a:pt x="798" y="421"/>
                  </a:lnTo>
                  <a:lnTo>
                    <a:pt x="801" y="421"/>
                  </a:lnTo>
                  <a:lnTo>
                    <a:pt x="801" y="421"/>
                  </a:lnTo>
                  <a:lnTo>
                    <a:pt x="801" y="424"/>
                  </a:lnTo>
                  <a:lnTo>
                    <a:pt x="799" y="424"/>
                  </a:lnTo>
                  <a:lnTo>
                    <a:pt x="801" y="425"/>
                  </a:lnTo>
                  <a:lnTo>
                    <a:pt x="802" y="425"/>
                  </a:lnTo>
                  <a:lnTo>
                    <a:pt x="805" y="426"/>
                  </a:lnTo>
                  <a:lnTo>
                    <a:pt x="805" y="429"/>
                  </a:lnTo>
                  <a:lnTo>
                    <a:pt x="802" y="429"/>
                  </a:lnTo>
                  <a:lnTo>
                    <a:pt x="799" y="432"/>
                  </a:lnTo>
                  <a:lnTo>
                    <a:pt x="798" y="432"/>
                  </a:lnTo>
                  <a:lnTo>
                    <a:pt x="796" y="432"/>
                  </a:lnTo>
                  <a:lnTo>
                    <a:pt x="799" y="433"/>
                  </a:lnTo>
                  <a:lnTo>
                    <a:pt x="799" y="435"/>
                  </a:lnTo>
                  <a:lnTo>
                    <a:pt x="796" y="435"/>
                  </a:lnTo>
                  <a:lnTo>
                    <a:pt x="794" y="433"/>
                  </a:lnTo>
                  <a:lnTo>
                    <a:pt x="791" y="433"/>
                  </a:lnTo>
                  <a:lnTo>
                    <a:pt x="794" y="435"/>
                  </a:lnTo>
                  <a:lnTo>
                    <a:pt x="794" y="437"/>
                  </a:lnTo>
                  <a:lnTo>
                    <a:pt x="796" y="440"/>
                  </a:lnTo>
                  <a:lnTo>
                    <a:pt x="796" y="441"/>
                  </a:lnTo>
                  <a:lnTo>
                    <a:pt x="796" y="441"/>
                  </a:lnTo>
                  <a:lnTo>
                    <a:pt x="794" y="443"/>
                  </a:lnTo>
                  <a:lnTo>
                    <a:pt x="794" y="444"/>
                  </a:lnTo>
                  <a:lnTo>
                    <a:pt x="790" y="443"/>
                  </a:lnTo>
                  <a:lnTo>
                    <a:pt x="794" y="444"/>
                  </a:lnTo>
                  <a:lnTo>
                    <a:pt x="795" y="444"/>
                  </a:lnTo>
                  <a:lnTo>
                    <a:pt x="796" y="443"/>
                  </a:lnTo>
                  <a:lnTo>
                    <a:pt x="799" y="443"/>
                  </a:lnTo>
                  <a:lnTo>
                    <a:pt x="801" y="443"/>
                  </a:lnTo>
                  <a:lnTo>
                    <a:pt x="801" y="444"/>
                  </a:lnTo>
                  <a:lnTo>
                    <a:pt x="802" y="446"/>
                  </a:lnTo>
                  <a:lnTo>
                    <a:pt x="801" y="447"/>
                  </a:lnTo>
                  <a:lnTo>
                    <a:pt x="802" y="447"/>
                  </a:lnTo>
                  <a:lnTo>
                    <a:pt x="802" y="447"/>
                  </a:lnTo>
                  <a:lnTo>
                    <a:pt x="802" y="450"/>
                  </a:lnTo>
                  <a:lnTo>
                    <a:pt x="802" y="450"/>
                  </a:lnTo>
                  <a:lnTo>
                    <a:pt x="805" y="448"/>
                  </a:lnTo>
                  <a:lnTo>
                    <a:pt x="805" y="450"/>
                  </a:lnTo>
                  <a:lnTo>
                    <a:pt x="807" y="450"/>
                  </a:lnTo>
                  <a:lnTo>
                    <a:pt x="806" y="452"/>
                  </a:lnTo>
                  <a:lnTo>
                    <a:pt x="806" y="454"/>
                  </a:lnTo>
                  <a:lnTo>
                    <a:pt x="806" y="455"/>
                  </a:lnTo>
                  <a:lnTo>
                    <a:pt x="807" y="455"/>
                  </a:lnTo>
                  <a:lnTo>
                    <a:pt x="809" y="451"/>
                  </a:lnTo>
                  <a:lnTo>
                    <a:pt x="810" y="452"/>
                  </a:lnTo>
                  <a:lnTo>
                    <a:pt x="809" y="454"/>
                  </a:lnTo>
                  <a:lnTo>
                    <a:pt x="810" y="455"/>
                  </a:lnTo>
                  <a:lnTo>
                    <a:pt x="807" y="458"/>
                  </a:lnTo>
                  <a:lnTo>
                    <a:pt x="805" y="462"/>
                  </a:lnTo>
                  <a:lnTo>
                    <a:pt x="802" y="463"/>
                  </a:lnTo>
                  <a:lnTo>
                    <a:pt x="799" y="463"/>
                  </a:lnTo>
                  <a:lnTo>
                    <a:pt x="802" y="465"/>
                  </a:lnTo>
                  <a:lnTo>
                    <a:pt x="805" y="463"/>
                  </a:lnTo>
                  <a:lnTo>
                    <a:pt x="809" y="459"/>
                  </a:lnTo>
                  <a:lnTo>
                    <a:pt x="810" y="459"/>
                  </a:lnTo>
                  <a:lnTo>
                    <a:pt x="810" y="460"/>
                  </a:lnTo>
                  <a:lnTo>
                    <a:pt x="809" y="462"/>
                  </a:lnTo>
                  <a:lnTo>
                    <a:pt x="807" y="465"/>
                  </a:lnTo>
                  <a:lnTo>
                    <a:pt x="809" y="465"/>
                  </a:lnTo>
                  <a:lnTo>
                    <a:pt x="810" y="462"/>
                  </a:lnTo>
                  <a:lnTo>
                    <a:pt x="813" y="459"/>
                  </a:lnTo>
                  <a:lnTo>
                    <a:pt x="816" y="459"/>
                  </a:lnTo>
                  <a:lnTo>
                    <a:pt x="816" y="460"/>
                  </a:lnTo>
                  <a:lnTo>
                    <a:pt x="814" y="460"/>
                  </a:lnTo>
                  <a:lnTo>
                    <a:pt x="813" y="462"/>
                  </a:lnTo>
                  <a:lnTo>
                    <a:pt x="813" y="463"/>
                  </a:lnTo>
                  <a:lnTo>
                    <a:pt x="817" y="462"/>
                  </a:lnTo>
                  <a:lnTo>
                    <a:pt x="817" y="462"/>
                  </a:lnTo>
                  <a:lnTo>
                    <a:pt x="814" y="465"/>
                  </a:lnTo>
                  <a:lnTo>
                    <a:pt x="813" y="466"/>
                  </a:lnTo>
                  <a:lnTo>
                    <a:pt x="814" y="467"/>
                  </a:lnTo>
                  <a:lnTo>
                    <a:pt x="816" y="466"/>
                  </a:lnTo>
                  <a:lnTo>
                    <a:pt x="820" y="462"/>
                  </a:lnTo>
                  <a:lnTo>
                    <a:pt x="821" y="462"/>
                  </a:lnTo>
                  <a:lnTo>
                    <a:pt x="820" y="463"/>
                  </a:lnTo>
                  <a:lnTo>
                    <a:pt x="820" y="465"/>
                  </a:lnTo>
                  <a:lnTo>
                    <a:pt x="822" y="462"/>
                  </a:lnTo>
                  <a:lnTo>
                    <a:pt x="822" y="463"/>
                  </a:lnTo>
                  <a:lnTo>
                    <a:pt x="822" y="467"/>
                  </a:lnTo>
                  <a:lnTo>
                    <a:pt x="821" y="467"/>
                  </a:lnTo>
                  <a:lnTo>
                    <a:pt x="821" y="469"/>
                  </a:lnTo>
                  <a:lnTo>
                    <a:pt x="824" y="469"/>
                  </a:lnTo>
                  <a:lnTo>
                    <a:pt x="826" y="470"/>
                  </a:lnTo>
                  <a:lnTo>
                    <a:pt x="828" y="467"/>
                  </a:lnTo>
                  <a:lnTo>
                    <a:pt x="832" y="467"/>
                  </a:lnTo>
                  <a:lnTo>
                    <a:pt x="833" y="467"/>
                  </a:lnTo>
                  <a:lnTo>
                    <a:pt x="832" y="470"/>
                  </a:lnTo>
                  <a:lnTo>
                    <a:pt x="830" y="470"/>
                  </a:lnTo>
                  <a:lnTo>
                    <a:pt x="829" y="470"/>
                  </a:lnTo>
                  <a:lnTo>
                    <a:pt x="835" y="473"/>
                  </a:lnTo>
                  <a:lnTo>
                    <a:pt x="837" y="474"/>
                  </a:lnTo>
                  <a:lnTo>
                    <a:pt x="833" y="474"/>
                  </a:lnTo>
                  <a:lnTo>
                    <a:pt x="833" y="475"/>
                  </a:lnTo>
                  <a:lnTo>
                    <a:pt x="829" y="477"/>
                  </a:lnTo>
                  <a:lnTo>
                    <a:pt x="828" y="475"/>
                  </a:lnTo>
                  <a:lnTo>
                    <a:pt x="825" y="477"/>
                  </a:lnTo>
                  <a:lnTo>
                    <a:pt x="822" y="480"/>
                  </a:lnTo>
                  <a:lnTo>
                    <a:pt x="818" y="480"/>
                  </a:lnTo>
                  <a:lnTo>
                    <a:pt x="811" y="481"/>
                  </a:lnTo>
                  <a:lnTo>
                    <a:pt x="811" y="482"/>
                  </a:lnTo>
                  <a:lnTo>
                    <a:pt x="816" y="481"/>
                  </a:lnTo>
                  <a:lnTo>
                    <a:pt x="821" y="480"/>
                  </a:lnTo>
                  <a:lnTo>
                    <a:pt x="822" y="480"/>
                  </a:lnTo>
                  <a:lnTo>
                    <a:pt x="822" y="481"/>
                  </a:lnTo>
                  <a:lnTo>
                    <a:pt x="818" y="482"/>
                  </a:lnTo>
                  <a:lnTo>
                    <a:pt x="814" y="482"/>
                  </a:lnTo>
                  <a:lnTo>
                    <a:pt x="810" y="485"/>
                  </a:lnTo>
                  <a:lnTo>
                    <a:pt x="809" y="486"/>
                  </a:lnTo>
                  <a:lnTo>
                    <a:pt x="806" y="486"/>
                  </a:lnTo>
                  <a:lnTo>
                    <a:pt x="805" y="488"/>
                  </a:lnTo>
                  <a:lnTo>
                    <a:pt x="805" y="489"/>
                  </a:lnTo>
                  <a:lnTo>
                    <a:pt x="801" y="486"/>
                  </a:lnTo>
                  <a:lnTo>
                    <a:pt x="798" y="482"/>
                  </a:lnTo>
                  <a:lnTo>
                    <a:pt x="798" y="485"/>
                  </a:lnTo>
                  <a:lnTo>
                    <a:pt x="798" y="485"/>
                  </a:lnTo>
                  <a:lnTo>
                    <a:pt x="799" y="486"/>
                  </a:lnTo>
                  <a:lnTo>
                    <a:pt x="799" y="488"/>
                  </a:lnTo>
                  <a:lnTo>
                    <a:pt x="805" y="492"/>
                  </a:lnTo>
                  <a:lnTo>
                    <a:pt x="803" y="493"/>
                  </a:lnTo>
                  <a:lnTo>
                    <a:pt x="802" y="492"/>
                  </a:lnTo>
                  <a:lnTo>
                    <a:pt x="801" y="493"/>
                  </a:lnTo>
                  <a:lnTo>
                    <a:pt x="802" y="496"/>
                  </a:lnTo>
                  <a:lnTo>
                    <a:pt x="803" y="496"/>
                  </a:lnTo>
                  <a:lnTo>
                    <a:pt x="803" y="494"/>
                  </a:lnTo>
                  <a:lnTo>
                    <a:pt x="805" y="494"/>
                  </a:lnTo>
                  <a:lnTo>
                    <a:pt x="807" y="490"/>
                  </a:lnTo>
                  <a:lnTo>
                    <a:pt x="810" y="490"/>
                  </a:lnTo>
                  <a:lnTo>
                    <a:pt x="813" y="489"/>
                  </a:lnTo>
                  <a:lnTo>
                    <a:pt x="814" y="489"/>
                  </a:lnTo>
                  <a:lnTo>
                    <a:pt x="816" y="486"/>
                  </a:lnTo>
                  <a:lnTo>
                    <a:pt x="818" y="484"/>
                  </a:lnTo>
                  <a:lnTo>
                    <a:pt x="821" y="484"/>
                  </a:lnTo>
                  <a:lnTo>
                    <a:pt x="824" y="482"/>
                  </a:lnTo>
                  <a:lnTo>
                    <a:pt x="828" y="482"/>
                  </a:lnTo>
                  <a:lnTo>
                    <a:pt x="829" y="482"/>
                  </a:lnTo>
                  <a:lnTo>
                    <a:pt x="829" y="481"/>
                  </a:lnTo>
                  <a:lnTo>
                    <a:pt x="826" y="481"/>
                  </a:lnTo>
                  <a:lnTo>
                    <a:pt x="825" y="481"/>
                  </a:lnTo>
                  <a:lnTo>
                    <a:pt x="826" y="480"/>
                  </a:lnTo>
                  <a:lnTo>
                    <a:pt x="832" y="480"/>
                  </a:lnTo>
                  <a:lnTo>
                    <a:pt x="836" y="481"/>
                  </a:lnTo>
                  <a:lnTo>
                    <a:pt x="837" y="484"/>
                  </a:lnTo>
                  <a:lnTo>
                    <a:pt x="837" y="486"/>
                  </a:lnTo>
                  <a:lnTo>
                    <a:pt x="835" y="489"/>
                  </a:lnTo>
                  <a:lnTo>
                    <a:pt x="833" y="489"/>
                  </a:lnTo>
                  <a:lnTo>
                    <a:pt x="832" y="490"/>
                  </a:lnTo>
                  <a:lnTo>
                    <a:pt x="835" y="490"/>
                  </a:lnTo>
                  <a:lnTo>
                    <a:pt x="836" y="493"/>
                  </a:lnTo>
                  <a:lnTo>
                    <a:pt x="836" y="492"/>
                  </a:lnTo>
                  <a:lnTo>
                    <a:pt x="837" y="489"/>
                  </a:lnTo>
                  <a:lnTo>
                    <a:pt x="841" y="488"/>
                  </a:lnTo>
                  <a:lnTo>
                    <a:pt x="843" y="488"/>
                  </a:lnTo>
                  <a:lnTo>
                    <a:pt x="844" y="489"/>
                  </a:lnTo>
                  <a:lnTo>
                    <a:pt x="843" y="489"/>
                  </a:lnTo>
                  <a:lnTo>
                    <a:pt x="843" y="490"/>
                  </a:lnTo>
                  <a:lnTo>
                    <a:pt x="845" y="490"/>
                  </a:lnTo>
                  <a:lnTo>
                    <a:pt x="848" y="492"/>
                  </a:lnTo>
                  <a:lnTo>
                    <a:pt x="850" y="493"/>
                  </a:lnTo>
                  <a:lnTo>
                    <a:pt x="847" y="492"/>
                  </a:lnTo>
                  <a:lnTo>
                    <a:pt x="845" y="493"/>
                  </a:lnTo>
                  <a:lnTo>
                    <a:pt x="847" y="494"/>
                  </a:lnTo>
                  <a:lnTo>
                    <a:pt x="850" y="496"/>
                  </a:lnTo>
                  <a:lnTo>
                    <a:pt x="851" y="497"/>
                  </a:lnTo>
                  <a:lnTo>
                    <a:pt x="848" y="499"/>
                  </a:lnTo>
                  <a:lnTo>
                    <a:pt x="847" y="499"/>
                  </a:lnTo>
                  <a:lnTo>
                    <a:pt x="844" y="500"/>
                  </a:lnTo>
                  <a:lnTo>
                    <a:pt x="848" y="501"/>
                  </a:lnTo>
                  <a:lnTo>
                    <a:pt x="847" y="504"/>
                  </a:lnTo>
                  <a:lnTo>
                    <a:pt x="845" y="504"/>
                  </a:lnTo>
                  <a:lnTo>
                    <a:pt x="845" y="507"/>
                  </a:lnTo>
                  <a:lnTo>
                    <a:pt x="843" y="507"/>
                  </a:lnTo>
                  <a:lnTo>
                    <a:pt x="840" y="505"/>
                  </a:lnTo>
                  <a:lnTo>
                    <a:pt x="841" y="507"/>
                  </a:lnTo>
                  <a:lnTo>
                    <a:pt x="845" y="508"/>
                  </a:lnTo>
                  <a:lnTo>
                    <a:pt x="847" y="508"/>
                  </a:lnTo>
                  <a:lnTo>
                    <a:pt x="848" y="511"/>
                  </a:lnTo>
                  <a:lnTo>
                    <a:pt x="847" y="511"/>
                  </a:lnTo>
                  <a:lnTo>
                    <a:pt x="844" y="511"/>
                  </a:lnTo>
                  <a:lnTo>
                    <a:pt x="844" y="511"/>
                  </a:lnTo>
                  <a:lnTo>
                    <a:pt x="845" y="512"/>
                  </a:lnTo>
                  <a:lnTo>
                    <a:pt x="847" y="511"/>
                  </a:lnTo>
                  <a:lnTo>
                    <a:pt x="848" y="512"/>
                  </a:lnTo>
                  <a:lnTo>
                    <a:pt x="847" y="515"/>
                  </a:lnTo>
                  <a:lnTo>
                    <a:pt x="847" y="516"/>
                  </a:lnTo>
                  <a:lnTo>
                    <a:pt x="845" y="516"/>
                  </a:lnTo>
                  <a:lnTo>
                    <a:pt x="844" y="518"/>
                  </a:lnTo>
                  <a:lnTo>
                    <a:pt x="841" y="520"/>
                  </a:lnTo>
                  <a:lnTo>
                    <a:pt x="839" y="520"/>
                  </a:lnTo>
                  <a:lnTo>
                    <a:pt x="836" y="523"/>
                  </a:lnTo>
                  <a:lnTo>
                    <a:pt x="835" y="523"/>
                  </a:lnTo>
                  <a:lnTo>
                    <a:pt x="833" y="524"/>
                  </a:lnTo>
                  <a:lnTo>
                    <a:pt x="832" y="524"/>
                  </a:lnTo>
                  <a:lnTo>
                    <a:pt x="832" y="526"/>
                  </a:lnTo>
                  <a:lnTo>
                    <a:pt x="829" y="526"/>
                  </a:lnTo>
                  <a:lnTo>
                    <a:pt x="828" y="524"/>
                  </a:lnTo>
                  <a:lnTo>
                    <a:pt x="826" y="526"/>
                  </a:lnTo>
                  <a:lnTo>
                    <a:pt x="825" y="526"/>
                  </a:lnTo>
                  <a:lnTo>
                    <a:pt x="824" y="524"/>
                  </a:lnTo>
                  <a:lnTo>
                    <a:pt x="822" y="527"/>
                  </a:lnTo>
                  <a:lnTo>
                    <a:pt x="820" y="526"/>
                  </a:lnTo>
                  <a:lnTo>
                    <a:pt x="818" y="524"/>
                  </a:lnTo>
                  <a:lnTo>
                    <a:pt x="817" y="526"/>
                  </a:lnTo>
                  <a:lnTo>
                    <a:pt x="818" y="527"/>
                  </a:lnTo>
                  <a:lnTo>
                    <a:pt x="816" y="527"/>
                  </a:lnTo>
                  <a:lnTo>
                    <a:pt x="813" y="527"/>
                  </a:lnTo>
                  <a:lnTo>
                    <a:pt x="813" y="528"/>
                  </a:lnTo>
                  <a:lnTo>
                    <a:pt x="813" y="528"/>
                  </a:lnTo>
                  <a:lnTo>
                    <a:pt x="813" y="530"/>
                  </a:lnTo>
                  <a:lnTo>
                    <a:pt x="811" y="531"/>
                  </a:lnTo>
                  <a:lnTo>
                    <a:pt x="810" y="531"/>
                  </a:lnTo>
                  <a:lnTo>
                    <a:pt x="810" y="533"/>
                  </a:lnTo>
                  <a:lnTo>
                    <a:pt x="809" y="537"/>
                  </a:lnTo>
                  <a:lnTo>
                    <a:pt x="806" y="537"/>
                  </a:lnTo>
                  <a:lnTo>
                    <a:pt x="806" y="537"/>
                  </a:lnTo>
                  <a:lnTo>
                    <a:pt x="803" y="538"/>
                  </a:lnTo>
                  <a:lnTo>
                    <a:pt x="802" y="541"/>
                  </a:lnTo>
                  <a:lnTo>
                    <a:pt x="801" y="541"/>
                  </a:lnTo>
                  <a:lnTo>
                    <a:pt x="799" y="541"/>
                  </a:lnTo>
                  <a:lnTo>
                    <a:pt x="798" y="541"/>
                  </a:lnTo>
                  <a:lnTo>
                    <a:pt x="796" y="542"/>
                  </a:lnTo>
                  <a:lnTo>
                    <a:pt x="795" y="543"/>
                  </a:lnTo>
                  <a:lnTo>
                    <a:pt x="794" y="542"/>
                  </a:lnTo>
                  <a:lnTo>
                    <a:pt x="790" y="542"/>
                  </a:lnTo>
                  <a:lnTo>
                    <a:pt x="788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79" y="545"/>
                  </a:lnTo>
                  <a:lnTo>
                    <a:pt x="777" y="543"/>
                  </a:lnTo>
                  <a:lnTo>
                    <a:pt x="777" y="542"/>
                  </a:lnTo>
                  <a:lnTo>
                    <a:pt x="776" y="542"/>
                  </a:lnTo>
                  <a:lnTo>
                    <a:pt x="773" y="542"/>
                  </a:lnTo>
                  <a:lnTo>
                    <a:pt x="772" y="543"/>
                  </a:lnTo>
                  <a:lnTo>
                    <a:pt x="769" y="541"/>
                  </a:lnTo>
                  <a:lnTo>
                    <a:pt x="768" y="542"/>
                  </a:lnTo>
                  <a:lnTo>
                    <a:pt x="765" y="541"/>
                  </a:lnTo>
                  <a:lnTo>
                    <a:pt x="762" y="539"/>
                  </a:lnTo>
                  <a:lnTo>
                    <a:pt x="761" y="539"/>
                  </a:lnTo>
                  <a:lnTo>
                    <a:pt x="760" y="541"/>
                  </a:lnTo>
                  <a:lnTo>
                    <a:pt x="757" y="541"/>
                  </a:lnTo>
                  <a:lnTo>
                    <a:pt x="754" y="539"/>
                  </a:lnTo>
                  <a:lnTo>
                    <a:pt x="752" y="541"/>
                  </a:lnTo>
                  <a:lnTo>
                    <a:pt x="750" y="541"/>
                  </a:lnTo>
                  <a:lnTo>
                    <a:pt x="748" y="539"/>
                  </a:lnTo>
                  <a:lnTo>
                    <a:pt x="746" y="541"/>
                  </a:lnTo>
                  <a:lnTo>
                    <a:pt x="745" y="539"/>
                  </a:lnTo>
                  <a:lnTo>
                    <a:pt x="742" y="539"/>
                  </a:lnTo>
                  <a:lnTo>
                    <a:pt x="739" y="538"/>
                  </a:lnTo>
                  <a:lnTo>
                    <a:pt x="734" y="539"/>
                  </a:lnTo>
                  <a:lnTo>
                    <a:pt x="731" y="538"/>
                  </a:lnTo>
                  <a:lnTo>
                    <a:pt x="730" y="537"/>
                  </a:lnTo>
                  <a:lnTo>
                    <a:pt x="727" y="537"/>
                  </a:lnTo>
                  <a:lnTo>
                    <a:pt x="726" y="538"/>
                  </a:lnTo>
                  <a:lnTo>
                    <a:pt x="727" y="539"/>
                  </a:lnTo>
                  <a:lnTo>
                    <a:pt x="726" y="541"/>
                  </a:lnTo>
                  <a:lnTo>
                    <a:pt x="724" y="541"/>
                  </a:lnTo>
                  <a:lnTo>
                    <a:pt x="720" y="545"/>
                  </a:lnTo>
                  <a:lnTo>
                    <a:pt x="718" y="546"/>
                  </a:lnTo>
                  <a:lnTo>
                    <a:pt x="718" y="547"/>
                  </a:lnTo>
                  <a:lnTo>
                    <a:pt x="716" y="549"/>
                  </a:lnTo>
                  <a:lnTo>
                    <a:pt x="716" y="552"/>
                  </a:lnTo>
                  <a:lnTo>
                    <a:pt x="715" y="554"/>
                  </a:lnTo>
                  <a:lnTo>
                    <a:pt x="711" y="554"/>
                  </a:lnTo>
                  <a:lnTo>
                    <a:pt x="709" y="556"/>
                  </a:lnTo>
                  <a:lnTo>
                    <a:pt x="705" y="556"/>
                  </a:lnTo>
                  <a:lnTo>
                    <a:pt x="703" y="558"/>
                  </a:lnTo>
                  <a:lnTo>
                    <a:pt x="701" y="558"/>
                  </a:lnTo>
                  <a:lnTo>
                    <a:pt x="701" y="557"/>
                  </a:lnTo>
                  <a:lnTo>
                    <a:pt x="699" y="558"/>
                  </a:lnTo>
                  <a:lnTo>
                    <a:pt x="699" y="561"/>
                  </a:lnTo>
                  <a:lnTo>
                    <a:pt x="696" y="561"/>
                  </a:lnTo>
                  <a:lnTo>
                    <a:pt x="693" y="564"/>
                  </a:lnTo>
                  <a:lnTo>
                    <a:pt x="693" y="564"/>
                  </a:lnTo>
                  <a:lnTo>
                    <a:pt x="692" y="565"/>
                  </a:lnTo>
                  <a:lnTo>
                    <a:pt x="689" y="569"/>
                  </a:lnTo>
                  <a:lnTo>
                    <a:pt x="684" y="572"/>
                  </a:lnTo>
                  <a:lnTo>
                    <a:pt x="682" y="576"/>
                  </a:lnTo>
                  <a:lnTo>
                    <a:pt x="680" y="577"/>
                  </a:lnTo>
                  <a:lnTo>
                    <a:pt x="677" y="580"/>
                  </a:lnTo>
                  <a:lnTo>
                    <a:pt x="674" y="580"/>
                  </a:lnTo>
                  <a:lnTo>
                    <a:pt x="674" y="583"/>
                  </a:lnTo>
                  <a:lnTo>
                    <a:pt x="673" y="586"/>
                  </a:lnTo>
                  <a:lnTo>
                    <a:pt x="667" y="588"/>
                  </a:lnTo>
                  <a:lnTo>
                    <a:pt x="666" y="591"/>
                  </a:lnTo>
                  <a:lnTo>
                    <a:pt x="661" y="594"/>
                  </a:lnTo>
                  <a:lnTo>
                    <a:pt x="656" y="594"/>
                  </a:lnTo>
                  <a:lnTo>
                    <a:pt x="659" y="594"/>
                  </a:lnTo>
                  <a:lnTo>
                    <a:pt x="666" y="592"/>
                  </a:lnTo>
                  <a:lnTo>
                    <a:pt x="671" y="590"/>
                  </a:lnTo>
                  <a:lnTo>
                    <a:pt x="675" y="587"/>
                  </a:lnTo>
                  <a:lnTo>
                    <a:pt x="678" y="583"/>
                  </a:lnTo>
                  <a:lnTo>
                    <a:pt x="681" y="580"/>
                  </a:lnTo>
                  <a:lnTo>
                    <a:pt x="682" y="579"/>
                  </a:lnTo>
                  <a:lnTo>
                    <a:pt x="688" y="573"/>
                  </a:lnTo>
                  <a:lnTo>
                    <a:pt x="696" y="568"/>
                  </a:lnTo>
                  <a:lnTo>
                    <a:pt x="701" y="565"/>
                  </a:lnTo>
                  <a:lnTo>
                    <a:pt x="705" y="564"/>
                  </a:lnTo>
                  <a:lnTo>
                    <a:pt x="708" y="562"/>
                  </a:lnTo>
                  <a:lnTo>
                    <a:pt x="714" y="561"/>
                  </a:lnTo>
                  <a:lnTo>
                    <a:pt x="722" y="560"/>
                  </a:lnTo>
                  <a:lnTo>
                    <a:pt x="723" y="558"/>
                  </a:lnTo>
                  <a:lnTo>
                    <a:pt x="726" y="557"/>
                  </a:lnTo>
                  <a:lnTo>
                    <a:pt x="734" y="558"/>
                  </a:lnTo>
                  <a:lnTo>
                    <a:pt x="738" y="560"/>
                  </a:lnTo>
                  <a:lnTo>
                    <a:pt x="742" y="562"/>
                  </a:lnTo>
                  <a:lnTo>
                    <a:pt x="742" y="564"/>
                  </a:lnTo>
                  <a:lnTo>
                    <a:pt x="739" y="562"/>
                  </a:lnTo>
                  <a:lnTo>
                    <a:pt x="739" y="564"/>
                  </a:lnTo>
                  <a:lnTo>
                    <a:pt x="739" y="564"/>
                  </a:lnTo>
                  <a:lnTo>
                    <a:pt x="741" y="564"/>
                  </a:lnTo>
                  <a:lnTo>
                    <a:pt x="743" y="565"/>
                  </a:lnTo>
                  <a:lnTo>
                    <a:pt x="745" y="567"/>
                  </a:lnTo>
                  <a:lnTo>
                    <a:pt x="743" y="567"/>
                  </a:lnTo>
                  <a:lnTo>
                    <a:pt x="743" y="568"/>
                  </a:lnTo>
                  <a:lnTo>
                    <a:pt x="742" y="572"/>
                  </a:lnTo>
                  <a:lnTo>
                    <a:pt x="739" y="572"/>
                  </a:lnTo>
                  <a:lnTo>
                    <a:pt x="738" y="575"/>
                  </a:lnTo>
                  <a:lnTo>
                    <a:pt x="735" y="575"/>
                  </a:lnTo>
                  <a:lnTo>
                    <a:pt x="733" y="577"/>
                  </a:lnTo>
                  <a:lnTo>
                    <a:pt x="730" y="576"/>
                  </a:lnTo>
                  <a:lnTo>
                    <a:pt x="729" y="575"/>
                  </a:lnTo>
                  <a:lnTo>
                    <a:pt x="726" y="575"/>
                  </a:lnTo>
                  <a:lnTo>
                    <a:pt x="724" y="575"/>
                  </a:lnTo>
                  <a:lnTo>
                    <a:pt x="722" y="576"/>
                  </a:lnTo>
                  <a:lnTo>
                    <a:pt x="719" y="575"/>
                  </a:lnTo>
                  <a:lnTo>
                    <a:pt x="715" y="576"/>
                  </a:lnTo>
                  <a:lnTo>
                    <a:pt x="719" y="576"/>
                  </a:lnTo>
                  <a:lnTo>
                    <a:pt x="722" y="576"/>
                  </a:lnTo>
                  <a:lnTo>
                    <a:pt x="727" y="577"/>
                  </a:lnTo>
                  <a:lnTo>
                    <a:pt x="727" y="580"/>
                  </a:lnTo>
                  <a:lnTo>
                    <a:pt x="729" y="581"/>
                  </a:lnTo>
                  <a:lnTo>
                    <a:pt x="731" y="580"/>
                  </a:lnTo>
                  <a:lnTo>
                    <a:pt x="733" y="579"/>
                  </a:lnTo>
                  <a:lnTo>
                    <a:pt x="735" y="579"/>
                  </a:lnTo>
                  <a:lnTo>
                    <a:pt x="737" y="580"/>
                  </a:lnTo>
                  <a:lnTo>
                    <a:pt x="738" y="580"/>
                  </a:lnTo>
                  <a:lnTo>
                    <a:pt x="738" y="581"/>
                  </a:lnTo>
                  <a:lnTo>
                    <a:pt x="737" y="583"/>
                  </a:lnTo>
                  <a:lnTo>
                    <a:pt x="733" y="588"/>
                  </a:lnTo>
                  <a:lnTo>
                    <a:pt x="731" y="590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2"/>
                  </a:lnTo>
                  <a:lnTo>
                    <a:pt x="733" y="594"/>
                  </a:lnTo>
                  <a:lnTo>
                    <a:pt x="735" y="595"/>
                  </a:lnTo>
                  <a:lnTo>
                    <a:pt x="734" y="598"/>
                  </a:lnTo>
                  <a:lnTo>
                    <a:pt x="735" y="600"/>
                  </a:lnTo>
                  <a:lnTo>
                    <a:pt x="735" y="602"/>
                  </a:lnTo>
                  <a:lnTo>
                    <a:pt x="737" y="605"/>
                  </a:lnTo>
                  <a:lnTo>
                    <a:pt x="739" y="605"/>
                  </a:lnTo>
                  <a:lnTo>
                    <a:pt x="741" y="606"/>
                  </a:lnTo>
                  <a:lnTo>
                    <a:pt x="743" y="606"/>
                  </a:lnTo>
                  <a:lnTo>
                    <a:pt x="743" y="607"/>
                  </a:lnTo>
                  <a:lnTo>
                    <a:pt x="741" y="609"/>
                  </a:lnTo>
                  <a:lnTo>
                    <a:pt x="743" y="610"/>
                  </a:lnTo>
                  <a:lnTo>
                    <a:pt x="748" y="610"/>
                  </a:lnTo>
                  <a:lnTo>
                    <a:pt x="750" y="611"/>
                  </a:lnTo>
                  <a:lnTo>
                    <a:pt x="750" y="611"/>
                  </a:lnTo>
                  <a:lnTo>
                    <a:pt x="754" y="611"/>
                  </a:lnTo>
                  <a:lnTo>
                    <a:pt x="754" y="613"/>
                  </a:lnTo>
                  <a:lnTo>
                    <a:pt x="758" y="614"/>
                  </a:lnTo>
                  <a:lnTo>
                    <a:pt x="760" y="613"/>
                  </a:lnTo>
                  <a:lnTo>
                    <a:pt x="762" y="610"/>
                  </a:lnTo>
                  <a:lnTo>
                    <a:pt x="762" y="613"/>
                  </a:lnTo>
                  <a:lnTo>
                    <a:pt x="762" y="613"/>
                  </a:lnTo>
                  <a:lnTo>
                    <a:pt x="765" y="614"/>
                  </a:lnTo>
                  <a:lnTo>
                    <a:pt x="769" y="615"/>
                  </a:lnTo>
                  <a:lnTo>
                    <a:pt x="769" y="617"/>
                  </a:lnTo>
                  <a:lnTo>
                    <a:pt x="768" y="617"/>
                  </a:lnTo>
                  <a:lnTo>
                    <a:pt x="767" y="618"/>
                  </a:lnTo>
                  <a:lnTo>
                    <a:pt x="769" y="620"/>
                  </a:lnTo>
                  <a:lnTo>
                    <a:pt x="771" y="618"/>
                  </a:lnTo>
                  <a:lnTo>
                    <a:pt x="772" y="620"/>
                  </a:lnTo>
                  <a:lnTo>
                    <a:pt x="771" y="621"/>
                  </a:lnTo>
                  <a:lnTo>
                    <a:pt x="769" y="621"/>
                  </a:lnTo>
                  <a:lnTo>
                    <a:pt x="767" y="621"/>
                  </a:lnTo>
                  <a:lnTo>
                    <a:pt x="764" y="621"/>
                  </a:lnTo>
                  <a:lnTo>
                    <a:pt x="758" y="625"/>
                  </a:lnTo>
                  <a:lnTo>
                    <a:pt x="756" y="625"/>
                  </a:lnTo>
                  <a:lnTo>
                    <a:pt x="752" y="625"/>
                  </a:lnTo>
                  <a:lnTo>
                    <a:pt x="748" y="626"/>
                  </a:lnTo>
                  <a:lnTo>
                    <a:pt x="745" y="629"/>
                  </a:lnTo>
                  <a:lnTo>
                    <a:pt x="742" y="629"/>
                  </a:lnTo>
                  <a:lnTo>
                    <a:pt x="743" y="629"/>
                  </a:lnTo>
                  <a:lnTo>
                    <a:pt x="739" y="629"/>
                  </a:lnTo>
                  <a:lnTo>
                    <a:pt x="739" y="626"/>
                  </a:lnTo>
                  <a:lnTo>
                    <a:pt x="738" y="626"/>
                  </a:lnTo>
                  <a:lnTo>
                    <a:pt x="737" y="628"/>
                  </a:lnTo>
                  <a:lnTo>
                    <a:pt x="735" y="628"/>
                  </a:lnTo>
                  <a:lnTo>
                    <a:pt x="734" y="630"/>
                  </a:lnTo>
                  <a:lnTo>
                    <a:pt x="734" y="632"/>
                  </a:lnTo>
                  <a:lnTo>
                    <a:pt x="731" y="634"/>
                  </a:lnTo>
                  <a:lnTo>
                    <a:pt x="729" y="639"/>
                  </a:lnTo>
                  <a:lnTo>
                    <a:pt x="726" y="639"/>
                  </a:lnTo>
                  <a:lnTo>
                    <a:pt x="723" y="641"/>
                  </a:lnTo>
                  <a:lnTo>
                    <a:pt x="722" y="641"/>
                  </a:lnTo>
                  <a:lnTo>
                    <a:pt x="720" y="641"/>
                  </a:lnTo>
                  <a:lnTo>
                    <a:pt x="720" y="644"/>
                  </a:lnTo>
                  <a:lnTo>
                    <a:pt x="719" y="644"/>
                  </a:lnTo>
                  <a:lnTo>
                    <a:pt x="718" y="644"/>
                  </a:lnTo>
                  <a:lnTo>
                    <a:pt x="718" y="644"/>
                  </a:lnTo>
                  <a:lnTo>
                    <a:pt x="715" y="643"/>
                  </a:lnTo>
                  <a:lnTo>
                    <a:pt x="715" y="640"/>
                  </a:lnTo>
                  <a:lnTo>
                    <a:pt x="714" y="640"/>
                  </a:lnTo>
                  <a:lnTo>
                    <a:pt x="712" y="640"/>
                  </a:lnTo>
                  <a:lnTo>
                    <a:pt x="712" y="639"/>
                  </a:lnTo>
                  <a:lnTo>
                    <a:pt x="711" y="636"/>
                  </a:lnTo>
                  <a:lnTo>
                    <a:pt x="712" y="633"/>
                  </a:lnTo>
                  <a:lnTo>
                    <a:pt x="714" y="629"/>
                  </a:lnTo>
                  <a:lnTo>
                    <a:pt x="716" y="628"/>
                  </a:lnTo>
                  <a:lnTo>
                    <a:pt x="716" y="625"/>
                  </a:lnTo>
                  <a:lnTo>
                    <a:pt x="720" y="622"/>
                  </a:lnTo>
                  <a:lnTo>
                    <a:pt x="726" y="622"/>
                  </a:lnTo>
                  <a:lnTo>
                    <a:pt x="730" y="620"/>
                  </a:lnTo>
                  <a:lnTo>
                    <a:pt x="734" y="618"/>
                  </a:lnTo>
                  <a:lnTo>
                    <a:pt x="735" y="618"/>
                  </a:lnTo>
                  <a:lnTo>
                    <a:pt x="735" y="621"/>
                  </a:lnTo>
                  <a:lnTo>
                    <a:pt x="737" y="622"/>
                  </a:lnTo>
                  <a:lnTo>
                    <a:pt x="737" y="621"/>
                  </a:lnTo>
                  <a:lnTo>
                    <a:pt x="737" y="620"/>
                  </a:lnTo>
                  <a:lnTo>
                    <a:pt x="739" y="620"/>
                  </a:lnTo>
                  <a:lnTo>
                    <a:pt x="742" y="618"/>
                  </a:lnTo>
                  <a:lnTo>
                    <a:pt x="745" y="617"/>
                  </a:lnTo>
                  <a:lnTo>
                    <a:pt x="742" y="617"/>
                  </a:lnTo>
                  <a:lnTo>
                    <a:pt x="737" y="617"/>
                  </a:lnTo>
                  <a:lnTo>
                    <a:pt x="735" y="615"/>
                  </a:lnTo>
                  <a:lnTo>
                    <a:pt x="733" y="615"/>
                  </a:lnTo>
                  <a:lnTo>
                    <a:pt x="731" y="618"/>
                  </a:lnTo>
                  <a:lnTo>
                    <a:pt x="729" y="617"/>
                  </a:lnTo>
                  <a:lnTo>
                    <a:pt x="731" y="614"/>
                  </a:lnTo>
                  <a:lnTo>
                    <a:pt x="733" y="614"/>
                  </a:lnTo>
                  <a:lnTo>
                    <a:pt x="735" y="611"/>
                  </a:lnTo>
                  <a:lnTo>
                    <a:pt x="735" y="610"/>
                  </a:lnTo>
                  <a:lnTo>
                    <a:pt x="734" y="611"/>
                  </a:lnTo>
                  <a:lnTo>
                    <a:pt x="734" y="610"/>
                  </a:lnTo>
                  <a:lnTo>
                    <a:pt x="731" y="613"/>
                  </a:lnTo>
                  <a:lnTo>
                    <a:pt x="730" y="613"/>
                  </a:lnTo>
                  <a:lnTo>
                    <a:pt x="727" y="615"/>
                  </a:lnTo>
                  <a:lnTo>
                    <a:pt x="724" y="617"/>
                  </a:lnTo>
                  <a:lnTo>
                    <a:pt x="723" y="618"/>
                  </a:lnTo>
                  <a:lnTo>
                    <a:pt x="718" y="620"/>
                  </a:lnTo>
                  <a:lnTo>
                    <a:pt x="718" y="618"/>
                  </a:lnTo>
                  <a:lnTo>
                    <a:pt x="718" y="617"/>
                  </a:lnTo>
                  <a:lnTo>
                    <a:pt x="716" y="617"/>
                  </a:lnTo>
                  <a:lnTo>
                    <a:pt x="718" y="614"/>
                  </a:lnTo>
                  <a:lnTo>
                    <a:pt x="716" y="617"/>
                  </a:lnTo>
                  <a:lnTo>
                    <a:pt x="715" y="620"/>
                  </a:lnTo>
                  <a:lnTo>
                    <a:pt x="712" y="620"/>
                  </a:lnTo>
                  <a:lnTo>
                    <a:pt x="711" y="620"/>
                  </a:lnTo>
                  <a:lnTo>
                    <a:pt x="709" y="621"/>
                  </a:lnTo>
                  <a:lnTo>
                    <a:pt x="708" y="620"/>
                  </a:lnTo>
                  <a:lnTo>
                    <a:pt x="707" y="618"/>
                  </a:lnTo>
                  <a:lnTo>
                    <a:pt x="705" y="618"/>
                  </a:lnTo>
                  <a:lnTo>
                    <a:pt x="701" y="618"/>
                  </a:lnTo>
                  <a:lnTo>
                    <a:pt x="701" y="618"/>
                  </a:lnTo>
                  <a:lnTo>
                    <a:pt x="701" y="617"/>
                  </a:lnTo>
                  <a:lnTo>
                    <a:pt x="701" y="617"/>
                  </a:lnTo>
                  <a:lnTo>
                    <a:pt x="701" y="615"/>
                  </a:lnTo>
                  <a:lnTo>
                    <a:pt x="701" y="614"/>
                  </a:lnTo>
                  <a:lnTo>
                    <a:pt x="701" y="611"/>
                  </a:lnTo>
                  <a:lnTo>
                    <a:pt x="700" y="611"/>
                  </a:lnTo>
                  <a:lnTo>
                    <a:pt x="700" y="610"/>
                  </a:lnTo>
                  <a:lnTo>
                    <a:pt x="699" y="609"/>
                  </a:lnTo>
                  <a:lnTo>
                    <a:pt x="699" y="607"/>
                  </a:lnTo>
                  <a:lnTo>
                    <a:pt x="701" y="592"/>
                  </a:lnTo>
                  <a:lnTo>
                    <a:pt x="701" y="588"/>
                  </a:lnTo>
                  <a:lnTo>
                    <a:pt x="697" y="584"/>
                  </a:lnTo>
                  <a:lnTo>
                    <a:pt x="696" y="586"/>
                  </a:lnTo>
                  <a:lnTo>
                    <a:pt x="693" y="584"/>
                  </a:lnTo>
                  <a:lnTo>
                    <a:pt x="690" y="586"/>
                  </a:lnTo>
                  <a:lnTo>
                    <a:pt x="689" y="584"/>
                  </a:lnTo>
                  <a:lnTo>
                    <a:pt x="688" y="583"/>
                  </a:lnTo>
                  <a:lnTo>
                    <a:pt x="686" y="583"/>
                  </a:lnTo>
                  <a:lnTo>
                    <a:pt x="685" y="586"/>
                  </a:lnTo>
                  <a:lnTo>
                    <a:pt x="684" y="587"/>
                  </a:lnTo>
                  <a:lnTo>
                    <a:pt x="680" y="591"/>
                  </a:lnTo>
                  <a:lnTo>
                    <a:pt x="677" y="594"/>
                  </a:lnTo>
                  <a:lnTo>
                    <a:pt x="678" y="596"/>
                  </a:lnTo>
                  <a:lnTo>
                    <a:pt x="674" y="598"/>
                  </a:lnTo>
                  <a:lnTo>
                    <a:pt x="674" y="600"/>
                  </a:lnTo>
                  <a:lnTo>
                    <a:pt x="673" y="603"/>
                  </a:lnTo>
                  <a:lnTo>
                    <a:pt x="670" y="606"/>
                  </a:lnTo>
                  <a:lnTo>
                    <a:pt x="669" y="607"/>
                  </a:lnTo>
                  <a:lnTo>
                    <a:pt x="665" y="611"/>
                  </a:lnTo>
                  <a:lnTo>
                    <a:pt x="665" y="613"/>
                  </a:lnTo>
                  <a:lnTo>
                    <a:pt x="663" y="614"/>
                  </a:lnTo>
                  <a:lnTo>
                    <a:pt x="661" y="613"/>
                  </a:lnTo>
                  <a:lnTo>
                    <a:pt x="659" y="613"/>
                  </a:lnTo>
                  <a:lnTo>
                    <a:pt x="658" y="614"/>
                  </a:lnTo>
                  <a:lnTo>
                    <a:pt x="658" y="614"/>
                  </a:lnTo>
                  <a:lnTo>
                    <a:pt x="655" y="617"/>
                  </a:lnTo>
                  <a:lnTo>
                    <a:pt x="621" y="617"/>
                  </a:lnTo>
                  <a:lnTo>
                    <a:pt x="617" y="617"/>
                  </a:lnTo>
                  <a:lnTo>
                    <a:pt x="614" y="618"/>
                  </a:lnTo>
                  <a:lnTo>
                    <a:pt x="612" y="620"/>
                  </a:lnTo>
                  <a:lnTo>
                    <a:pt x="609" y="622"/>
                  </a:lnTo>
                  <a:lnTo>
                    <a:pt x="603" y="626"/>
                  </a:lnTo>
                  <a:lnTo>
                    <a:pt x="601" y="628"/>
                  </a:lnTo>
                  <a:lnTo>
                    <a:pt x="599" y="629"/>
                  </a:lnTo>
                  <a:lnTo>
                    <a:pt x="588" y="636"/>
                  </a:lnTo>
                  <a:lnTo>
                    <a:pt x="567" y="643"/>
                  </a:lnTo>
                  <a:lnTo>
                    <a:pt x="565" y="648"/>
                  </a:lnTo>
                  <a:lnTo>
                    <a:pt x="561" y="651"/>
                  </a:lnTo>
                  <a:lnTo>
                    <a:pt x="520" y="662"/>
                  </a:lnTo>
                  <a:lnTo>
                    <a:pt x="519" y="658"/>
                  </a:lnTo>
                  <a:lnTo>
                    <a:pt x="520" y="655"/>
                  </a:lnTo>
                  <a:lnTo>
                    <a:pt x="526" y="652"/>
                  </a:lnTo>
                  <a:lnTo>
                    <a:pt x="527" y="649"/>
                  </a:lnTo>
                  <a:lnTo>
                    <a:pt x="529" y="648"/>
                  </a:lnTo>
                  <a:lnTo>
                    <a:pt x="530" y="644"/>
                  </a:lnTo>
                  <a:lnTo>
                    <a:pt x="530" y="629"/>
                  </a:lnTo>
                  <a:lnTo>
                    <a:pt x="523" y="594"/>
                  </a:lnTo>
                  <a:lnTo>
                    <a:pt x="516" y="587"/>
                  </a:lnTo>
                  <a:lnTo>
                    <a:pt x="512" y="584"/>
                  </a:lnTo>
                  <a:lnTo>
                    <a:pt x="466" y="561"/>
                  </a:lnTo>
                  <a:lnTo>
                    <a:pt x="465" y="561"/>
                  </a:lnTo>
                  <a:lnTo>
                    <a:pt x="462" y="560"/>
                  </a:lnTo>
                  <a:lnTo>
                    <a:pt x="461" y="558"/>
                  </a:lnTo>
                  <a:lnTo>
                    <a:pt x="455" y="558"/>
                  </a:lnTo>
                  <a:lnTo>
                    <a:pt x="454" y="557"/>
                  </a:lnTo>
                  <a:lnTo>
                    <a:pt x="452" y="556"/>
                  </a:lnTo>
                  <a:lnTo>
                    <a:pt x="451" y="557"/>
                  </a:lnTo>
                  <a:lnTo>
                    <a:pt x="447" y="557"/>
                  </a:lnTo>
                  <a:lnTo>
                    <a:pt x="446" y="556"/>
                  </a:lnTo>
                  <a:lnTo>
                    <a:pt x="443" y="554"/>
                  </a:lnTo>
                  <a:lnTo>
                    <a:pt x="442" y="553"/>
                  </a:lnTo>
                  <a:lnTo>
                    <a:pt x="438" y="552"/>
                  </a:lnTo>
                  <a:lnTo>
                    <a:pt x="436" y="549"/>
                  </a:lnTo>
                  <a:lnTo>
                    <a:pt x="435" y="549"/>
                  </a:lnTo>
                  <a:lnTo>
                    <a:pt x="432" y="547"/>
                  </a:lnTo>
                  <a:lnTo>
                    <a:pt x="429" y="547"/>
                  </a:lnTo>
                  <a:lnTo>
                    <a:pt x="428" y="547"/>
                  </a:lnTo>
                  <a:lnTo>
                    <a:pt x="425" y="547"/>
                  </a:lnTo>
                  <a:lnTo>
                    <a:pt x="424" y="547"/>
                  </a:lnTo>
                  <a:lnTo>
                    <a:pt x="424" y="546"/>
                  </a:lnTo>
                  <a:lnTo>
                    <a:pt x="421" y="546"/>
                  </a:lnTo>
                  <a:lnTo>
                    <a:pt x="421" y="545"/>
                  </a:lnTo>
                  <a:lnTo>
                    <a:pt x="418" y="545"/>
                  </a:lnTo>
                  <a:lnTo>
                    <a:pt x="417" y="543"/>
                  </a:lnTo>
                  <a:lnTo>
                    <a:pt x="416" y="542"/>
                  </a:lnTo>
                  <a:lnTo>
                    <a:pt x="416" y="541"/>
                  </a:lnTo>
                  <a:lnTo>
                    <a:pt x="413" y="539"/>
                  </a:lnTo>
                  <a:lnTo>
                    <a:pt x="410" y="539"/>
                  </a:lnTo>
                  <a:lnTo>
                    <a:pt x="409" y="539"/>
                  </a:lnTo>
                  <a:lnTo>
                    <a:pt x="104" y="50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1" name="Freeform 142"/>
            <p:cNvSpPr>
              <a:spLocks/>
            </p:cNvSpPr>
            <p:nvPr/>
          </p:nvSpPr>
          <p:spPr bwMode="auto">
            <a:xfrm>
              <a:off x="1111" y="1762"/>
              <a:ext cx="34" cy="23"/>
            </a:xfrm>
            <a:custGeom>
              <a:avLst/>
              <a:gdLst>
                <a:gd name="T0" fmla="*/ 28 w 34"/>
                <a:gd name="T1" fmla="*/ 21 h 23"/>
                <a:gd name="T2" fmla="*/ 28 w 34"/>
                <a:gd name="T3" fmla="*/ 20 h 23"/>
                <a:gd name="T4" fmla="*/ 31 w 34"/>
                <a:gd name="T5" fmla="*/ 17 h 23"/>
                <a:gd name="T6" fmla="*/ 31 w 34"/>
                <a:gd name="T7" fmla="*/ 16 h 23"/>
                <a:gd name="T8" fmla="*/ 31 w 34"/>
                <a:gd name="T9" fmla="*/ 14 h 23"/>
                <a:gd name="T10" fmla="*/ 29 w 34"/>
                <a:gd name="T11" fmla="*/ 12 h 23"/>
                <a:gd name="T12" fmla="*/ 29 w 34"/>
                <a:gd name="T13" fmla="*/ 10 h 23"/>
                <a:gd name="T14" fmla="*/ 32 w 34"/>
                <a:gd name="T15" fmla="*/ 9 h 23"/>
                <a:gd name="T16" fmla="*/ 32 w 34"/>
                <a:gd name="T17" fmla="*/ 8 h 23"/>
                <a:gd name="T18" fmla="*/ 32 w 34"/>
                <a:gd name="T19" fmla="*/ 5 h 23"/>
                <a:gd name="T20" fmla="*/ 34 w 34"/>
                <a:gd name="T21" fmla="*/ 4 h 23"/>
                <a:gd name="T22" fmla="*/ 32 w 34"/>
                <a:gd name="T23" fmla="*/ 2 h 23"/>
                <a:gd name="T24" fmla="*/ 32 w 34"/>
                <a:gd name="T25" fmla="*/ 2 h 23"/>
                <a:gd name="T26" fmla="*/ 31 w 34"/>
                <a:gd name="T27" fmla="*/ 1 h 23"/>
                <a:gd name="T28" fmla="*/ 28 w 34"/>
                <a:gd name="T29" fmla="*/ 2 h 23"/>
                <a:gd name="T30" fmla="*/ 27 w 34"/>
                <a:gd name="T31" fmla="*/ 0 h 23"/>
                <a:gd name="T32" fmla="*/ 21 w 34"/>
                <a:gd name="T33" fmla="*/ 0 h 23"/>
                <a:gd name="T34" fmla="*/ 20 w 34"/>
                <a:gd name="T35" fmla="*/ 0 h 23"/>
                <a:gd name="T36" fmla="*/ 19 w 34"/>
                <a:gd name="T37" fmla="*/ 0 h 23"/>
                <a:gd name="T38" fmla="*/ 13 w 34"/>
                <a:gd name="T39" fmla="*/ 0 h 23"/>
                <a:gd name="T40" fmla="*/ 13 w 34"/>
                <a:gd name="T41" fmla="*/ 1 h 23"/>
                <a:gd name="T42" fmla="*/ 13 w 34"/>
                <a:gd name="T43" fmla="*/ 1 h 23"/>
                <a:gd name="T44" fmla="*/ 16 w 34"/>
                <a:gd name="T45" fmla="*/ 2 h 23"/>
                <a:gd name="T46" fmla="*/ 21 w 34"/>
                <a:gd name="T47" fmla="*/ 4 h 23"/>
                <a:gd name="T48" fmla="*/ 21 w 34"/>
                <a:gd name="T49" fmla="*/ 5 h 23"/>
                <a:gd name="T50" fmla="*/ 21 w 34"/>
                <a:gd name="T51" fmla="*/ 8 h 23"/>
                <a:gd name="T52" fmla="*/ 21 w 34"/>
                <a:gd name="T53" fmla="*/ 10 h 23"/>
                <a:gd name="T54" fmla="*/ 21 w 34"/>
                <a:gd name="T55" fmla="*/ 12 h 23"/>
                <a:gd name="T56" fmla="*/ 24 w 34"/>
                <a:gd name="T57" fmla="*/ 13 h 23"/>
                <a:gd name="T58" fmla="*/ 27 w 34"/>
                <a:gd name="T59" fmla="*/ 14 h 23"/>
                <a:gd name="T60" fmla="*/ 25 w 34"/>
                <a:gd name="T61" fmla="*/ 16 h 23"/>
                <a:gd name="T62" fmla="*/ 21 w 34"/>
                <a:gd name="T63" fmla="*/ 16 h 23"/>
                <a:gd name="T64" fmla="*/ 20 w 34"/>
                <a:gd name="T65" fmla="*/ 17 h 23"/>
                <a:gd name="T66" fmla="*/ 19 w 34"/>
                <a:gd name="T67" fmla="*/ 16 h 23"/>
                <a:gd name="T68" fmla="*/ 16 w 34"/>
                <a:gd name="T69" fmla="*/ 17 h 23"/>
                <a:gd name="T70" fmla="*/ 13 w 34"/>
                <a:gd name="T71" fmla="*/ 16 h 23"/>
                <a:gd name="T72" fmla="*/ 10 w 34"/>
                <a:gd name="T73" fmla="*/ 17 h 23"/>
                <a:gd name="T74" fmla="*/ 10 w 34"/>
                <a:gd name="T75" fmla="*/ 16 h 23"/>
                <a:gd name="T76" fmla="*/ 9 w 34"/>
                <a:gd name="T77" fmla="*/ 16 h 23"/>
                <a:gd name="T78" fmla="*/ 5 w 34"/>
                <a:gd name="T79" fmla="*/ 16 h 23"/>
                <a:gd name="T80" fmla="*/ 4 w 34"/>
                <a:gd name="T81" fmla="*/ 14 h 23"/>
                <a:gd name="T82" fmla="*/ 1 w 34"/>
                <a:gd name="T83" fmla="*/ 16 h 23"/>
                <a:gd name="T84" fmla="*/ 0 w 34"/>
                <a:gd name="T85" fmla="*/ 17 h 23"/>
                <a:gd name="T86" fmla="*/ 1 w 34"/>
                <a:gd name="T87" fmla="*/ 19 h 23"/>
                <a:gd name="T88" fmla="*/ 4 w 34"/>
                <a:gd name="T89" fmla="*/ 20 h 23"/>
                <a:gd name="T90" fmla="*/ 6 w 34"/>
                <a:gd name="T91" fmla="*/ 23 h 23"/>
                <a:gd name="T92" fmla="*/ 8 w 34"/>
                <a:gd name="T93" fmla="*/ 23 h 23"/>
                <a:gd name="T94" fmla="*/ 8 w 34"/>
                <a:gd name="T95" fmla="*/ 21 h 23"/>
                <a:gd name="T96" fmla="*/ 9 w 34"/>
                <a:gd name="T97" fmla="*/ 20 h 23"/>
                <a:gd name="T98" fmla="*/ 15 w 34"/>
                <a:gd name="T99" fmla="*/ 20 h 23"/>
                <a:gd name="T100" fmla="*/ 17 w 34"/>
                <a:gd name="T101" fmla="*/ 21 h 23"/>
                <a:gd name="T102" fmla="*/ 23 w 34"/>
                <a:gd name="T103" fmla="*/ 21 h 23"/>
                <a:gd name="T104" fmla="*/ 24 w 34"/>
                <a:gd name="T105" fmla="*/ 20 h 23"/>
                <a:gd name="T106" fmla="*/ 27 w 34"/>
                <a:gd name="T107" fmla="*/ 21 h 23"/>
                <a:gd name="T108" fmla="*/ 28 w 34"/>
                <a:gd name="T109" fmla="*/ 21 h 23"/>
                <a:gd name="T110" fmla="*/ 28 w 34"/>
                <a:gd name="T111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" h="23">
                  <a:moveTo>
                    <a:pt x="28" y="21"/>
                  </a:moveTo>
                  <a:lnTo>
                    <a:pt x="28" y="20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29" y="12"/>
                  </a:lnTo>
                  <a:lnTo>
                    <a:pt x="29" y="10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5"/>
                  </a:lnTo>
                  <a:lnTo>
                    <a:pt x="34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1" y="1"/>
                  </a:lnTo>
                  <a:lnTo>
                    <a:pt x="28" y="2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6" y="2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1" y="12"/>
                  </a:lnTo>
                  <a:lnTo>
                    <a:pt x="24" y="13"/>
                  </a:lnTo>
                  <a:lnTo>
                    <a:pt x="27" y="14"/>
                  </a:lnTo>
                  <a:lnTo>
                    <a:pt x="25" y="16"/>
                  </a:lnTo>
                  <a:lnTo>
                    <a:pt x="21" y="16"/>
                  </a:lnTo>
                  <a:lnTo>
                    <a:pt x="20" y="17"/>
                  </a:lnTo>
                  <a:lnTo>
                    <a:pt x="19" y="16"/>
                  </a:lnTo>
                  <a:lnTo>
                    <a:pt x="16" y="17"/>
                  </a:lnTo>
                  <a:lnTo>
                    <a:pt x="13" y="16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5" y="16"/>
                  </a:lnTo>
                  <a:lnTo>
                    <a:pt x="4" y="14"/>
                  </a:lnTo>
                  <a:lnTo>
                    <a:pt x="1" y="16"/>
                  </a:lnTo>
                  <a:lnTo>
                    <a:pt x="0" y="17"/>
                  </a:lnTo>
                  <a:lnTo>
                    <a:pt x="1" y="19"/>
                  </a:lnTo>
                  <a:lnTo>
                    <a:pt x="4" y="20"/>
                  </a:lnTo>
                  <a:lnTo>
                    <a:pt x="6" y="23"/>
                  </a:lnTo>
                  <a:lnTo>
                    <a:pt x="8" y="23"/>
                  </a:lnTo>
                  <a:lnTo>
                    <a:pt x="8" y="21"/>
                  </a:lnTo>
                  <a:lnTo>
                    <a:pt x="9" y="20"/>
                  </a:lnTo>
                  <a:lnTo>
                    <a:pt x="15" y="20"/>
                  </a:lnTo>
                  <a:lnTo>
                    <a:pt x="17" y="21"/>
                  </a:lnTo>
                  <a:lnTo>
                    <a:pt x="23" y="21"/>
                  </a:lnTo>
                  <a:lnTo>
                    <a:pt x="24" y="20"/>
                  </a:lnTo>
                  <a:lnTo>
                    <a:pt x="27" y="21"/>
                  </a:lnTo>
                  <a:lnTo>
                    <a:pt x="28" y="21"/>
                  </a:lnTo>
                  <a:lnTo>
                    <a:pt x="28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2" name="Freeform 143"/>
            <p:cNvSpPr>
              <a:spLocks/>
            </p:cNvSpPr>
            <p:nvPr/>
          </p:nvSpPr>
          <p:spPr bwMode="auto">
            <a:xfrm>
              <a:off x="991" y="1718"/>
              <a:ext cx="125" cy="45"/>
            </a:xfrm>
            <a:custGeom>
              <a:avLst/>
              <a:gdLst>
                <a:gd name="T0" fmla="*/ 8 w 125"/>
                <a:gd name="T1" fmla="*/ 15 h 45"/>
                <a:gd name="T2" fmla="*/ 5 w 125"/>
                <a:gd name="T3" fmla="*/ 15 h 45"/>
                <a:gd name="T4" fmla="*/ 0 w 125"/>
                <a:gd name="T5" fmla="*/ 16 h 45"/>
                <a:gd name="T6" fmla="*/ 1 w 125"/>
                <a:gd name="T7" fmla="*/ 19 h 45"/>
                <a:gd name="T8" fmla="*/ 5 w 125"/>
                <a:gd name="T9" fmla="*/ 18 h 45"/>
                <a:gd name="T10" fmla="*/ 8 w 125"/>
                <a:gd name="T11" fmla="*/ 18 h 45"/>
                <a:gd name="T12" fmla="*/ 12 w 125"/>
                <a:gd name="T13" fmla="*/ 14 h 45"/>
                <a:gd name="T14" fmla="*/ 16 w 125"/>
                <a:gd name="T15" fmla="*/ 14 h 45"/>
                <a:gd name="T16" fmla="*/ 20 w 125"/>
                <a:gd name="T17" fmla="*/ 14 h 45"/>
                <a:gd name="T18" fmla="*/ 26 w 125"/>
                <a:gd name="T19" fmla="*/ 10 h 45"/>
                <a:gd name="T20" fmla="*/ 31 w 125"/>
                <a:gd name="T21" fmla="*/ 8 h 45"/>
                <a:gd name="T22" fmla="*/ 38 w 125"/>
                <a:gd name="T23" fmla="*/ 8 h 45"/>
                <a:gd name="T24" fmla="*/ 38 w 125"/>
                <a:gd name="T25" fmla="*/ 11 h 45"/>
                <a:gd name="T26" fmla="*/ 34 w 125"/>
                <a:gd name="T27" fmla="*/ 12 h 45"/>
                <a:gd name="T28" fmla="*/ 42 w 125"/>
                <a:gd name="T29" fmla="*/ 15 h 45"/>
                <a:gd name="T30" fmla="*/ 46 w 125"/>
                <a:gd name="T31" fmla="*/ 14 h 45"/>
                <a:gd name="T32" fmla="*/ 52 w 125"/>
                <a:gd name="T33" fmla="*/ 16 h 45"/>
                <a:gd name="T34" fmla="*/ 53 w 125"/>
                <a:gd name="T35" fmla="*/ 15 h 45"/>
                <a:gd name="T36" fmla="*/ 56 w 125"/>
                <a:gd name="T37" fmla="*/ 18 h 45"/>
                <a:gd name="T38" fmla="*/ 62 w 125"/>
                <a:gd name="T39" fmla="*/ 20 h 45"/>
                <a:gd name="T40" fmla="*/ 65 w 125"/>
                <a:gd name="T41" fmla="*/ 22 h 45"/>
                <a:gd name="T42" fmla="*/ 69 w 125"/>
                <a:gd name="T43" fmla="*/ 22 h 45"/>
                <a:gd name="T44" fmla="*/ 73 w 125"/>
                <a:gd name="T45" fmla="*/ 22 h 45"/>
                <a:gd name="T46" fmla="*/ 80 w 125"/>
                <a:gd name="T47" fmla="*/ 33 h 45"/>
                <a:gd name="T48" fmla="*/ 83 w 125"/>
                <a:gd name="T49" fmla="*/ 33 h 45"/>
                <a:gd name="T50" fmla="*/ 90 w 125"/>
                <a:gd name="T51" fmla="*/ 34 h 45"/>
                <a:gd name="T52" fmla="*/ 92 w 125"/>
                <a:gd name="T53" fmla="*/ 35 h 45"/>
                <a:gd name="T54" fmla="*/ 88 w 125"/>
                <a:gd name="T55" fmla="*/ 38 h 45"/>
                <a:gd name="T56" fmla="*/ 84 w 125"/>
                <a:gd name="T57" fmla="*/ 44 h 45"/>
                <a:gd name="T58" fmla="*/ 91 w 125"/>
                <a:gd name="T59" fmla="*/ 44 h 45"/>
                <a:gd name="T60" fmla="*/ 99 w 125"/>
                <a:gd name="T61" fmla="*/ 44 h 45"/>
                <a:gd name="T62" fmla="*/ 106 w 125"/>
                <a:gd name="T63" fmla="*/ 45 h 45"/>
                <a:gd name="T64" fmla="*/ 113 w 125"/>
                <a:gd name="T65" fmla="*/ 42 h 45"/>
                <a:gd name="T66" fmla="*/ 117 w 125"/>
                <a:gd name="T67" fmla="*/ 41 h 45"/>
                <a:gd name="T68" fmla="*/ 124 w 125"/>
                <a:gd name="T69" fmla="*/ 41 h 45"/>
                <a:gd name="T70" fmla="*/ 124 w 125"/>
                <a:gd name="T71" fmla="*/ 38 h 45"/>
                <a:gd name="T72" fmla="*/ 120 w 125"/>
                <a:gd name="T73" fmla="*/ 34 h 45"/>
                <a:gd name="T74" fmla="*/ 109 w 125"/>
                <a:gd name="T75" fmla="*/ 33 h 45"/>
                <a:gd name="T76" fmla="*/ 109 w 125"/>
                <a:gd name="T77" fmla="*/ 30 h 45"/>
                <a:gd name="T78" fmla="*/ 107 w 125"/>
                <a:gd name="T79" fmla="*/ 27 h 45"/>
                <a:gd name="T80" fmla="*/ 103 w 125"/>
                <a:gd name="T81" fmla="*/ 27 h 45"/>
                <a:gd name="T82" fmla="*/ 98 w 125"/>
                <a:gd name="T83" fmla="*/ 26 h 45"/>
                <a:gd name="T84" fmla="*/ 94 w 125"/>
                <a:gd name="T85" fmla="*/ 22 h 45"/>
                <a:gd name="T86" fmla="*/ 91 w 125"/>
                <a:gd name="T87" fmla="*/ 22 h 45"/>
                <a:gd name="T88" fmla="*/ 90 w 125"/>
                <a:gd name="T89" fmla="*/ 20 h 45"/>
                <a:gd name="T90" fmla="*/ 87 w 125"/>
                <a:gd name="T91" fmla="*/ 20 h 45"/>
                <a:gd name="T92" fmla="*/ 80 w 125"/>
                <a:gd name="T93" fmla="*/ 16 h 45"/>
                <a:gd name="T94" fmla="*/ 75 w 125"/>
                <a:gd name="T95" fmla="*/ 12 h 45"/>
                <a:gd name="T96" fmla="*/ 65 w 125"/>
                <a:gd name="T97" fmla="*/ 11 h 45"/>
                <a:gd name="T98" fmla="*/ 62 w 125"/>
                <a:gd name="T99" fmla="*/ 5 h 45"/>
                <a:gd name="T100" fmla="*/ 58 w 125"/>
                <a:gd name="T101" fmla="*/ 4 h 45"/>
                <a:gd name="T102" fmla="*/ 48 w 125"/>
                <a:gd name="T103" fmla="*/ 4 h 45"/>
                <a:gd name="T104" fmla="*/ 42 w 125"/>
                <a:gd name="T105" fmla="*/ 1 h 45"/>
                <a:gd name="T106" fmla="*/ 31 w 125"/>
                <a:gd name="T107" fmla="*/ 0 h 45"/>
                <a:gd name="T108" fmla="*/ 23 w 125"/>
                <a:gd name="T109" fmla="*/ 3 h 45"/>
                <a:gd name="T110" fmla="*/ 16 w 125"/>
                <a:gd name="T111" fmla="*/ 5 h 45"/>
                <a:gd name="T112" fmla="*/ 9 w 125"/>
                <a:gd name="T113" fmla="*/ 10 h 45"/>
                <a:gd name="T114" fmla="*/ 7 w 125"/>
                <a:gd name="T115" fmla="*/ 1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5" h="45">
                  <a:moveTo>
                    <a:pt x="7" y="12"/>
                  </a:moveTo>
                  <a:lnTo>
                    <a:pt x="8" y="15"/>
                  </a:lnTo>
                  <a:lnTo>
                    <a:pt x="8" y="16"/>
                  </a:lnTo>
                  <a:lnTo>
                    <a:pt x="5" y="15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4" y="16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12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8" y="8"/>
                  </a:lnTo>
                  <a:lnTo>
                    <a:pt x="39" y="10"/>
                  </a:lnTo>
                  <a:lnTo>
                    <a:pt x="38" y="11"/>
                  </a:lnTo>
                  <a:lnTo>
                    <a:pt x="35" y="11"/>
                  </a:lnTo>
                  <a:lnTo>
                    <a:pt x="34" y="12"/>
                  </a:lnTo>
                  <a:lnTo>
                    <a:pt x="35" y="14"/>
                  </a:lnTo>
                  <a:lnTo>
                    <a:pt x="42" y="15"/>
                  </a:lnTo>
                  <a:lnTo>
                    <a:pt x="43" y="14"/>
                  </a:lnTo>
                  <a:lnTo>
                    <a:pt x="46" y="14"/>
                  </a:lnTo>
                  <a:lnTo>
                    <a:pt x="48" y="15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3" y="15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60" y="20"/>
                  </a:lnTo>
                  <a:lnTo>
                    <a:pt x="62" y="20"/>
                  </a:lnTo>
                  <a:lnTo>
                    <a:pt x="64" y="19"/>
                  </a:lnTo>
                  <a:lnTo>
                    <a:pt x="65" y="22"/>
                  </a:lnTo>
                  <a:lnTo>
                    <a:pt x="68" y="20"/>
                  </a:lnTo>
                  <a:lnTo>
                    <a:pt x="69" y="22"/>
                  </a:lnTo>
                  <a:lnTo>
                    <a:pt x="72" y="20"/>
                  </a:lnTo>
                  <a:lnTo>
                    <a:pt x="73" y="22"/>
                  </a:lnTo>
                  <a:lnTo>
                    <a:pt x="76" y="29"/>
                  </a:lnTo>
                  <a:lnTo>
                    <a:pt x="80" y="33"/>
                  </a:lnTo>
                  <a:lnTo>
                    <a:pt x="81" y="33"/>
                  </a:lnTo>
                  <a:lnTo>
                    <a:pt x="83" y="33"/>
                  </a:lnTo>
                  <a:lnTo>
                    <a:pt x="86" y="34"/>
                  </a:lnTo>
                  <a:lnTo>
                    <a:pt x="90" y="34"/>
                  </a:lnTo>
                  <a:lnTo>
                    <a:pt x="90" y="35"/>
                  </a:lnTo>
                  <a:lnTo>
                    <a:pt x="92" y="35"/>
                  </a:lnTo>
                  <a:lnTo>
                    <a:pt x="91" y="38"/>
                  </a:lnTo>
                  <a:lnTo>
                    <a:pt x="88" y="38"/>
                  </a:lnTo>
                  <a:lnTo>
                    <a:pt x="84" y="42"/>
                  </a:lnTo>
                  <a:lnTo>
                    <a:pt x="84" y="44"/>
                  </a:lnTo>
                  <a:lnTo>
                    <a:pt x="88" y="45"/>
                  </a:lnTo>
                  <a:lnTo>
                    <a:pt x="91" y="44"/>
                  </a:lnTo>
                  <a:lnTo>
                    <a:pt x="94" y="44"/>
                  </a:lnTo>
                  <a:lnTo>
                    <a:pt x="99" y="44"/>
                  </a:lnTo>
                  <a:lnTo>
                    <a:pt x="102" y="44"/>
                  </a:lnTo>
                  <a:lnTo>
                    <a:pt x="106" y="45"/>
                  </a:lnTo>
                  <a:lnTo>
                    <a:pt x="113" y="44"/>
                  </a:lnTo>
                  <a:lnTo>
                    <a:pt x="113" y="42"/>
                  </a:lnTo>
                  <a:lnTo>
                    <a:pt x="114" y="42"/>
                  </a:lnTo>
                  <a:lnTo>
                    <a:pt x="117" y="41"/>
                  </a:lnTo>
                  <a:lnTo>
                    <a:pt x="120" y="42"/>
                  </a:lnTo>
                  <a:lnTo>
                    <a:pt x="124" y="41"/>
                  </a:lnTo>
                  <a:lnTo>
                    <a:pt x="125" y="38"/>
                  </a:lnTo>
                  <a:lnTo>
                    <a:pt x="124" y="38"/>
                  </a:lnTo>
                  <a:lnTo>
                    <a:pt x="121" y="37"/>
                  </a:lnTo>
                  <a:lnTo>
                    <a:pt x="120" y="34"/>
                  </a:lnTo>
                  <a:lnTo>
                    <a:pt x="114" y="33"/>
                  </a:lnTo>
                  <a:lnTo>
                    <a:pt x="109" y="33"/>
                  </a:lnTo>
                  <a:lnTo>
                    <a:pt x="107" y="31"/>
                  </a:lnTo>
                  <a:lnTo>
                    <a:pt x="109" y="30"/>
                  </a:lnTo>
                  <a:lnTo>
                    <a:pt x="109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3" y="27"/>
                  </a:lnTo>
                  <a:lnTo>
                    <a:pt x="99" y="24"/>
                  </a:lnTo>
                  <a:lnTo>
                    <a:pt x="98" y="26"/>
                  </a:lnTo>
                  <a:lnTo>
                    <a:pt x="96" y="23"/>
                  </a:lnTo>
                  <a:lnTo>
                    <a:pt x="94" y="22"/>
                  </a:lnTo>
                  <a:lnTo>
                    <a:pt x="91" y="23"/>
                  </a:lnTo>
                  <a:lnTo>
                    <a:pt x="91" y="22"/>
                  </a:lnTo>
                  <a:lnTo>
                    <a:pt x="91" y="20"/>
                  </a:lnTo>
                  <a:lnTo>
                    <a:pt x="90" y="20"/>
                  </a:lnTo>
                  <a:lnTo>
                    <a:pt x="88" y="22"/>
                  </a:lnTo>
                  <a:lnTo>
                    <a:pt x="87" y="20"/>
                  </a:lnTo>
                  <a:lnTo>
                    <a:pt x="83" y="19"/>
                  </a:lnTo>
                  <a:lnTo>
                    <a:pt x="80" y="16"/>
                  </a:lnTo>
                  <a:lnTo>
                    <a:pt x="77" y="15"/>
                  </a:lnTo>
                  <a:lnTo>
                    <a:pt x="75" y="12"/>
                  </a:lnTo>
                  <a:lnTo>
                    <a:pt x="68" y="12"/>
                  </a:lnTo>
                  <a:lnTo>
                    <a:pt x="65" y="11"/>
                  </a:lnTo>
                  <a:lnTo>
                    <a:pt x="65" y="8"/>
                  </a:lnTo>
                  <a:lnTo>
                    <a:pt x="62" y="5"/>
                  </a:lnTo>
                  <a:lnTo>
                    <a:pt x="60" y="5"/>
                  </a:lnTo>
                  <a:lnTo>
                    <a:pt x="58" y="4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3" y="4"/>
                  </a:lnTo>
                  <a:lnTo>
                    <a:pt x="42" y="1"/>
                  </a:lnTo>
                  <a:lnTo>
                    <a:pt x="37" y="0"/>
                  </a:lnTo>
                  <a:lnTo>
                    <a:pt x="31" y="0"/>
                  </a:lnTo>
                  <a:lnTo>
                    <a:pt x="28" y="3"/>
                  </a:lnTo>
                  <a:lnTo>
                    <a:pt x="23" y="3"/>
                  </a:lnTo>
                  <a:lnTo>
                    <a:pt x="18" y="4"/>
                  </a:lnTo>
                  <a:lnTo>
                    <a:pt x="16" y="5"/>
                  </a:lnTo>
                  <a:lnTo>
                    <a:pt x="11" y="7"/>
                  </a:lnTo>
                  <a:lnTo>
                    <a:pt x="9" y="10"/>
                  </a:lnTo>
                  <a:lnTo>
                    <a:pt x="7" y="11"/>
                  </a:lnTo>
                  <a:lnTo>
                    <a:pt x="7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3" name="Freeform 144"/>
            <p:cNvSpPr>
              <a:spLocks/>
            </p:cNvSpPr>
            <p:nvPr/>
          </p:nvSpPr>
          <p:spPr bwMode="auto">
            <a:xfrm>
              <a:off x="579" y="1302"/>
              <a:ext cx="663" cy="392"/>
            </a:xfrm>
            <a:custGeom>
              <a:avLst/>
              <a:gdLst>
                <a:gd name="T0" fmla="*/ 383 w 663"/>
                <a:gd name="T1" fmla="*/ 39 h 392"/>
                <a:gd name="T2" fmla="*/ 419 w 663"/>
                <a:gd name="T3" fmla="*/ 53 h 392"/>
                <a:gd name="T4" fmla="*/ 521 w 663"/>
                <a:gd name="T5" fmla="*/ 135 h 392"/>
                <a:gd name="T6" fmla="*/ 617 w 663"/>
                <a:gd name="T7" fmla="*/ 106 h 392"/>
                <a:gd name="T8" fmla="*/ 643 w 663"/>
                <a:gd name="T9" fmla="*/ 76 h 392"/>
                <a:gd name="T10" fmla="*/ 655 w 663"/>
                <a:gd name="T11" fmla="*/ 109 h 392"/>
                <a:gd name="T12" fmla="*/ 651 w 663"/>
                <a:gd name="T13" fmla="*/ 121 h 392"/>
                <a:gd name="T14" fmla="*/ 628 w 663"/>
                <a:gd name="T15" fmla="*/ 129 h 392"/>
                <a:gd name="T16" fmla="*/ 612 w 663"/>
                <a:gd name="T17" fmla="*/ 147 h 392"/>
                <a:gd name="T18" fmla="*/ 610 w 663"/>
                <a:gd name="T19" fmla="*/ 162 h 392"/>
                <a:gd name="T20" fmla="*/ 586 w 663"/>
                <a:gd name="T21" fmla="*/ 169 h 392"/>
                <a:gd name="T22" fmla="*/ 568 w 663"/>
                <a:gd name="T23" fmla="*/ 186 h 392"/>
                <a:gd name="T24" fmla="*/ 556 w 663"/>
                <a:gd name="T25" fmla="*/ 199 h 392"/>
                <a:gd name="T26" fmla="*/ 552 w 663"/>
                <a:gd name="T27" fmla="*/ 213 h 392"/>
                <a:gd name="T28" fmla="*/ 544 w 663"/>
                <a:gd name="T29" fmla="*/ 218 h 392"/>
                <a:gd name="T30" fmla="*/ 541 w 663"/>
                <a:gd name="T31" fmla="*/ 197 h 392"/>
                <a:gd name="T32" fmla="*/ 537 w 663"/>
                <a:gd name="T33" fmla="*/ 209 h 392"/>
                <a:gd name="T34" fmla="*/ 537 w 663"/>
                <a:gd name="T35" fmla="*/ 216 h 392"/>
                <a:gd name="T36" fmla="*/ 534 w 663"/>
                <a:gd name="T37" fmla="*/ 227 h 392"/>
                <a:gd name="T38" fmla="*/ 540 w 663"/>
                <a:gd name="T39" fmla="*/ 241 h 392"/>
                <a:gd name="T40" fmla="*/ 537 w 663"/>
                <a:gd name="T41" fmla="*/ 250 h 392"/>
                <a:gd name="T42" fmla="*/ 527 w 663"/>
                <a:gd name="T43" fmla="*/ 254 h 392"/>
                <a:gd name="T44" fmla="*/ 529 w 663"/>
                <a:gd name="T45" fmla="*/ 264 h 392"/>
                <a:gd name="T46" fmla="*/ 495 w 663"/>
                <a:gd name="T47" fmla="*/ 286 h 392"/>
                <a:gd name="T48" fmla="*/ 476 w 663"/>
                <a:gd name="T49" fmla="*/ 298 h 392"/>
                <a:gd name="T50" fmla="*/ 472 w 663"/>
                <a:gd name="T51" fmla="*/ 347 h 392"/>
                <a:gd name="T52" fmla="*/ 470 w 663"/>
                <a:gd name="T53" fmla="*/ 387 h 392"/>
                <a:gd name="T54" fmla="*/ 451 w 663"/>
                <a:gd name="T55" fmla="*/ 374 h 392"/>
                <a:gd name="T56" fmla="*/ 449 w 663"/>
                <a:gd name="T57" fmla="*/ 358 h 392"/>
                <a:gd name="T58" fmla="*/ 443 w 663"/>
                <a:gd name="T59" fmla="*/ 336 h 392"/>
                <a:gd name="T60" fmla="*/ 423 w 663"/>
                <a:gd name="T61" fmla="*/ 330 h 392"/>
                <a:gd name="T62" fmla="*/ 413 w 663"/>
                <a:gd name="T63" fmla="*/ 324 h 392"/>
                <a:gd name="T64" fmla="*/ 397 w 663"/>
                <a:gd name="T65" fmla="*/ 321 h 392"/>
                <a:gd name="T66" fmla="*/ 366 w 663"/>
                <a:gd name="T67" fmla="*/ 328 h 392"/>
                <a:gd name="T68" fmla="*/ 371 w 663"/>
                <a:gd name="T69" fmla="*/ 341 h 392"/>
                <a:gd name="T70" fmla="*/ 353 w 663"/>
                <a:gd name="T71" fmla="*/ 339 h 392"/>
                <a:gd name="T72" fmla="*/ 340 w 663"/>
                <a:gd name="T73" fmla="*/ 329 h 392"/>
                <a:gd name="T74" fmla="*/ 311 w 663"/>
                <a:gd name="T75" fmla="*/ 329 h 392"/>
                <a:gd name="T76" fmla="*/ 291 w 663"/>
                <a:gd name="T77" fmla="*/ 345 h 392"/>
                <a:gd name="T78" fmla="*/ 276 w 663"/>
                <a:gd name="T79" fmla="*/ 353 h 392"/>
                <a:gd name="T80" fmla="*/ 261 w 663"/>
                <a:gd name="T81" fmla="*/ 375 h 392"/>
                <a:gd name="T82" fmla="*/ 247 w 663"/>
                <a:gd name="T83" fmla="*/ 349 h 392"/>
                <a:gd name="T84" fmla="*/ 232 w 663"/>
                <a:gd name="T85" fmla="*/ 325 h 392"/>
                <a:gd name="T86" fmla="*/ 216 w 663"/>
                <a:gd name="T87" fmla="*/ 333 h 392"/>
                <a:gd name="T88" fmla="*/ 200 w 663"/>
                <a:gd name="T89" fmla="*/ 329 h 392"/>
                <a:gd name="T90" fmla="*/ 192 w 663"/>
                <a:gd name="T91" fmla="*/ 311 h 392"/>
                <a:gd name="T92" fmla="*/ 159 w 663"/>
                <a:gd name="T93" fmla="*/ 295 h 392"/>
                <a:gd name="T94" fmla="*/ 47 w 663"/>
                <a:gd name="T95" fmla="*/ 260 h 392"/>
                <a:gd name="T96" fmla="*/ 23 w 663"/>
                <a:gd name="T97" fmla="*/ 245 h 392"/>
                <a:gd name="T98" fmla="*/ 15 w 663"/>
                <a:gd name="T99" fmla="*/ 215 h 392"/>
                <a:gd name="T100" fmla="*/ 18 w 663"/>
                <a:gd name="T101" fmla="*/ 200 h 392"/>
                <a:gd name="T102" fmla="*/ 13 w 663"/>
                <a:gd name="T103" fmla="*/ 189 h 392"/>
                <a:gd name="T104" fmla="*/ 3 w 663"/>
                <a:gd name="T105" fmla="*/ 169 h 392"/>
                <a:gd name="T106" fmla="*/ 8 w 663"/>
                <a:gd name="T107" fmla="*/ 129 h 392"/>
                <a:gd name="T108" fmla="*/ 19 w 663"/>
                <a:gd name="T109" fmla="*/ 84 h 392"/>
                <a:gd name="T110" fmla="*/ 42 w 663"/>
                <a:gd name="T111" fmla="*/ 54 h 392"/>
                <a:gd name="T112" fmla="*/ 33 w 663"/>
                <a:gd name="T113" fmla="*/ 41 h 392"/>
                <a:gd name="T114" fmla="*/ 41 w 663"/>
                <a:gd name="T115" fmla="*/ 14 h 392"/>
                <a:gd name="T116" fmla="*/ 56 w 663"/>
                <a:gd name="T117" fmla="*/ 22 h 392"/>
                <a:gd name="T118" fmla="*/ 56 w 663"/>
                <a:gd name="T119" fmla="*/ 27 h 392"/>
                <a:gd name="T120" fmla="*/ 58 w 663"/>
                <a:gd name="T121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63" h="392">
                  <a:moveTo>
                    <a:pt x="58" y="0"/>
                  </a:moveTo>
                  <a:lnTo>
                    <a:pt x="363" y="31"/>
                  </a:lnTo>
                  <a:lnTo>
                    <a:pt x="364" y="31"/>
                  </a:lnTo>
                  <a:lnTo>
                    <a:pt x="367" y="31"/>
                  </a:lnTo>
                  <a:lnTo>
                    <a:pt x="370" y="33"/>
                  </a:lnTo>
                  <a:lnTo>
                    <a:pt x="370" y="34"/>
                  </a:lnTo>
                  <a:lnTo>
                    <a:pt x="371" y="35"/>
                  </a:lnTo>
                  <a:lnTo>
                    <a:pt x="372" y="37"/>
                  </a:lnTo>
                  <a:lnTo>
                    <a:pt x="375" y="37"/>
                  </a:lnTo>
                  <a:lnTo>
                    <a:pt x="375" y="38"/>
                  </a:lnTo>
                  <a:lnTo>
                    <a:pt x="378" y="38"/>
                  </a:lnTo>
                  <a:lnTo>
                    <a:pt x="378" y="39"/>
                  </a:lnTo>
                  <a:lnTo>
                    <a:pt x="379" y="39"/>
                  </a:lnTo>
                  <a:lnTo>
                    <a:pt x="382" y="39"/>
                  </a:lnTo>
                  <a:lnTo>
                    <a:pt x="383" y="39"/>
                  </a:lnTo>
                  <a:lnTo>
                    <a:pt x="386" y="39"/>
                  </a:lnTo>
                  <a:lnTo>
                    <a:pt x="389" y="41"/>
                  </a:lnTo>
                  <a:lnTo>
                    <a:pt x="390" y="41"/>
                  </a:lnTo>
                  <a:lnTo>
                    <a:pt x="392" y="44"/>
                  </a:lnTo>
                  <a:lnTo>
                    <a:pt x="396" y="45"/>
                  </a:lnTo>
                  <a:lnTo>
                    <a:pt x="397" y="46"/>
                  </a:lnTo>
                  <a:lnTo>
                    <a:pt x="400" y="48"/>
                  </a:lnTo>
                  <a:lnTo>
                    <a:pt x="401" y="49"/>
                  </a:lnTo>
                  <a:lnTo>
                    <a:pt x="405" y="49"/>
                  </a:lnTo>
                  <a:lnTo>
                    <a:pt x="406" y="48"/>
                  </a:lnTo>
                  <a:lnTo>
                    <a:pt x="408" y="49"/>
                  </a:lnTo>
                  <a:lnTo>
                    <a:pt x="409" y="50"/>
                  </a:lnTo>
                  <a:lnTo>
                    <a:pt x="415" y="50"/>
                  </a:lnTo>
                  <a:lnTo>
                    <a:pt x="416" y="52"/>
                  </a:lnTo>
                  <a:lnTo>
                    <a:pt x="419" y="53"/>
                  </a:lnTo>
                  <a:lnTo>
                    <a:pt x="420" y="53"/>
                  </a:lnTo>
                  <a:lnTo>
                    <a:pt x="466" y="76"/>
                  </a:lnTo>
                  <a:lnTo>
                    <a:pt x="470" y="79"/>
                  </a:lnTo>
                  <a:lnTo>
                    <a:pt x="477" y="86"/>
                  </a:lnTo>
                  <a:lnTo>
                    <a:pt x="484" y="121"/>
                  </a:lnTo>
                  <a:lnTo>
                    <a:pt x="484" y="136"/>
                  </a:lnTo>
                  <a:lnTo>
                    <a:pt x="483" y="140"/>
                  </a:lnTo>
                  <a:lnTo>
                    <a:pt x="481" y="141"/>
                  </a:lnTo>
                  <a:lnTo>
                    <a:pt x="480" y="144"/>
                  </a:lnTo>
                  <a:lnTo>
                    <a:pt x="474" y="147"/>
                  </a:lnTo>
                  <a:lnTo>
                    <a:pt x="473" y="150"/>
                  </a:lnTo>
                  <a:lnTo>
                    <a:pt x="474" y="154"/>
                  </a:lnTo>
                  <a:lnTo>
                    <a:pt x="515" y="143"/>
                  </a:lnTo>
                  <a:lnTo>
                    <a:pt x="519" y="140"/>
                  </a:lnTo>
                  <a:lnTo>
                    <a:pt x="521" y="135"/>
                  </a:lnTo>
                  <a:lnTo>
                    <a:pt x="542" y="128"/>
                  </a:lnTo>
                  <a:lnTo>
                    <a:pt x="553" y="121"/>
                  </a:lnTo>
                  <a:lnTo>
                    <a:pt x="555" y="120"/>
                  </a:lnTo>
                  <a:lnTo>
                    <a:pt x="557" y="118"/>
                  </a:lnTo>
                  <a:lnTo>
                    <a:pt x="563" y="114"/>
                  </a:lnTo>
                  <a:lnTo>
                    <a:pt x="566" y="112"/>
                  </a:lnTo>
                  <a:lnTo>
                    <a:pt x="568" y="110"/>
                  </a:lnTo>
                  <a:lnTo>
                    <a:pt x="571" y="109"/>
                  </a:lnTo>
                  <a:lnTo>
                    <a:pt x="575" y="109"/>
                  </a:lnTo>
                  <a:lnTo>
                    <a:pt x="609" y="109"/>
                  </a:lnTo>
                  <a:lnTo>
                    <a:pt x="612" y="106"/>
                  </a:lnTo>
                  <a:lnTo>
                    <a:pt x="612" y="106"/>
                  </a:lnTo>
                  <a:lnTo>
                    <a:pt x="613" y="105"/>
                  </a:lnTo>
                  <a:lnTo>
                    <a:pt x="615" y="105"/>
                  </a:lnTo>
                  <a:lnTo>
                    <a:pt x="617" y="106"/>
                  </a:lnTo>
                  <a:lnTo>
                    <a:pt x="619" y="105"/>
                  </a:lnTo>
                  <a:lnTo>
                    <a:pt x="619" y="103"/>
                  </a:lnTo>
                  <a:lnTo>
                    <a:pt x="623" y="99"/>
                  </a:lnTo>
                  <a:lnTo>
                    <a:pt x="624" y="98"/>
                  </a:lnTo>
                  <a:lnTo>
                    <a:pt x="627" y="95"/>
                  </a:lnTo>
                  <a:lnTo>
                    <a:pt x="628" y="92"/>
                  </a:lnTo>
                  <a:lnTo>
                    <a:pt x="628" y="90"/>
                  </a:lnTo>
                  <a:lnTo>
                    <a:pt x="632" y="88"/>
                  </a:lnTo>
                  <a:lnTo>
                    <a:pt x="631" y="86"/>
                  </a:lnTo>
                  <a:lnTo>
                    <a:pt x="634" y="83"/>
                  </a:lnTo>
                  <a:lnTo>
                    <a:pt x="638" y="79"/>
                  </a:lnTo>
                  <a:lnTo>
                    <a:pt x="639" y="78"/>
                  </a:lnTo>
                  <a:lnTo>
                    <a:pt x="640" y="75"/>
                  </a:lnTo>
                  <a:lnTo>
                    <a:pt x="642" y="75"/>
                  </a:lnTo>
                  <a:lnTo>
                    <a:pt x="643" y="76"/>
                  </a:lnTo>
                  <a:lnTo>
                    <a:pt x="644" y="78"/>
                  </a:lnTo>
                  <a:lnTo>
                    <a:pt x="647" y="76"/>
                  </a:lnTo>
                  <a:lnTo>
                    <a:pt x="650" y="78"/>
                  </a:lnTo>
                  <a:lnTo>
                    <a:pt x="651" y="76"/>
                  </a:lnTo>
                  <a:lnTo>
                    <a:pt x="655" y="80"/>
                  </a:lnTo>
                  <a:lnTo>
                    <a:pt x="655" y="84"/>
                  </a:lnTo>
                  <a:lnTo>
                    <a:pt x="653" y="99"/>
                  </a:lnTo>
                  <a:lnTo>
                    <a:pt x="653" y="101"/>
                  </a:lnTo>
                  <a:lnTo>
                    <a:pt x="654" y="102"/>
                  </a:lnTo>
                  <a:lnTo>
                    <a:pt x="654" y="103"/>
                  </a:lnTo>
                  <a:lnTo>
                    <a:pt x="655" y="103"/>
                  </a:lnTo>
                  <a:lnTo>
                    <a:pt x="655" y="106"/>
                  </a:lnTo>
                  <a:lnTo>
                    <a:pt x="655" y="107"/>
                  </a:lnTo>
                  <a:lnTo>
                    <a:pt x="655" y="109"/>
                  </a:lnTo>
                  <a:lnTo>
                    <a:pt x="655" y="109"/>
                  </a:lnTo>
                  <a:lnTo>
                    <a:pt x="655" y="110"/>
                  </a:lnTo>
                  <a:lnTo>
                    <a:pt x="655" y="110"/>
                  </a:lnTo>
                  <a:lnTo>
                    <a:pt x="655" y="110"/>
                  </a:lnTo>
                  <a:lnTo>
                    <a:pt x="659" y="113"/>
                  </a:lnTo>
                  <a:lnTo>
                    <a:pt x="659" y="116"/>
                  </a:lnTo>
                  <a:lnTo>
                    <a:pt x="661" y="117"/>
                  </a:lnTo>
                  <a:lnTo>
                    <a:pt x="662" y="116"/>
                  </a:lnTo>
                  <a:lnTo>
                    <a:pt x="663" y="117"/>
                  </a:lnTo>
                  <a:lnTo>
                    <a:pt x="662" y="118"/>
                  </a:lnTo>
                  <a:lnTo>
                    <a:pt x="661" y="118"/>
                  </a:lnTo>
                  <a:lnTo>
                    <a:pt x="659" y="117"/>
                  </a:lnTo>
                  <a:lnTo>
                    <a:pt x="657" y="120"/>
                  </a:lnTo>
                  <a:lnTo>
                    <a:pt x="655" y="118"/>
                  </a:lnTo>
                  <a:lnTo>
                    <a:pt x="653" y="121"/>
                  </a:lnTo>
                  <a:lnTo>
                    <a:pt x="651" y="121"/>
                  </a:lnTo>
                  <a:lnTo>
                    <a:pt x="650" y="120"/>
                  </a:lnTo>
                  <a:lnTo>
                    <a:pt x="647" y="122"/>
                  </a:lnTo>
                  <a:lnTo>
                    <a:pt x="646" y="122"/>
                  </a:lnTo>
                  <a:lnTo>
                    <a:pt x="646" y="120"/>
                  </a:lnTo>
                  <a:lnTo>
                    <a:pt x="643" y="120"/>
                  </a:lnTo>
                  <a:lnTo>
                    <a:pt x="640" y="122"/>
                  </a:lnTo>
                  <a:lnTo>
                    <a:pt x="639" y="122"/>
                  </a:lnTo>
                  <a:lnTo>
                    <a:pt x="638" y="121"/>
                  </a:lnTo>
                  <a:lnTo>
                    <a:pt x="639" y="118"/>
                  </a:lnTo>
                  <a:lnTo>
                    <a:pt x="635" y="122"/>
                  </a:lnTo>
                  <a:lnTo>
                    <a:pt x="634" y="126"/>
                  </a:lnTo>
                  <a:lnTo>
                    <a:pt x="632" y="126"/>
                  </a:lnTo>
                  <a:lnTo>
                    <a:pt x="631" y="126"/>
                  </a:lnTo>
                  <a:lnTo>
                    <a:pt x="629" y="129"/>
                  </a:lnTo>
                  <a:lnTo>
                    <a:pt x="628" y="129"/>
                  </a:lnTo>
                  <a:lnTo>
                    <a:pt x="628" y="126"/>
                  </a:lnTo>
                  <a:lnTo>
                    <a:pt x="627" y="128"/>
                  </a:lnTo>
                  <a:lnTo>
                    <a:pt x="625" y="131"/>
                  </a:lnTo>
                  <a:lnTo>
                    <a:pt x="624" y="129"/>
                  </a:lnTo>
                  <a:lnTo>
                    <a:pt x="624" y="128"/>
                  </a:lnTo>
                  <a:lnTo>
                    <a:pt x="623" y="131"/>
                  </a:lnTo>
                  <a:lnTo>
                    <a:pt x="621" y="131"/>
                  </a:lnTo>
                  <a:lnTo>
                    <a:pt x="620" y="133"/>
                  </a:lnTo>
                  <a:lnTo>
                    <a:pt x="616" y="136"/>
                  </a:lnTo>
                  <a:lnTo>
                    <a:pt x="615" y="140"/>
                  </a:lnTo>
                  <a:lnTo>
                    <a:pt x="613" y="143"/>
                  </a:lnTo>
                  <a:lnTo>
                    <a:pt x="612" y="144"/>
                  </a:lnTo>
                  <a:lnTo>
                    <a:pt x="612" y="146"/>
                  </a:lnTo>
                  <a:lnTo>
                    <a:pt x="610" y="147"/>
                  </a:lnTo>
                  <a:lnTo>
                    <a:pt x="612" y="147"/>
                  </a:lnTo>
                  <a:lnTo>
                    <a:pt x="613" y="148"/>
                  </a:lnTo>
                  <a:lnTo>
                    <a:pt x="609" y="152"/>
                  </a:lnTo>
                  <a:lnTo>
                    <a:pt x="609" y="154"/>
                  </a:lnTo>
                  <a:lnTo>
                    <a:pt x="612" y="155"/>
                  </a:lnTo>
                  <a:lnTo>
                    <a:pt x="613" y="159"/>
                  </a:lnTo>
                  <a:lnTo>
                    <a:pt x="613" y="160"/>
                  </a:lnTo>
                  <a:lnTo>
                    <a:pt x="616" y="160"/>
                  </a:lnTo>
                  <a:lnTo>
                    <a:pt x="617" y="158"/>
                  </a:lnTo>
                  <a:lnTo>
                    <a:pt x="617" y="156"/>
                  </a:lnTo>
                  <a:lnTo>
                    <a:pt x="619" y="155"/>
                  </a:lnTo>
                  <a:lnTo>
                    <a:pt x="620" y="159"/>
                  </a:lnTo>
                  <a:lnTo>
                    <a:pt x="617" y="162"/>
                  </a:lnTo>
                  <a:lnTo>
                    <a:pt x="612" y="165"/>
                  </a:lnTo>
                  <a:lnTo>
                    <a:pt x="610" y="165"/>
                  </a:lnTo>
                  <a:lnTo>
                    <a:pt x="610" y="162"/>
                  </a:lnTo>
                  <a:lnTo>
                    <a:pt x="610" y="160"/>
                  </a:lnTo>
                  <a:lnTo>
                    <a:pt x="608" y="165"/>
                  </a:lnTo>
                  <a:lnTo>
                    <a:pt x="605" y="166"/>
                  </a:lnTo>
                  <a:lnTo>
                    <a:pt x="604" y="166"/>
                  </a:lnTo>
                  <a:lnTo>
                    <a:pt x="605" y="165"/>
                  </a:lnTo>
                  <a:lnTo>
                    <a:pt x="605" y="162"/>
                  </a:lnTo>
                  <a:lnTo>
                    <a:pt x="602" y="160"/>
                  </a:lnTo>
                  <a:lnTo>
                    <a:pt x="602" y="163"/>
                  </a:lnTo>
                  <a:lnTo>
                    <a:pt x="602" y="166"/>
                  </a:lnTo>
                  <a:lnTo>
                    <a:pt x="602" y="167"/>
                  </a:lnTo>
                  <a:lnTo>
                    <a:pt x="601" y="167"/>
                  </a:lnTo>
                  <a:lnTo>
                    <a:pt x="597" y="167"/>
                  </a:lnTo>
                  <a:lnTo>
                    <a:pt x="594" y="169"/>
                  </a:lnTo>
                  <a:lnTo>
                    <a:pt x="591" y="167"/>
                  </a:lnTo>
                  <a:lnTo>
                    <a:pt x="586" y="169"/>
                  </a:lnTo>
                  <a:lnTo>
                    <a:pt x="586" y="167"/>
                  </a:lnTo>
                  <a:lnTo>
                    <a:pt x="585" y="167"/>
                  </a:lnTo>
                  <a:lnTo>
                    <a:pt x="581" y="170"/>
                  </a:lnTo>
                  <a:lnTo>
                    <a:pt x="578" y="170"/>
                  </a:lnTo>
                  <a:lnTo>
                    <a:pt x="575" y="171"/>
                  </a:lnTo>
                  <a:lnTo>
                    <a:pt x="572" y="173"/>
                  </a:lnTo>
                  <a:lnTo>
                    <a:pt x="571" y="174"/>
                  </a:lnTo>
                  <a:lnTo>
                    <a:pt x="571" y="175"/>
                  </a:lnTo>
                  <a:lnTo>
                    <a:pt x="567" y="178"/>
                  </a:lnTo>
                  <a:lnTo>
                    <a:pt x="568" y="179"/>
                  </a:lnTo>
                  <a:lnTo>
                    <a:pt x="570" y="181"/>
                  </a:lnTo>
                  <a:lnTo>
                    <a:pt x="570" y="182"/>
                  </a:lnTo>
                  <a:lnTo>
                    <a:pt x="568" y="184"/>
                  </a:lnTo>
                  <a:lnTo>
                    <a:pt x="568" y="185"/>
                  </a:lnTo>
                  <a:lnTo>
                    <a:pt x="568" y="186"/>
                  </a:lnTo>
                  <a:lnTo>
                    <a:pt x="568" y="188"/>
                  </a:lnTo>
                  <a:lnTo>
                    <a:pt x="567" y="189"/>
                  </a:lnTo>
                  <a:lnTo>
                    <a:pt x="567" y="192"/>
                  </a:lnTo>
                  <a:lnTo>
                    <a:pt x="566" y="192"/>
                  </a:lnTo>
                  <a:lnTo>
                    <a:pt x="564" y="193"/>
                  </a:lnTo>
                  <a:lnTo>
                    <a:pt x="563" y="196"/>
                  </a:lnTo>
                  <a:lnTo>
                    <a:pt x="561" y="197"/>
                  </a:lnTo>
                  <a:lnTo>
                    <a:pt x="560" y="199"/>
                  </a:lnTo>
                  <a:lnTo>
                    <a:pt x="560" y="199"/>
                  </a:lnTo>
                  <a:lnTo>
                    <a:pt x="559" y="200"/>
                  </a:lnTo>
                  <a:lnTo>
                    <a:pt x="557" y="201"/>
                  </a:lnTo>
                  <a:lnTo>
                    <a:pt x="557" y="201"/>
                  </a:lnTo>
                  <a:lnTo>
                    <a:pt x="556" y="203"/>
                  </a:lnTo>
                  <a:lnTo>
                    <a:pt x="557" y="200"/>
                  </a:lnTo>
                  <a:lnTo>
                    <a:pt x="556" y="199"/>
                  </a:lnTo>
                  <a:lnTo>
                    <a:pt x="555" y="199"/>
                  </a:lnTo>
                  <a:lnTo>
                    <a:pt x="552" y="196"/>
                  </a:lnTo>
                  <a:lnTo>
                    <a:pt x="551" y="194"/>
                  </a:lnTo>
                  <a:lnTo>
                    <a:pt x="551" y="193"/>
                  </a:lnTo>
                  <a:lnTo>
                    <a:pt x="555" y="189"/>
                  </a:lnTo>
                  <a:lnTo>
                    <a:pt x="552" y="190"/>
                  </a:lnTo>
                  <a:lnTo>
                    <a:pt x="551" y="192"/>
                  </a:lnTo>
                  <a:lnTo>
                    <a:pt x="549" y="194"/>
                  </a:lnTo>
                  <a:lnTo>
                    <a:pt x="549" y="196"/>
                  </a:lnTo>
                  <a:lnTo>
                    <a:pt x="551" y="197"/>
                  </a:lnTo>
                  <a:lnTo>
                    <a:pt x="551" y="201"/>
                  </a:lnTo>
                  <a:lnTo>
                    <a:pt x="552" y="201"/>
                  </a:lnTo>
                  <a:lnTo>
                    <a:pt x="553" y="205"/>
                  </a:lnTo>
                  <a:lnTo>
                    <a:pt x="553" y="209"/>
                  </a:lnTo>
                  <a:lnTo>
                    <a:pt x="552" y="213"/>
                  </a:lnTo>
                  <a:lnTo>
                    <a:pt x="549" y="215"/>
                  </a:lnTo>
                  <a:lnTo>
                    <a:pt x="547" y="219"/>
                  </a:lnTo>
                  <a:lnTo>
                    <a:pt x="545" y="222"/>
                  </a:lnTo>
                  <a:lnTo>
                    <a:pt x="545" y="223"/>
                  </a:lnTo>
                  <a:lnTo>
                    <a:pt x="545" y="224"/>
                  </a:lnTo>
                  <a:lnTo>
                    <a:pt x="545" y="223"/>
                  </a:lnTo>
                  <a:lnTo>
                    <a:pt x="545" y="222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1" y="228"/>
                  </a:lnTo>
                  <a:lnTo>
                    <a:pt x="541" y="226"/>
                  </a:lnTo>
                  <a:lnTo>
                    <a:pt x="541" y="223"/>
                  </a:lnTo>
                  <a:lnTo>
                    <a:pt x="542" y="222"/>
                  </a:lnTo>
                  <a:lnTo>
                    <a:pt x="542" y="220"/>
                  </a:lnTo>
                  <a:lnTo>
                    <a:pt x="544" y="218"/>
                  </a:lnTo>
                  <a:lnTo>
                    <a:pt x="544" y="218"/>
                  </a:lnTo>
                  <a:lnTo>
                    <a:pt x="545" y="216"/>
                  </a:lnTo>
                  <a:lnTo>
                    <a:pt x="542" y="216"/>
                  </a:lnTo>
                  <a:lnTo>
                    <a:pt x="542" y="215"/>
                  </a:lnTo>
                  <a:lnTo>
                    <a:pt x="542" y="213"/>
                  </a:lnTo>
                  <a:lnTo>
                    <a:pt x="542" y="213"/>
                  </a:lnTo>
                  <a:lnTo>
                    <a:pt x="542" y="213"/>
                  </a:lnTo>
                  <a:lnTo>
                    <a:pt x="541" y="212"/>
                  </a:lnTo>
                  <a:lnTo>
                    <a:pt x="541" y="213"/>
                  </a:lnTo>
                  <a:lnTo>
                    <a:pt x="538" y="211"/>
                  </a:lnTo>
                  <a:lnTo>
                    <a:pt x="538" y="208"/>
                  </a:lnTo>
                  <a:lnTo>
                    <a:pt x="541" y="207"/>
                  </a:lnTo>
                  <a:lnTo>
                    <a:pt x="541" y="203"/>
                  </a:lnTo>
                  <a:lnTo>
                    <a:pt x="540" y="200"/>
                  </a:lnTo>
                  <a:lnTo>
                    <a:pt x="541" y="197"/>
                  </a:lnTo>
                  <a:lnTo>
                    <a:pt x="542" y="196"/>
                  </a:lnTo>
                  <a:lnTo>
                    <a:pt x="542" y="196"/>
                  </a:lnTo>
                  <a:lnTo>
                    <a:pt x="542" y="193"/>
                  </a:lnTo>
                  <a:lnTo>
                    <a:pt x="541" y="192"/>
                  </a:lnTo>
                  <a:lnTo>
                    <a:pt x="542" y="193"/>
                  </a:lnTo>
                  <a:lnTo>
                    <a:pt x="541" y="194"/>
                  </a:lnTo>
                  <a:lnTo>
                    <a:pt x="538" y="197"/>
                  </a:lnTo>
                  <a:lnTo>
                    <a:pt x="537" y="199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201"/>
                  </a:lnTo>
                  <a:lnTo>
                    <a:pt x="537" y="204"/>
                  </a:lnTo>
                  <a:lnTo>
                    <a:pt x="537" y="205"/>
                  </a:lnTo>
                  <a:lnTo>
                    <a:pt x="537" y="207"/>
                  </a:lnTo>
                  <a:lnTo>
                    <a:pt x="537" y="209"/>
                  </a:lnTo>
                  <a:lnTo>
                    <a:pt x="537" y="213"/>
                  </a:lnTo>
                  <a:lnTo>
                    <a:pt x="536" y="215"/>
                  </a:lnTo>
                  <a:lnTo>
                    <a:pt x="533" y="211"/>
                  </a:lnTo>
                  <a:lnTo>
                    <a:pt x="532" y="211"/>
                  </a:lnTo>
                  <a:lnTo>
                    <a:pt x="530" y="208"/>
                  </a:lnTo>
                  <a:lnTo>
                    <a:pt x="529" y="208"/>
                  </a:lnTo>
                  <a:lnTo>
                    <a:pt x="527" y="207"/>
                  </a:lnTo>
                  <a:lnTo>
                    <a:pt x="529" y="204"/>
                  </a:lnTo>
                  <a:lnTo>
                    <a:pt x="527" y="207"/>
                  </a:lnTo>
                  <a:lnTo>
                    <a:pt x="527" y="208"/>
                  </a:lnTo>
                  <a:lnTo>
                    <a:pt x="529" y="209"/>
                  </a:lnTo>
                  <a:lnTo>
                    <a:pt x="530" y="212"/>
                  </a:lnTo>
                  <a:lnTo>
                    <a:pt x="533" y="212"/>
                  </a:lnTo>
                  <a:lnTo>
                    <a:pt x="536" y="216"/>
                  </a:lnTo>
                  <a:lnTo>
                    <a:pt x="537" y="216"/>
                  </a:lnTo>
                  <a:lnTo>
                    <a:pt x="538" y="219"/>
                  </a:lnTo>
                  <a:lnTo>
                    <a:pt x="537" y="222"/>
                  </a:lnTo>
                  <a:lnTo>
                    <a:pt x="536" y="222"/>
                  </a:lnTo>
                  <a:lnTo>
                    <a:pt x="534" y="219"/>
                  </a:lnTo>
                  <a:lnTo>
                    <a:pt x="533" y="219"/>
                  </a:lnTo>
                  <a:lnTo>
                    <a:pt x="534" y="222"/>
                  </a:lnTo>
                  <a:lnTo>
                    <a:pt x="537" y="223"/>
                  </a:lnTo>
                  <a:lnTo>
                    <a:pt x="538" y="224"/>
                  </a:lnTo>
                  <a:lnTo>
                    <a:pt x="537" y="226"/>
                  </a:lnTo>
                  <a:lnTo>
                    <a:pt x="537" y="227"/>
                  </a:lnTo>
                  <a:lnTo>
                    <a:pt x="534" y="226"/>
                  </a:lnTo>
                  <a:lnTo>
                    <a:pt x="537" y="228"/>
                  </a:lnTo>
                  <a:lnTo>
                    <a:pt x="537" y="230"/>
                  </a:lnTo>
                  <a:lnTo>
                    <a:pt x="534" y="230"/>
                  </a:lnTo>
                  <a:lnTo>
                    <a:pt x="534" y="227"/>
                  </a:lnTo>
                  <a:lnTo>
                    <a:pt x="530" y="227"/>
                  </a:lnTo>
                  <a:lnTo>
                    <a:pt x="529" y="226"/>
                  </a:lnTo>
                  <a:lnTo>
                    <a:pt x="530" y="228"/>
                  </a:lnTo>
                  <a:lnTo>
                    <a:pt x="533" y="228"/>
                  </a:lnTo>
                  <a:lnTo>
                    <a:pt x="534" y="228"/>
                  </a:lnTo>
                  <a:lnTo>
                    <a:pt x="534" y="231"/>
                  </a:lnTo>
                  <a:lnTo>
                    <a:pt x="537" y="233"/>
                  </a:lnTo>
                  <a:lnTo>
                    <a:pt x="538" y="233"/>
                  </a:lnTo>
                  <a:lnTo>
                    <a:pt x="540" y="233"/>
                  </a:lnTo>
                  <a:lnTo>
                    <a:pt x="540" y="235"/>
                  </a:lnTo>
                  <a:lnTo>
                    <a:pt x="540" y="237"/>
                  </a:lnTo>
                  <a:lnTo>
                    <a:pt x="538" y="237"/>
                  </a:lnTo>
                  <a:lnTo>
                    <a:pt x="538" y="238"/>
                  </a:lnTo>
                  <a:lnTo>
                    <a:pt x="538" y="239"/>
                  </a:lnTo>
                  <a:lnTo>
                    <a:pt x="540" y="241"/>
                  </a:lnTo>
                  <a:lnTo>
                    <a:pt x="538" y="242"/>
                  </a:lnTo>
                  <a:lnTo>
                    <a:pt x="537" y="242"/>
                  </a:lnTo>
                  <a:lnTo>
                    <a:pt x="537" y="243"/>
                  </a:lnTo>
                  <a:lnTo>
                    <a:pt x="533" y="243"/>
                  </a:lnTo>
                  <a:lnTo>
                    <a:pt x="532" y="245"/>
                  </a:lnTo>
                  <a:lnTo>
                    <a:pt x="530" y="245"/>
                  </a:lnTo>
                  <a:lnTo>
                    <a:pt x="529" y="242"/>
                  </a:lnTo>
                  <a:lnTo>
                    <a:pt x="529" y="242"/>
                  </a:lnTo>
                  <a:lnTo>
                    <a:pt x="529" y="246"/>
                  </a:lnTo>
                  <a:lnTo>
                    <a:pt x="529" y="247"/>
                  </a:lnTo>
                  <a:lnTo>
                    <a:pt x="530" y="247"/>
                  </a:lnTo>
                  <a:lnTo>
                    <a:pt x="536" y="246"/>
                  </a:lnTo>
                  <a:lnTo>
                    <a:pt x="536" y="246"/>
                  </a:lnTo>
                  <a:lnTo>
                    <a:pt x="537" y="250"/>
                  </a:lnTo>
                  <a:lnTo>
                    <a:pt x="537" y="250"/>
                  </a:lnTo>
                  <a:lnTo>
                    <a:pt x="538" y="249"/>
                  </a:lnTo>
                  <a:lnTo>
                    <a:pt x="538" y="246"/>
                  </a:lnTo>
                  <a:lnTo>
                    <a:pt x="540" y="246"/>
                  </a:lnTo>
                  <a:lnTo>
                    <a:pt x="541" y="249"/>
                  </a:lnTo>
                  <a:lnTo>
                    <a:pt x="540" y="252"/>
                  </a:lnTo>
                  <a:lnTo>
                    <a:pt x="540" y="252"/>
                  </a:lnTo>
                  <a:lnTo>
                    <a:pt x="537" y="253"/>
                  </a:lnTo>
                  <a:lnTo>
                    <a:pt x="536" y="254"/>
                  </a:lnTo>
                  <a:lnTo>
                    <a:pt x="534" y="256"/>
                  </a:lnTo>
                  <a:lnTo>
                    <a:pt x="533" y="254"/>
                  </a:lnTo>
                  <a:lnTo>
                    <a:pt x="532" y="254"/>
                  </a:lnTo>
                  <a:lnTo>
                    <a:pt x="530" y="253"/>
                  </a:lnTo>
                  <a:lnTo>
                    <a:pt x="530" y="254"/>
                  </a:lnTo>
                  <a:lnTo>
                    <a:pt x="529" y="254"/>
                  </a:lnTo>
                  <a:lnTo>
                    <a:pt x="527" y="254"/>
                  </a:lnTo>
                  <a:lnTo>
                    <a:pt x="526" y="254"/>
                  </a:lnTo>
                  <a:lnTo>
                    <a:pt x="527" y="256"/>
                  </a:lnTo>
                  <a:lnTo>
                    <a:pt x="530" y="256"/>
                  </a:lnTo>
                  <a:lnTo>
                    <a:pt x="530" y="257"/>
                  </a:lnTo>
                  <a:lnTo>
                    <a:pt x="529" y="258"/>
                  </a:lnTo>
                  <a:lnTo>
                    <a:pt x="530" y="258"/>
                  </a:lnTo>
                  <a:lnTo>
                    <a:pt x="526" y="260"/>
                  </a:lnTo>
                  <a:lnTo>
                    <a:pt x="525" y="260"/>
                  </a:lnTo>
                  <a:lnTo>
                    <a:pt x="526" y="261"/>
                  </a:lnTo>
                  <a:lnTo>
                    <a:pt x="529" y="261"/>
                  </a:lnTo>
                  <a:lnTo>
                    <a:pt x="532" y="260"/>
                  </a:lnTo>
                  <a:lnTo>
                    <a:pt x="532" y="260"/>
                  </a:lnTo>
                  <a:lnTo>
                    <a:pt x="533" y="261"/>
                  </a:lnTo>
                  <a:lnTo>
                    <a:pt x="530" y="262"/>
                  </a:lnTo>
                  <a:lnTo>
                    <a:pt x="529" y="264"/>
                  </a:lnTo>
                  <a:lnTo>
                    <a:pt x="529" y="262"/>
                  </a:lnTo>
                  <a:lnTo>
                    <a:pt x="527" y="262"/>
                  </a:lnTo>
                  <a:lnTo>
                    <a:pt x="526" y="264"/>
                  </a:lnTo>
                  <a:lnTo>
                    <a:pt x="523" y="264"/>
                  </a:lnTo>
                  <a:lnTo>
                    <a:pt x="518" y="266"/>
                  </a:lnTo>
                  <a:lnTo>
                    <a:pt x="513" y="272"/>
                  </a:lnTo>
                  <a:lnTo>
                    <a:pt x="510" y="275"/>
                  </a:lnTo>
                  <a:lnTo>
                    <a:pt x="508" y="275"/>
                  </a:lnTo>
                  <a:lnTo>
                    <a:pt x="507" y="275"/>
                  </a:lnTo>
                  <a:lnTo>
                    <a:pt x="504" y="275"/>
                  </a:lnTo>
                  <a:lnTo>
                    <a:pt x="502" y="277"/>
                  </a:lnTo>
                  <a:lnTo>
                    <a:pt x="498" y="283"/>
                  </a:lnTo>
                  <a:lnTo>
                    <a:pt x="498" y="284"/>
                  </a:lnTo>
                  <a:lnTo>
                    <a:pt x="496" y="286"/>
                  </a:lnTo>
                  <a:lnTo>
                    <a:pt x="495" y="286"/>
                  </a:lnTo>
                  <a:lnTo>
                    <a:pt x="495" y="287"/>
                  </a:lnTo>
                  <a:lnTo>
                    <a:pt x="492" y="290"/>
                  </a:lnTo>
                  <a:lnTo>
                    <a:pt x="491" y="288"/>
                  </a:lnTo>
                  <a:lnTo>
                    <a:pt x="489" y="290"/>
                  </a:lnTo>
                  <a:lnTo>
                    <a:pt x="489" y="291"/>
                  </a:lnTo>
                  <a:lnTo>
                    <a:pt x="487" y="290"/>
                  </a:lnTo>
                  <a:lnTo>
                    <a:pt x="485" y="292"/>
                  </a:lnTo>
                  <a:lnTo>
                    <a:pt x="483" y="292"/>
                  </a:lnTo>
                  <a:lnTo>
                    <a:pt x="481" y="294"/>
                  </a:lnTo>
                  <a:lnTo>
                    <a:pt x="479" y="294"/>
                  </a:lnTo>
                  <a:lnTo>
                    <a:pt x="479" y="295"/>
                  </a:lnTo>
                  <a:lnTo>
                    <a:pt x="476" y="295"/>
                  </a:lnTo>
                  <a:lnTo>
                    <a:pt x="476" y="295"/>
                  </a:lnTo>
                  <a:lnTo>
                    <a:pt x="476" y="296"/>
                  </a:lnTo>
                  <a:lnTo>
                    <a:pt x="476" y="298"/>
                  </a:lnTo>
                  <a:lnTo>
                    <a:pt x="474" y="300"/>
                  </a:lnTo>
                  <a:lnTo>
                    <a:pt x="473" y="300"/>
                  </a:lnTo>
                  <a:lnTo>
                    <a:pt x="472" y="302"/>
                  </a:lnTo>
                  <a:lnTo>
                    <a:pt x="470" y="302"/>
                  </a:lnTo>
                  <a:lnTo>
                    <a:pt x="468" y="306"/>
                  </a:lnTo>
                  <a:lnTo>
                    <a:pt x="466" y="309"/>
                  </a:lnTo>
                  <a:lnTo>
                    <a:pt x="466" y="313"/>
                  </a:lnTo>
                  <a:lnTo>
                    <a:pt x="466" y="320"/>
                  </a:lnTo>
                  <a:lnTo>
                    <a:pt x="466" y="324"/>
                  </a:lnTo>
                  <a:lnTo>
                    <a:pt x="466" y="329"/>
                  </a:lnTo>
                  <a:lnTo>
                    <a:pt x="466" y="332"/>
                  </a:lnTo>
                  <a:lnTo>
                    <a:pt x="468" y="337"/>
                  </a:lnTo>
                  <a:lnTo>
                    <a:pt x="469" y="339"/>
                  </a:lnTo>
                  <a:lnTo>
                    <a:pt x="469" y="344"/>
                  </a:lnTo>
                  <a:lnTo>
                    <a:pt x="472" y="347"/>
                  </a:lnTo>
                  <a:lnTo>
                    <a:pt x="472" y="348"/>
                  </a:lnTo>
                  <a:lnTo>
                    <a:pt x="470" y="351"/>
                  </a:lnTo>
                  <a:lnTo>
                    <a:pt x="470" y="355"/>
                  </a:lnTo>
                  <a:lnTo>
                    <a:pt x="472" y="356"/>
                  </a:lnTo>
                  <a:lnTo>
                    <a:pt x="473" y="363"/>
                  </a:lnTo>
                  <a:lnTo>
                    <a:pt x="474" y="364"/>
                  </a:lnTo>
                  <a:lnTo>
                    <a:pt x="476" y="368"/>
                  </a:lnTo>
                  <a:lnTo>
                    <a:pt x="474" y="370"/>
                  </a:lnTo>
                  <a:lnTo>
                    <a:pt x="474" y="371"/>
                  </a:lnTo>
                  <a:lnTo>
                    <a:pt x="474" y="375"/>
                  </a:lnTo>
                  <a:lnTo>
                    <a:pt x="474" y="377"/>
                  </a:lnTo>
                  <a:lnTo>
                    <a:pt x="474" y="378"/>
                  </a:lnTo>
                  <a:lnTo>
                    <a:pt x="472" y="382"/>
                  </a:lnTo>
                  <a:lnTo>
                    <a:pt x="472" y="385"/>
                  </a:lnTo>
                  <a:lnTo>
                    <a:pt x="470" y="387"/>
                  </a:lnTo>
                  <a:lnTo>
                    <a:pt x="469" y="390"/>
                  </a:lnTo>
                  <a:lnTo>
                    <a:pt x="468" y="390"/>
                  </a:lnTo>
                  <a:lnTo>
                    <a:pt x="465" y="392"/>
                  </a:lnTo>
                  <a:lnTo>
                    <a:pt x="464" y="390"/>
                  </a:lnTo>
                  <a:lnTo>
                    <a:pt x="462" y="389"/>
                  </a:lnTo>
                  <a:lnTo>
                    <a:pt x="460" y="389"/>
                  </a:lnTo>
                  <a:lnTo>
                    <a:pt x="461" y="387"/>
                  </a:lnTo>
                  <a:lnTo>
                    <a:pt x="458" y="386"/>
                  </a:lnTo>
                  <a:lnTo>
                    <a:pt x="458" y="383"/>
                  </a:lnTo>
                  <a:lnTo>
                    <a:pt x="458" y="382"/>
                  </a:lnTo>
                  <a:lnTo>
                    <a:pt x="455" y="382"/>
                  </a:lnTo>
                  <a:lnTo>
                    <a:pt x="454" y="381"/>
                  </a:lnTo>
                  <a:lnTo>
                    <a:pt x="455" y="378"/>
                  </a:lnTo>
                  <a:lnTo>
                    <a:pt x="454" y="375"/>
                  </a:lnTo>
                  <a:lnTo>
                    <a:pt x="451" y="374"/>
                  </a:lnTo>
                  <a:lnTo>
                    <a:pt x="451" y="373"/>
                  </a:lnTo>
                  <a:lnTo>
                    <a:pt x="453" y="371"/>
                  </a:lnTo>
                  <a:lnTo>
                    <a:pt x="453" y="370"/>
                  </a:lnTo>
                  <a:lnTo>
                    <a:pt x="454" y="367"/>
                  </a:lnTo>
                  <a:lnTo>
                    <a:pt x="453" y="368"/>
                  </a:lnTo>
                  <a:lnTo>
                    <a:pt x="451" y="367"/>
                  </a:lnTo>
                  <a:lnTo>
                    <a:pt x="451" y="368"/>
                  </a:lnTo>
                  <a:lnTo>
                    <a:pt x="450" y="370"/>
                  </a:lnTo>
                  <a:lnTo>
                    <a:pt x="450" y="367"/>
                  </a:lnTo>
                  <a:lnTo>
                    <a:pt x="449" y="367"/>
                  </a:lnTo>
                  <a:lnTo>
                    <a:pt x="449" y="367"/>
                  </a:lnTo>
                  <a:lnTo>
                    <a:pt x="447" y="364"/>
                  </a:lnTo>
                  <a:lnTo>
                    <a:pt x="447" y="363"/>
                  </a:lnTo>
                  <a:lnTo>
                    <a:pt x="446" y="362"/>
                  </a:lnTo>
                  <a:lnTo>
                    <a:pt x="449" y="358"/>
                  </a:lnTo>
                  <a:lnTo>
                    <a:pt x="449" y="355"/>
                  </a:lnTo>
                  <a:lnTo>
                    <a:pt x="447" y="353"/>
                  </a:lnTo>
                  <a:lnTo>
                    <a:pt x="446" y="355"/>
                  </a:lnTo>
                  <a:lnTo>
                    <a:pt x="447" y="356"/>
                  </a:lnTo>
                  <a:lnTo>
                    <a:pt x="446" y="358"/>
                  </a:lnTo>
                  <a:lnTo>
                    <a:pt x="445" y="359"/>
                  </a:lnTo>
                  <a:lnTo>
                    <a:pt x="443" y="356"/>
                  </a:lnTo>
                  <a:lnTo>
                    <a:pt x="443" y="353"/>
                  </a:lnTo>
                  <a:lnTo>
                    <a:pt x="446" y="349"/>
                  </a:lnTo>
                  <a:lnTo>
                    <a:pt x="447" y="344"/>
                  </a:lnTo>
                  <a:lnTo>
                    <a:pt x="447" y="341"/>
                  </a:lnTo>
                  <a:lnTo>
                    <a:pt x="446" y="339"/>
                  </a:lnTo>
                  <a:lnTo>
                    <a:pt x="445" y="339"/>
                  </a:lnTo>
                  <a:lnTo>
                    <a:pt x="443" y="337"/>
                  </a:lnTo>
                  <a:lnTo>
                    <a:pt x="443" y="336"/>
                  </a:lnTo>
                  <a:lnTo>
                    <a:pt x="442" y="336"/>
                  </a:lnTo>
                  <a:lnTo>
                    <a:pt x="440" y="334"/>
                  </a:lnTo>
                  <a:lnTo>
                    <a:pt x="440" y="332"/>
                  </a:lnTo>
                  <a:lnTo>
                    <a:pt x="439" y="332"/>
                  </a:lnTo>
                  <a:lnTo>
                    <a:pt x="438" y="330"/>
                  </a:lnTo>
                  <a:lnTo>
                    <a:pt x="438" y="326"/>
                  </a:lnTo>
                  <a:lnTo>
                    <a:pt x="435" y="326"/>
                  </a:lnTo>
                  <a:lnTo>
                    <a:pt x="434" y="325"/>
                  </a:lnTo>
                  <a:lnTo>
                    <a:pt x="431" y="325"/>
                  </a:lnTo>
                  <a:lnTo>
                    <a:pt x="430" y="326"/>
                  </a:lnTo>
                  <a:lnTo>
                    <a:pt x="430" y="328"/>
                  </a:lnTo>
                  <a:lnTo>
                    <a:pt x="428" y="328"/>
                  </a:lnTo>
                  <a:lnTo>
                    <a:pt x="428" y="328"/>
                  </a:lnTo>
                  <a:lnTo>
                    <a:pt x="424" y="330"/>
                  </a:lnTo>
                  <a:lnTo>
                    <a:pt x="423" y="330"/>
                  </a:lnTo>
                  <a:lnTo>
                    <a:pt x="419" y="330"/>
                  </a:lnTo>
                  <a:lnTo>
                    <a:pt x="419" y="330"/>
                  </a:lnTo>
                  <a:lnTo>
                    <a:pt x="419" y="329"/>
                  </a:lnTo>
                  <a:lnTo>
                    <a:pt x="419" y="330"/>
                  </a:lnTo>
                  <a:lnTo>
                    <a:pt x="420" y="329"/>
                  </a:lnTo>
                  <a:lnTo>
                    <a:pt x="419" y="329"/>
                  </a:lnTo>
                  <a:lnTo>
                    <a:pt x="419" y="326"/>
                  </a:lnTo>
                  <a:lnTo>
                    <a:pt x="415" y="325"/>
                  </a:lnTo>
                  <a:lnTo>
                    <a:pt x="416" y="325"/>
                  </a:lnTo>
                  <a:lnTo>
                    <a:pt x="417" y="325"/>
                  </a:lnTo>
                  <a:lnTo>
                    <a:pt x="417" y="325"/>
                  </a:lnTo>
                  <a:lnTo>
                    <a:pt x="416" y="324"/>
                  </a:lnTo>
                  <a:lnTo>
                    <a:pt x="415" y="322"/>
                  </a:lnTo>
                  <a:lnTo>
                    <a:pt x="413" y="322"/>
                  </a:lnTo>
                  <a:lnTo>
                    <a:pt x="413" y="324"/>
                  </a:lnTo>
                  <a:lnTo>
                    <a:pt x="415" y="325"/>
                  </a:lnTo>
                  <a:lnTo>
                    <a:pt x="413" y="324"/>
                  </a:lnTo>
                  <a:lnTo>
                    <a:pt x="411" y="322"/>
                  </a:lnTo>
                  <a:lnTo>
                    <a:pt x="408" y="322"/>
                  </a:lnTo>
                  <a:lnTo>
                    <a:pt x="405" y="321"/>
                  </a:lnTo>
                  <a:lnTo>
                    <a:pt x="405" y="321"/>
                  </a:lnTo>
                  <a:lnTo>
                    <a:pt x="408" y="321"/>
                  </a:lnTo>
                  <a:lnTo>
                    <a:pt x="409" y="321"/>
                  </a:lnTo>
                  <a:lnTo>
                    <a:pt x="409" y="320"/>
                  </a:lnTo>
                  <a:lnTo>
                    <a:pt x="406" y="320"/>
                  </a:lnTo>
                  <a:lnTo>
                    <a:pt x="404" y="321"/>
                  </a:lnTo>
                  <a:lnTo>
                    <a:pt x="402" y="321"/>
                  </a:lnTo>
                  <a:lnTo>
                    <a:pt x="400" y="321"/>
                  </a:lnTo>
                  <a:lnTo>
                    <a:pt x="398" y="321"/>
                  </a:lnTo>
                  <a:lnTo>
                    <a:pt x="397" y="321"/>
                  </a:lnTo>
                  <a:lnTo>
                    <a:pt x="393" y="321"/>
                  </a:lnTo>
                  <a:lnTo>
                    <a:pt x="392" y="322"/>
                  </a:lnTo>
                  <a:lnTo>
                    <a:pt x="389" y="320"/>
                  </a:lnTo>
                  <a:lnTo>
                    <a:pt x="389" y="318"/>
                  </a:lnTo>
                  <a:lnTo>
                    <a:pt x="389" y="317"/>
                  </a:lnTo>
                  <a:lnTo>
                    <a:pt x="387" y="317"/>
                  </a:lnTo>
                  <a:lnTo>
                    <a:pt x="387" y="318"/>
                  </a:lnTo>
                  <a:lnTo>
                    <a:pt x="386" y="321"/>
                  </a:lnTo>
                  <a:lnTo>
                    <a:pt x="385" y="321"/>
                  </a:lnTo>
                  <a:lnTo>
                    <a:pt x="382" y="321"/>
                  </a:lnTo>
                  <a:lnTo>
                    <a:pt x="381" y="321"/>
                  </a:lnTo>
                  <a:lnTo>
                    <a:pt x="372" y="322"/>
                  </a:lnTo>
                  <a:lnTo>
                    <a:pt x="371" y="324"/>
                  </a:lnTo>
                  <a:lnTo>
                    <a:pt x="367" y="325"/>
                  </a:lnTo>
                  <a:lnTo>
                    <a:pt x="366" y="328"/>
                  </a:lnTo>
                  <a:lnTo>
                    <a:pt x="366" y="329"/>
                  </a:lnTo>
                  <a:lnTo>
                    <a:pt x="367" y="328"/>
                  </a:lnTo>
                  <a:lnTo>
                    <a:pt x="368" y="326"/>
                  </a:lnTo>
                  <a:lnTo>
                    <a:pt x="368" y="326"/>
                  </a:lnTo>
                  <a:lnTo>
                    <a:pt x="370" y="328"/>
                  </a:lnTo>
                  <a:lnTo>
                    <a:pt x="371" y="329"/>
                  </a:lnTo>
                  <a:lnTo>
                    <a:pt x="371" y="329"/>
                  </a:lnTo>
                  <a:lnTo>
                    <a:pt x="367" y="332"/>
                  </a:lnTo>
                  <a:lnTo>
                    <a:pt x="367" y="333"/>
                  </a:lnTo>
                  <a:lnTo>
                    <a:pt x="368" y="334"/>
                  </a:lnTo>
                  <a:lnTo>
                    <a:pt x="371" y="336"/>
                  </a:lnTo>
                  <a:lnTo>
                    <a:pt x="374" y="339"/>
                  </a:lnTo>
                  <a:lnTo>
                    <a:pt x="374" y="339"/>
                  </a:lnTo>
                  <a:lnTo>
                    <a:pt x="372" y="340"/>
                  </a:lnTo>
                  <a:lnTo>
                    <a:pt x="371" y="341"/>
                  </a:lnTo>
                  <a:lnTo>
                    <a:pt x="371" y="339"/>
                  </a:lnTo>
                  <a:lnTo>
                    <a:pt x="371" y="339"/>
                  </a:lnTo>
                  <a:lnTo>
                    <a:pt x="370" y="339"/>
                  </a:lnTo>
                  <a:lnTo>
                    <a:pt x="368" y="336"/>
                  </a:lnTo>
                  <a:lnTo>
                    <a:pt x="366" y="336"/>
                  </a:lnTo>
                  <a:lnTo>
                    <a:pt x="364" y="333"/>
                  </a:lnTo>
                  <a:lnTo>
                    <a:pt x="363" y="333"/>
                  </a:lnTo>
                  <a:lnTo>
                    <a:pt x="363" y="336"/>
                  </a:lnTo>
                  <a:lnTo>
                    <a:pt x="363" y="339"/>
                  </a:lnTo>
                  <a:lnTo>
                    <a:pt x="362" y="340"/>
                  </a:lnTo>
                  <a:lnTo>
                    <a:pt x="360" y="337"/>
                  </a:lnTo>
                  <a:lnTo>
                    <a:pt x="359" y="336"/>
                  </a:lnTo>
                  <a:lnTo>
                    <a:pt x="358" y="337"/>
                  </a:lnTo>
                  <a:lnTo>
                    <a:pt x="356" y="339"/>
                  </a:lnTo>
                  <a:lnTo>
                    <a:pt x="353" y="339"/>
                  </a:lnTo>
                  <a:lnTo>
                    <a:pt x="351" y="337"/>
                  </a:lnTo>
                  <a:lnTo>
                    <a:pt x="349" y="337"/>
                  </a:lnTo>
                  <a:lnTo>
                    <a:pt x="348" y="337"/>
                  </a:lnTo>
                  <a:lnTo>
                    <a:pt x="349" y="336"/>
                  </a:lnTo>
                  <a:lnTo>
                    <a:pt x="351" y="334"/>
                  </a:lnTo>
                  <a:lnTo>
                    <a:pt x="349" y="333"/>
                  </a:lnTo>
                  <a:lnTo>
                    <a:pt x="348" y="333"/>
                  </a:lnTo>
                  <a:lnTo>
                    <a:pt x="347" y="333"/>
                  </a:lnTo>
                  <a:lnTo>
                    <a:pt x="347" y="330"/>
                  </a:lnTo>
                  <a:lnTo>
                    <a:pt x="347" y="330"/>
                  </a:lnTo>
                  <a:lnTo>
                    <a:pt x="344" y="330"/>
                  </a:lnTo>
                  <a:lnTo>
                    <a:pt x="343" y="330"/>
                  </a:lnTo>
                  <a:lnTo>
                    <a:pt x="344" y="329"/>
                  </a:lnTo>
                  <a:lnTo>
                    <a:pt x="343" y="328"/>
                  </a:lnTo>
                  <a:lnTo>
                    <a:pt x="340" y="329"/>
                  </a:lnTo>
                  <a:lnTo>
                    <a:pt x="340" y="330"/>
                  </a:lnTo>
                  <a:lnTo>
                    <a:pt x="341" y="332"/>
                  </a:lnTo>
                  <a:lnTo>
                    <a:pt x="338" y="332"/>
                  </a:lnTo>
                  <a:lnTo>
                    <a:pt x="332" y="332"/>
                  </a:lnTo>
                  <a:lnTo>
                    <a:pt x="330" y="330"/>
                  </a:lnTo>
                  <a:lnTo>
                    <a:pt x="325" y="329"/>
                  </a:lnTo>
                  <a:lnTo>
                    <a:pt x="322" y="329"/>
                  </a:lnTo>
                  <a:lnTo>
                    <a:pt x="318" y="330"/>
                  </a:lnTo>
                  <a:lnTo>
                    <a:pt x="317" y="330"/>
                  </a:lnTo>
                  <a:lnTo>
                    <a:pt x="315" y="330"/>
                  </a:lnTo>
                  <a:lnTo>
                    <a:pt x="313" y="334"/>
                  </a:lnTo>
                  <a:lnTo>
                    <a:pt x="310" y="334"/>
                  </a:lnTo>
                  <a:lnTo>
                    <a:pt x="311" y="332"/>
                  </a:lnTo>
                  <a:lnTo>
                    <a:pt x="310" y="330"/>
                  </a:lnTo>
                  <a:lnTo>
                    <a:pt x="311" y="329"/>
                  </a:lnTo>
                  <a:lnTo>
                    <a:pt x="311" y="326"/>
                  </a:lnTo>
                  <a:lnTo>
                    <a:pt x="311" y="328"/>
                  </a:lnTo>
                  <a:lnTo>
                    <a:pt x="309" y="329"/>
                  </a:lnTo>
                  <a:lnTo>
                    <a:pt x="307" y="329"/>
                  </a:lnTo>
                  <a:lnTo>
                    <a:pt x="306" y="328"/>
                  </a:lnTo>
                  <a:lnTo>
                    <a:pt x="307" y="332"/>
                  </a:lnTo>
                  <a:lnTo>
                    <a:pt x="307" y="333"/>
                  </a:lnTo>
                  <a:lnTo>
                    <a:pt x="307" y="336"/>
                  </a:lnTo>
                  <a:lnTo>
                    <a:pt x="306" y="337"/>
                  </a:lnTo>
                  <a:lnTo>
                    <a:pt x="304" y="337"/>
                  </a:lnTo>
                  <a:lnTo>
                    <a:pt x="300" y="340"/>
                  </a:lnTo>
                  <a:lnTo>
                    <a:pt x="296" y="343"/>
                  </a:lnTo>
                  <a:lnTo>
                    <a:pt x="295" y="343"/>
                  </a:lnTo>
                  <a:lnTo>
                    <a:pt x="292" y="345"/>
                  </a:lnTo>
                  <a:lnTo>
                    <a:pt x="291" y="345"/>
                  </a:lnTo>
                  <a:lnTo>
                    <a:pt x="292" y="343"/>
                  </a:lnTo>
                  <a:lnTo>
                    <a:pt x="291" y="341"/>
                  </a:lnTo>
                  <a:lnTo>
                    <a:pt x="290" y="343"/>
                  </a:lnTo>
                  <a:lnTo>
                    <a:pt x="290" y="341"/>
                  </a:lnTo>
                  <a:lnTo>
                    <a:pt x="287" y="343"/>
                  </a:lnTo>
                  <a:lnTo>
                    <a:pt x="288" y="344"/>
                  </a:lnTo>
                  <a:lnTo>
                    <a:pt x="285" y="345"/>
                  </a:lnTo>
                  <a:lnTo>
                    <a:pt x="284" y="344"/>
                  </a:lnTo>
                  <a:lnTo>
                    <a:pt x="284" y="347"/>
                  </a:lnTo>
                  <a:lnTo>
                    <a:pt x="283" y="348"/>
                  </a:lnTo>
                  <a:lnTo>
                    <a:pt x="281" y="348"/>
                  </a:lnTo>
                  <a:lnTo>
                    <a:pt x="279" y="349"/>
                  </a:lnTo>
                  <a:lnTo>
                    <a:pt x="280" y="352"/>
                  </a:lnTo>
                  <a:lnTo>
                    <a:pt x="279" y="353"/>
                  </a:lnTo>
                  <a:lnTo>
                    <a:pt x="276" y="353"/>
                  </a:lnTo>
                  <a:lnTo>
                    <a:pt x="277" y="359"/>
                  </a:lnTo>
                  <a:lnTo>
                    <a:pt x="276" y="360"/>
                  </a:lnTo>
                  <a:lnTo>
                    <a:pt x="275" y="364"/>
                  </a:lnTo>
                  <a:lnTo>
                    <a:pt x="273" y="367"/>
                  </a:lnTo>
                  <a:lnTo>
                    <a:pt x="275" y="368"/>
                  </a:lnTo>
                  <a:lnTo>
                    <a:pt x="275" y="374"/>
                  </a:lnTo>
                  <a:lnTo>
                    <a:pt x="275" y="375"/>
                  </a:lnTo>
                  <a:lnTo>
                    <a:pt x="273" y="378"/>
                  </a:lnTo>
                  <a:lnTo>
                    <a:pt x="273" y="382"/>
                  </a:lnTo>
                  <a:lnTo>
                    <a:pt x="272" y="381"/>
                  </a:lnTo>
                  <a:lnTo>
                    <a:pt x="270" y="379"/>
                  </a:lnTo>
                  <a:lnTo>
                    <a:pt x="269" y="379"/>
                  </a:lnTo>
                  <a:lnTo>
                    <a:pt x="266" y="378"/>
                  </a:lnTo>
                  <a:lnTo>
                    <a:pt x="262" y="377"/>
                  </a:lnTo>
                  <a:lnTo>
                    <a:pt x="261" y="375"/>
                  </a:lnTo>
                  <a:lnTo>
                    <a:pt x="260" y="374"/>
                  </a:lnTo>
                  <a:lnTo>
                    <a:pt x="258" y="374"/>
                  </a:lnTo>
                  <a:lnTo>
                    <a:pt x="257" y="374"/>
                  </a:lnTo>
                  <a:lnTo>
                    <a:pt x="256" y="374"/>
                  </a:lnTo>
                  <a:lnTo>
                    <a:pt x="256" y="373"/>
                  </a:lnTo>
                  <a:lnTo>
                    <a:pt x="256" y="370"/>
                  </a:lnTo>
                  <a:lnTo>
                    <a:pt x="253" y="363"/>
                  </a:lnTo>
                  <a:lnTo>
                    <a:pt x="253" y="362"/>
                  </a:lnTo>
                  <a:lnTo>
                    <a:pt x="253" y="362"/>
                  </a:lnTo>
                  <a:lnTo>
                    <a:pt x="253" y="359"/>
                  </a:lnTo>
                  <a:lnTo>
                    <a:pt x="253" y="356"/>
                  </a:lnTo>
                  <a:lnTo>
                    <a:pt x="251" y="355"/>
                  </a:lnTo>
                  <a:lnTo>
                    <a:pt x="250" y="352"/>
                  </a:lnTo>
                  <a:lnTo>
                    <a:pt x="250" y="351"/>
                  </a:lnTo>
                  <a:lnTo>
                    <a:pt x="247" y="349"/>
                  </a:lnTo>
                  <a:lnTo>
                    <a:pt x="247" y="348"/>
                  </a:lnTo>
                  <a:lnTo>
                    <a:pt x="246" y="348"/>
                  </a:lnTo>
                  <a:lnTo>
                    <a:pt x="245" y="343"/>
                  </a:lnTo>
                  <a:lnTo>
                    <a:pt x="245" y="341"/>
                  </a:lnTo>
                  <a:lnTo>
                    <a:pt x="243" y="341"/>
                  </a:lnTo>
                  <a:lnTo>
                    <a:pt x="243" y="339"/>
                  </a:lnTo>
                  <a:lnTo>
                    <a:pt x="242" y="336"/>
                  </a:lnTo>
                  <a:lnTo>
                    <a:pt x="242" y="336"/>
                  </a:lnTo>
                  <a:lnTo>
                    <a:pt x="241" y="333"/>
                  </a:lnTo>
                  <a:lnTo>
                    <a:pt x="239" y="330"/>
                  </a:lnTo>
                  <a:lnTo>
                    <a:pt x="236" y="328"/>
                  </a:lnTo>
                  <a:lnTo>
                    <a:pt x="235" y="326"/>
                  </a:lnTo>
                  <a:lnTo>
                    <a:pt x="234" y="326"/>
                  </a:lnTo>
                  <a:lnTo>
                    <a:pt x="232" y="326"/>
                  </a:lnTo>
                  <a:lnTo>
                    <a:pt x="232" y="325"/>
                  </a:lnTo>
                  <a:lnTo>
                    <a:pt x="231" y="325"/>
                  </a:lnTo>
                  <a:lnTo>
                    <a:pt x="230" y="325"/>
                  </a:lnTo>
                  <a:lnTo>
                    <a:pt x="227" y="325"/>
                  </a:lnTo>
                  <a:lnTo>
                    <a:pt x="226" y="325"/>
                  </a:lnTo>
                  <a:lnTo>
                    <a:pt x="224" y="326"/>
                  </a:lnTo>
                  <a:lnTo>
                    <a:pt x="223" y="326"/>
                  </a:lnTo>
                  <a:lnTo>
                    <a:pt x="223" y="326"/>
                  </a:lnTo>
                  <a:lnTo>
                    <a:pt x="223" y="326"/>
                  </a:lnTo>
                  <a:lnTo>
                    <a:pt x="222" y="326"/>
                  </a:lnTo>
                  <a:lnTo>
                    <a:pt x="220" y="328"/>
                  </a:lnTo>
                  <a:lnTo>
                    <a:pt x="217" y="330"/>
                  </a:lnTo>
                  <a:lnTo>
                    <a:pt x="217" y="332"/>
                  </a:lnTo>
                  <a:lnTo>
                    <a:pt x="217" y="333"/>
                  </a:lnTo>
                  <a:lnTo>
                    <a:pt x="217" y="333"/>
                  </a:lnTo>
                  <a:lnTo>
                    <a:pt x="216" y="333"/>
                  </a:lnTo>
                  <a:lnTo>
                    <a:pt x="215" y="334"/>
                  </a:lnTo>
                  <a:lnTo>
                    <a:pt x="213" y="336"/>
                  </a:lnTo>
                  <a:lnTo>
                    <a:pt x="213" y="336"/>
                  </a:lnTo>
                  <a:lnTo>
                    <a:pt x="212" y="336"/>
                  </a:lnTo>
                  <a:lnTo>
                    <a:pt x="211" y="336"/>
                  </a:lnTo>
                  <a:lnTo>
                    <a:pt x="209" y="334"/>
                  </a:lnTo>
                  <a:lnTo>
                    <a:pt x="207" y="333"/>
                  </a:lnTo>
                  <a:lnTo>
                    <a:pt x="207" y="333"/>
                  </a:lnTo>
                  <a:lnTo>
                    <a:pt x="204" y="332"/>
                  </a:lnTo>
                  <a:lnTo>
                    <a:pt x="203" y="332"/>
                  </a:lnTo>
                  <a:lnTo>
                    <a:pt x="203" y="330"/>
                  </a:lnTo>
                  <a:lnTo>
                    <a:pt x="203" y="330"/>
                  </a:lnTo>
                  <a:lnTo>
                    <a:pt x="201" y="329"/>
                  </a:lnTo>
                  <a:lnTo>
                    <a:pt x="200" y="329"/>
                  </a:lnTo>
                  <a:lnTo>
                    <a:pt x="200" y="329"/>
                  </a:lnTo>
                  <a:lnTo>
                    <a:pt x="198" y="328"/>
                  </a:lnTo>
                  <a:lnTo>
                    <a:pt x="198" y="328"/>
                  </a:lnTo>
                  <a:lnTo>
                    <a:pt x="198" y="328"/>
                  </a:lnTo>
                  <a:lnTo>
                    <a:pt x="197" y="325"/>
                  </a:lnTo>
                  <a:lnTo>
                    <a:pt x="196" y="324"/>
                  </a:lnTo>
                  <a:lnTo>
                    <a:pt x="194" y="321"/>
                  </a:lnTo>
                  <a:lnTo>
                    <a:pt x="194" y="321"/>
                  </a:lnTo>
                  <a:lnTo>
                    <a:pt x="196" y="320"/>
                  </a:lnTo>
                  <a:lnTo>
                    <a:pt x="196" y="320"/>
                  </a:lnTo>
                  <a:lnTo>
                    <a:pt x="196" y="318"/>
                  </a:lnTo>
                  <a:lnTo>
                    <a:pt x="194" y="317"/>
                  </a:lnTo>
                  <a:lnTo>
                    <a:pt x="194" y="315"/>
                  </a:lnTo>
                  <a:lnTo>
                    <a:pt x="193" y="315"/>
                  </a:lnTo>
                  <a:lnTo>
                    <a:pt x="193" y="314"/>
                  </a:lnTo>
                  <a:lnTo>
                    <a:pt x="192" y="311"/>
                  </a:lnTo>
                  <a:lnTo>
                    <a:pt x="192" y="310"/>
                  </a:lnTo>
                  <a:lnTo>
                    <a:pt x="190" y="309"/>
                  </a:lnTo>
                  <a:lnTo>
                    <a:pt x="188" y="309"/>
                  </a:lnTo>
                  <a:lnTo>
                    <a:pt x="189" y="307"/>
                  </a:lnTo>
                  <a:lnTo>
                    <a:pt x="189" y="307"/>
                  </a:lnTo>
                  <a:lnTo>
                    <a:pt x="188" y="305"/>
                  </a:lnTo>
                  <a:lnTo>
                    <a:pt x="185" y="305"/>
                  </a:lnTo>
                  <a:lnTo>
                    <a:pt x="186" y="303"/>
                  </a:lnTo>
                  <a:lnTo>
                    <a:pt x="185" y="302"/>
                  </a:lnTo>
                  <a:lnTo>
                    <a:pt x="183" y="302"/>
                  </a:lnTo>
                  <a:lnTo>
                    <a:pt x="183" y="300"/>
                  </a:lnTo>
                  <a:lnTo>
                    <a:pt x="182" y="299"/>
                  </a:lnTo>
                  <a:lnTo>
                    <a:pt x="181" y="296"/>
                  </a:lnTo>
                  <a:lnTo>
                    <a:pt x="178" y="295"/>
                  </a:lnTo>
                  <a:lnTo>
                    <a:pt x="159" y="295"/>
                  </a:lnTo>
                  <a:lnTo>
                    <a:pt x="159" y="299"/>
                  </a:lnTo>
                  <a:lnTo>
                    <a:pt x="125" y="298"/>
                  </a:lnTo>
                  <a:lnTo>
                    <a:pt x="86" y="280"/>
                  </a:lnTo>
                  <a:lnTo>
                    <a:pt x="86" y="279"/>
                  </a:lnTo>
                  <a:lnTo>
                    <a:pt x="86" y="277"/>
                  </a:lnTo>
                  <a:lnTo>
                    <a:pt x="57" y="279"/>
                  </a:lnTo>
                  <a:lnTo>
                    <a:pt x="57" y="276"/>
                  </a:lnTo>
                  <a:lnTo>
                    <a:pt x="58" y="273"/>
                  </a:lnTo>
                  <a:lnTo>
                    <a:pt x="57" y="271"/>
                  </a:lnTo>
                  <a:lnTo>
                    <a:pt x="53" y="264"/>
                  </a:lnTo>
                  <a:lnTo>
                    <a:pt x="50" y="261"/>
                  </a:lnTo>
                  <a:lnTo>
                    <a:pt x="49" y="261"/>
                  </a:lnTo>
                  <a:lnTo>
                    <a:pt x="47" y="261"/>
                  </a:lnTo>
                  <a:lnTo>
                    <a:pt x="47" y="261"/>
                  </a:lnTo>
                  <a:lnTo>
                    <a:pt x="47" y="260"/>
                  </a:lnTo>
                  <a:lnTo>
                    <a:pt x="46" y="258"/>
                  </a:lnTo>
                  <a:lnTo>
                    <a:pt x="43" y="257"/>
                  </a:lnTo>
                  <a:lnTo>
                    <a:pt x="42" y="257"/>
                  </a:lnTo>
                  <a:lnTo>
                    <a:pt x="39" y="256"/>
                  </a:lnTo>
                  <a:lnTo>
                    <a:pt x="39" y="253"/>
                  </a:lnTo>
                  <a:lnTo>
                    <a:pt x="38" y="252"/>
                  </a:lnTo>
                  <a:lnTo>
                    <a:pt x="34" y="252"/>
                  </a:lnTo>
                  <a:lnTo>
                    <a:pt x="33" y="252"/>
                  </a:lnTo>
                  <a:lnTo>
                    <a:pt x="31" y="250"/>
                  </a:lnTo>
                  <a:lnTo>
                    <a:pt x="28" y="250"/>
                  </a:lnTo>
                  <a:lnTo>
                    <a:pt x="24" y="250"/>
                  </a:lnTo>
                  <a:lnTo>
                    <a:pt x="23" y="249"/>
                  </a:lnTo>
                  <a:lnTo>
                    <a:pt x="23" y="247"/>
                  </a:lnTo>
                  <a:lnTo>
                    <a:pt x="23" y="246"/>
                  </a:lnTo>
                  <a:lnTo>
                    <a:pt x="23" y="245"/>
                  </a:lnTo>
                  <a:lnTo>
                    <a:pt x="24" y="241"/>
                  </a:lnTo>
                  <a:lnTo>
                    <a:pt x="23" y="239"/>
                  </a:lnTo>
                  <a:lnTo>
                    <a:pt x="22" y="237"/>
                  </a:lnTo>
                  <a:lnTo>
                    <a:pt x="22" y="235"/>
                  </a:lnTo>
                  <a:lnTo>
                    <a:pt x="22" y="235"/>
                  </a:lnTo>
                  <a:lnTo>
                    <a:pt x="22" y="234"/>
                  </a:lnTo>
                  <a:lnTo>
                    <a:pt x="19" y="233"/>
                  </a:lnTo>
                  <a:lnTo>
                    <a:pt x="16" y="227"/>
                  </a:lnTo>
                  <a:lnTo>
                    <a:pt x="16" y="223"/>
                  </a:lnTo>
                  <a:lnTo>
                    <a:pt x="15" y="222"/>
                  </a:lnTo>
                  <a:lnTo>
                    <a:pt x="13" y="220"/>
                  </a:lnTo>
                  <a:lnTo>
                    <a:pt x="15" y="218"/>
                  </a:lnTo>
                  <a:lnTo>
                    <a:pt x="13" y="215"/>
                  </a:lnTo>
                  <a:lnTo>
                    <a:pt x="13" y="213"/>
                  </a:lnTo>
                  <a:lnTo>
                    <a:pt x="15" y="215"/>
                  </a:lnTo>
                  <a:lnTo>
                    <a:pt x="16" y="212"/>
                  </a:lnTo>
                  <a:lnTo>
                    <a:pt x="16" y="211"/>
                  </a:lnTo>
                  <a:lnTo>
                    <a:pt x="15" y="209"/>
                  </a:lnTo>
                  <a:lnTo>
                    <a:pt x="13" y="208"/>
                  </a:lnTo>
                  <a:lnTo>
                    <a:pt x="12" y="207"/>
                  </a:lnTo>
                  <a:lnTo>
                    <a:pt x="12" y="205"/>
                  </a:lnTo>
                  <a:lnTo>
                    <a:pt x="11" y="204"/>
                  </a:lnTo>
                  <a:lnTo>
                    <a:pt x="12" y="201"/>
                  </a:lnTo>
                  <a:lnTo>
                    <a:pt x="12" y="200"/>
                  </a:lnTo>
                  <a:lnTo>
                    <a:pt x="12" y="200"/>
                  </a:lnTo>
                  <a:lnTo>
                    <a:pt x="12" y="199"/>
                  </a:lnTo>
                  <a:lnTo>
                    <a:pt x="13" y="197"/>
                  </a:lnTo>
                  <a:lnTo>
                    <a:pt x="15" y="197"/>
                  </a:lnTo>
                  <a:lnTo>
                    <a:pt x="15" y="200"/>
                  </a:lnTo>
                  <a:lnTo>
                    <a:pt x="18" y="200"/>
                  </a:lnTo>
                  <a:lnTo>
                    <a:pt x="16" y="200"/>
                  </a:lnTo>
                  <a:lnTo>
                    <a:pt x="16" y="197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15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9" y="193"/>
                  </a:lnTo>
                  <a:lnTo>
                    <a:pt x="20" y="192"/>
                  </a:lnTo>
                  <a:lnTo>
                    <a:pt x="18" y="192"/>
                  </a:lnTo>
                  <a:lnTo>
                    <a:pt x="18" y="190"/>
                  </a:lnTo>
                  <a:lnTo>
                    <a:pt x="15" y="190"/>
                  </a:lnTo>
                  <a:lnTo>
                    <a:pt x="15" y="190"/>
                  </a:lnTo>
                  <a:lnTo>
                    <a:pt x="15" y="190"/>
                  </a:lnTo>
                  <a:lnTo>
                    <a:pt x="13" y="189"/>
                  </a:lnTo>
                  <a:lnTo>
                    <a:pt x="13" y="192"/>
                  </a:lnTo>
                  <a:lnTo>
                    <a:pt x="13" y="194"/>
                  </a:lnTo>
                  <a:lnTo>
                    <a:pt x="12" y="194"/>
                  </a:lnTo>
                  <a:lnTo>
                    <a:pt x="11" y="194"/>
                  </a:lnTo>
                  <a:lnTo>
                    <a:pt x="11" y="193"/>
                  </a:lnTo>
                  <a:lnTo>
                    <a:pt x="8" y="190"/>
                  </a:lnTo>
                  <a:lnTo>
                    <a:pt x="8" y="189"/>
                  </a:lnTo>
                  <a:lnTo>
                    <a:pt x="8" y="188"/>
                  </a:lnTo>
                  <a:lnTo>
                    <a:pt x="8" y="185"/>
                  </a:lnTo>
                  <a:lnTo>
                    <a:pt x="3" y="178"/>
                  </a:lnTo>
                  <a:lnTo>
                    <a:pt x="3" y="177"/>
                  </a:lnTo>
                  <a:lnTo>
                    <a:pt x="3" y="175"/>
                  </a:lnTo>
                  <a:lnTo>
                    <a:pt x="4" y="173"/>
                  </a:lnTo>
                  <a:lnTo>
                    <a:pt x="4" y="171"/>
                  </a:lnTo>
                  <a:lnTo>
                    <a:pt x="3" y="169"/>
                  </a:lnTo>
                  <a:lnTo>
                    <a:pt x="3" y="167"/>
                  </a:lnTo>
                  <a:lnTo>
                    <a:pt x="4" y="166"/>
                  </a:lnTo>
                  <a:lnTo>
                    <a:pt x="4" y="163"/>
                  </a:lnTo>
                  <a:lnTo>
                    <a:pt x="4" y="158"/>
                  </a:lnTo>
                  <a:lnTo>
                    <a:pt x="3" y="154"/>
                  </a:lnTo>
                  <a:lnTo>
                    <a:pt x="0" y="151"/>
                  </a:lnTo>
                  <a:lnTo>
                    <a:pt x="0" y="148"/>
                  </a:lnTo>
                  <a:lnTo>
                    <a:pt x="1" y="146"/>
                  </a:lnTo>
                  <a:lnTo>
                    <a:pt x="5" y="143"/>
                  </a:lnTo>
                  <a:lnTo>
                    <a:pt x="7" y="140"/>
                  </a:lnTo>
                  <a:lnTo>
                    <a:pt x="5" y="140"/>
                  </a:lnTo>
                  <a:lnTo>
                    <a:pt x="5" y="139"/>
                  </a:lnTo>
                  <a:lnTo>
                    <a:pt x="7" y="137"/>
                  </a:lnTo>
                  <a:lnTo>
                    <a:pt x="8" y="135"/>
                  </a:lnTo>
                  <a:lnTo>
                    <a:pt x="8" y="129"/>
                  </a:lnTo>
                  <a:lnTo>
                    <a:pt x="8" y="126"/>
                  </a:lnTo>
                  <a:lnTo>
                    <a:pt x="8" y="125"/>
                  </a:lnTo>
                  <a:lnTo>
                    <a:pt x="8" y="124"/>
                  </a:lnTo>
                  <a:lnTo>
                    <a:pt x="7" y="121"/>
                  </a:lnTo>
                  <a:lnTo>
                    <a:pt x="7" y="118"/>
                  </a:lnTo>
                  <a:lnTo>
                    <a:pt x="8" y="113"/>
                  </a:lnTo>
                  <a:lnTo>
                    <a:pt x="8" y="109"/>
                  </a:lnTo>
                  <a:lnTo>
                    <a:pt x="9" y="107"/>
                  </a:lnTo>
                  <a:lnTo>
                    <a:pt x="12" y="103"/>
                  </a:lnTo>
                  <a:lnTo>
                    <a:pt x="12" y="101"/>
                  </a:lnTo>
                  <a:lnTo>
                    <a:pt x="13" y="99"/>
                  </a:lnTo>
                  <a:lnTo>
                    <a:pt x="15" y="95"/>
                  </a:lnTo>
                  <a:lnTo>
                    <a:pt x="18" y="92"/>
                  </a:lnTo>
                  <a:lnTo>
                    <a:pt x="19" y="90"/>
                  </a:lnTo>
                  <a:lnTo>
                    <a:pt x="19" y="84"/>
                  </a:lnTo>
                  <a:lnTo>
                    <a:pt x="23" y="79"/>
                  </a:lnTo>
                  <a:lnTo>
                    <a:pt x="23" y="73"/>
                  </a:lnTo>
                  <a:lnTo>
                    <a:pt x="26" y="65"/>
                  </a:lnTo>
                  <a:lnTo>
                    <a:pt x="27" y="64"/>
                  </a:lnTo>
                  <a:lnTo>
                    <a:pt x="30" y="60"/>
                  </a:lnTo>
                  <a:lnTo>
                    <a:pt x="28" y="59"/>
                  </a:lnTo>
                  <a:lnTo>
                    <a:pt x="28" y="57"/>
                  </a:lnTo>
                  <a:lnTo>
                    <a:pt x="31" y="53"/>
                  </a:lnTo>
                  <a:lnTo>
                    <a:pt x="31" y="52"/>
                  </a:lnTo>
                  <a:lnTo>
                    <a:pt x="33" y="52"/>
                  </a:lnTo>
                  <a:lnTo>
                    <a:pt x="34" y="52"/>
                  </a:lnTo>
                  <a:lnTo>
                    <a:pt x="38" y="53"/>
                  </a:lnTo>
                  <a:lnTo>
                    <a:pt x="39" y="53"/>
                  </a:lnTo>
                  <a:lnTo>
                    <a:pt x="41" y="53"/>
                  </a:lnTo>
                  <a:lnTo>
                    <a:pt x="42" y="54"/>
                  </a:lnTo>
                  <a:lnTo>
                    <a:pt x="43" y="57"/>
                  </a:lnTo>
                  <a:lnTo>
                    <a:pt x="43" y="54"/>
                  </a:lnTo>
                  <a:lnTo>
                    <a:pt x="42" y="53"/>
                  </a:lnTo>
                  <a:lnTo>
                    <a:pt x="39" y="53"/>
                  </a:lnTo>
                  <a:lnTo>
                    <a:pt x="38" y="50"/>
                  </a:lnTo>
                  <a:lnTo>
                    <a:pt x="34" y="50"/>
                  </a:lnTo>
                  <a:lnTo>
                    <a:pt x="31" y="50"/>
                  </a:lnTo>
                  <a:lnTo>
                    <a:pt x="31" y="49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4" y="46"/>
                  </a:lnTo>
                  <a:lnTo>
                    <a:pt x="34" y="44"/>
                  </a:lnTo>
                  <a:lnTo>
                    <a:pt x="35" y="42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4" y="31"/>
                  </a:lnTo>
                  <a:lnTo>
                    <a:pt x="33" y="29"/>
                  </a:lnTo>
                  <a:lnTo>
                    <a:pt x="34" y="22"/>
                  </a:lnTo>
                  <a:lnTo>
                    <a:pt x="33" y="18"/>
                  </a:lnTo>
                  <a:lnTo>
                    <a:pt x="33" y="16"/>
                  </a:lnTo>
                  <a:lnTo>
                    <a:pt x="34" y="12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41" y="14"/>
                  </a:lnTo>
                  <a:lnTo>
                    <a:pt x="43" y="16"/>
                  </a:lnTo>
                  <a:lnTo>
                    <a:pt x="49" y="16"/>
                  </a:lnTo>
                  <a:lnTo>
                    <a:pt x="52" y="16"/>
                  </a:lnTo>
                  <a:lnTo>
                    <a:pt x="52" y="19"/>
                  </a:lnTo>
                  <a:lnTo>
                    <a:pt x="53" y="19"/>
                  </a:lnTo>
                  <a:lnTo>
                    <a:pt x="54" y="19"/>
                  </a:lnTo>
                  <a:lnTo>
                    <a:pt x="56" y="20"/>
                  </a:lnTo>
                  <a:lnTo>
                    <a:pt x="54" y="22"/>
                  </a:lnTo>
                  <a:lnTo>
                    <a:pt x="52" y="22"/>
                  </a:lnTo>
                  <a:lnTo>
                    <a:pt x="50" y="25"/>
                  </a:lnTo>
                  <a:lnTo>
                    <a:pt x="50" y="26"/>
                  </a:lnTo>
                  <a:lnTo>
                    <a:pt x="52" y="26"/>
                  </a:lnTo>
                  <a:lnTo>
                    <a:pt x="53" y="25"/>
                  </a:lnTo>
                  <a:lnTo>
                    <a:pt x="54" y="22"/>
                  </a:lnTo>
                  <a:lnTo>
                    <a:pt x="56" y="22"/>
                  </a:lnTo>
                  <a:lnTo>
                    <a:pt x="56" y="25"/>
                  </a:lnTo>
                  <a:lnTo>
                    <a:pt x="54" y="26"/>
                  </a:lnTo>
                  <a:lnTo>
                    <a:pt x="53" y="29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2" y="30"/>
                  </a:lnTo>
                  <a:lnTo>
                    <a:pt x="50" y="31"/>
                  </a:lnTo>
                  <a:lnTo>
                    <a:pt x="50" y="30"/>
                  </a:lnTo>
                  <a:lnTo>
                    <a:pt x="49" y="33"/>
                  </a:lnTo>
                  <a:lnTo>
                    <a:pt x="49" y="34"/>
                  </a:lnTo>
                  <a:lnTo>
                    <a:pt x="50" y="35"/>
                  </a:lnTo>
                  <a:lnTo>
                    <a:pt x="53" y="33"/>
                  </a:lnTo>
                  <a:lnTo>
                    <a:pt x="54" y="31"/>
                  </a:lnTo>
                  <a:lnTo>
                    <a:pt x="56" y="30"/>
                  </a:lnTo>
                  <a:lnTo>
                    <a:pt x="56" y="27"/>
                  </a:lnTo>
                  <a:lnTo>
                    <a:pt x="57" y="26"/>
                  </a:lnTo>
                  <a:lnTo>
                    <a:pt x="57" y="23"/>
                  </a:lnTo>
                  <a:lnTo>
                    <a:pt x="60" y="22"/>
                  </a:lnTo>
                  <a:lnTo>
                    <a:pt x="61" y="19"/>
                  </a:lnTo>
                  <a:lnTo>
                    <a:pt x="60" y="18"/>
                  </a:lnTo>
                  <a:lnTo>
                    <a:pt x="60" y="16"/>
                  </a:lnTo>
                  <a:lnTo>
                    <a:pt x="60" y="15"/>
                  </a:lnTo>
                  <a:lnTo>
                    <a:pt x="61" y="14"/>
                  </a:lnTo>
                  <a:lnTo>
                    <a:pt x="61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1" y="8"/>
                  </a:lnTo>
                  <a:lnTo>
                    <a:pt x="61" y="7"/>
                  </a:lnTo>
                  <a:lnTo>
                    <a:pt x="60" y="4"/>
                  </a:lnTo>
                  <a:lnTo>
                    <a:pt x="58" y="0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4" name="Freeform 145"/>
            <p:cNvSpPr>
              <a:spLocks/>
            </p:cNvSpPr>
            <p:nvPr/>
          </p:nvSpPr>
          <p:spPr bwMode="auto">
            <a:xfrm>
              <a:off x="1007" y="1887"/>
              <a:ext cx="65" cy="29"/>
            </a:xfrm>
            <a:custGeom>
              <a:avLst/>
              <a:gdLst>
                <a:gd name="T0" fmla="*/ 57 w 65"/>
                <a:gd name="T1" fmla="*/ 25 h 29"/>
                <a:gd name="T2" fmla="*/ 53 w 65"/>
                <a:gd name="T3" fmla="*/ 19 h 29"/>
                <a:gd name="T4" fmla="*/ 56 w 65"/>
                <a:gd name="T5" fmla="*/ 16 h 29"/>
                <a:gd name="T6" fmla="*/ 59 w 65"/>
                <a:gd name="T7" fmla="*/ 15 h 29"/>
                <a:gd name="T8" fmla="*/ 56 w 65"/>
                <a:gd name="T9" fmla="*/ 13 h 29"/>
                <a:gd name="T10" fmla="*/ 55 w 65"/>
                <a:gd name="T11" fmla="*/ 15 h 29"/>
                <a:gd name="T12" fmla="*/ 52 w 65"/>
                <a:gd name="T13" fmla="*/ 12 h 29"/>
                <a:gd name="T14" fmla="*/ 48 w 65"/>
                <a:gd name="T15" fmla="*/ 9 h 29"/>
                <a:gd name="T16" fmla="*/ 45 w 65"/>
                <a:gd name="T17" fmla="*/ 6 h 29"/>
                <a:gd name="T18" fmla="*/ 38 w 65"/>
                <a:gd name="T19" fmla="*/ 8 h 29"/>
                <a:gd name="T20" fmla="*/ 38 w 65"/>
                <a:gd name="T21" fmla="*/ 10 h 29"/>
                <a:gd name="T22" fmla="*/ 36 w 65"/>
                <a:gd name="T23" fmla="*/ 15 h 29"/>
                <a:gd name="T24" fmla="*/ 30 w 65"/>
                <a:gd name="T25" fmla="*/ 17 h 29"/>
                <a:gd name="T26" fmla="*/ 30 w 65"/>
                <a:gd name="T27" fmla="*/ 20 h 29"/>
                <a:gd name="T28" fmla="*/ 34 w 65"/>
                <a:gd name="T29" fmla="*/ 23 h 29"/>
                <a:gd name="T30" fmla="*/ 33 w 65"/>
                <a:gd name="T31" fmla="*/ 25 h 29"/>
                <a:gd name="T32" fmla="*/ 29 w 65"/>
                <a:gd name="T33" fmla="*/ 27 h 29"/>
                <a:gd name="T34" fmla="*/ 25 w 65"/>
                <a:gd name="T35" fmla="*/ 29 h 29"/>
                <a:gd name="T36" fmla="*/ 25 w 65"/>
                <a:gd name="T37" fmla="*/ 25 h 29"/>
                <a:gd name="T38" fmla="*/ 25 w 65"/>
                <a:gd name="T39" fmla="*/ 23 h 29"/>
                <a:gd name="T40" fmla="*/ 22 w 65"/>
                <a:gd name="T41" fmla="*/ 21 h 29"/>
                <a:gd name="T42" fmla="*/ 22 w 65"/>
                <a:gd name="T43" fmla="*/ 23 h 29"/>
                <a:gd name="T44" fmla="*/ 19 w 65"/>
                <a:gd name="T45" fmla="*/ 24 h 29"/>
                <a:gd name="T46" fmla="*/ 17 w 65"/>
                <a:gd name="T47" fmla="*/ 20 h 29"/>
                <a:gd name="T48" fmla="*/ 11 w 65"/>
                <a:gd name="T49" fmla="*/ 17 h 29"/>
                <a:gd name="T50" fmla="*/ 10 w 65"/>
                <a:gd name="T51" fmla="*/ 16 h 29"/>
                <a:gd name="T52" fmla="*/ 8 w 65"/>
                <a:gd name="T53" fmla="*/ 16 h 29"/>
                <a:gd name="T54" fmla="*/ 3 w 65"/>
                <a:gd name="T55" fmla="*/ 16 h 29"/>
                <a:gd name="T56" fmla="*/ 2 w 65"/>
                <a:gd name="T57" fmla="*/ 15 h 29"/>
                <a:gd name="T58" fmla="*/ 2 w 65"/>
                <a:gd name="T59" fmla="*/ 12 h 29"/>
                <a:gd name="T60" fmla="*/ 2 w 65"/>
                <a:gd name="T61" fmla="*/ 8 h 29"/>
                <a:gd name="T62" fmla="*/ 2 w 65"/>
                <a:gd name="T63" fmla="*/ 5 h 29"/>
                <a:gd name="T64" fmla="*/ 3 w 65"/>
                <a:gd name="T65" fmla="*/ 2 h 29"/>
                <a:gd name="T66" fmla="*/ 6 w 65"/>
                <a:gd name="T67" fmla="*/ 1 h 29"/>
                <a:gd name="T68" fmla="*/ 7 w 65"/>
                <a:gd name="T69" fmla="*/ 4 h 29"/>
                <a:gd name="T70" fmla="*/ 10 w 65"/>
                <a:gd name="T71" fmla="*/ 4 h 29"/>
                <a:gd name="T72" fmla="*/ 10 w 65"/>
                <a:gd name="T73" fmla="*/ 5 h 29"/>
                <a:gd name="T74" fmla="*/ 10 w 65"/>
                <a:gd name="T75" fmla="*/ 6 h 29"/>
                <a:gd name="T76" fmla="*/ 14 w 65"/>
                <a:gd name="T77" fmla="*/ 8 h 29"/>
                <a:gd name="T78" fmla="*/ 12 w 65"/>
                <a:gd name="T79" fmla="*/ 5 h 29"/>
                <a:gd name="T80" fmla="*/ 15 w 65"/>
                <a:gd name="T81" fmla="*/ 6 h 29"/>
                <a:gd name="T82" fmla="*/ 23 w 65"/>
                <a:gd name="T83" fmla="*/ 9 h 29"/>
                <a:gd name="T84" fmla="*/ 27 w 65"/>
                <a:gd name="T85" fmla="*/ 6 h 29"/>
                <a:gd name="T86" fmla="*/ 38 w 65"/>
                <a:gd name="T87" fmla="*/ 2 h 29"/>
                <a:gd name="T88" fmla="*/ 42 w 65"/>
                <a:gd name="T89" fmla="*/ 0 h 29"/>
                <a:gd name="T90" fmla="*/ 45 w 65"/>
                <a:gd name="T91" fmla="*/ 1 h 29"/>
                <a:gd name="T92" fmla="*/ 52 w 65"/>
                <a:gd name="T93" fmla="*/ 2 h 29"/>
                <a:gd name="T94" fmla="*/ 60 w 65"/>
                <a:gd name="T95" fmla="*/ 5 h 29"/>
                <a:gd name="T96" fmla="*/ 63 w 65"/>
                <a:gd name="T97" fmla="*/ 9 h 29"/>
                <a:gd name="T98" fmla="*/ 64 w 65"/>
                <a:gd name="T99" fmla="*/ 10 h 29"/>
                <a:gd name="T100" fmla="*/ 64 w 65"/>
                <a:gd name="T101" fmla="*/ 15 h 29"/>
                <a:gd name="T102" fmla="*/ 64 w 65"/>
                <a:gd name="T103" fmla="*/ 20 h 29"/>
                <a:gd name="T104" fmla="*/ 61 w 65"/>
                <a:gd name="T105" fmla="*/ 24 h 29"/>
                <a:gd name="T106" fmla="*/ 59 w 65"/>
                <a:gd name="T107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" h="29">
                  <a:moveTo>
                    <a:pt x="59" y="28"/>
                  </a:moveTo>
                  <a:lnTo>
                    <a:pt x="57" y="25"/>
                  </a:lnTo>
                  <a:lnTo>
                    <a:pt x="55" y="23"/>
                  </a:lnTo>
                  <a:lnTo>
                    <a:pt x="53" y="19"/>
                  </a:lnTo>
                  <a:lnTo>
                    <a:pt x="55" y="19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9" y="15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3" y="15"/>
                  </a:lnTo>
                  <a:lnTo>
                    <a:pt x="52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2" y="6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36" y="15"/>
                  </a:lnTo>
                  <a:lnTo>
                    <a:pt x="32" y="16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0" y="20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4" y="25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29" y="27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3" y="28"/>
                  </a:lnTo>
                  <a:lnTo>
                    <a:pt x="25" y="25"/>
                  </a:lnTo>
                  <a:lnTo>
                    <a:pt x="23" y="24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1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7" y="20"/>
                  </a:lnTo>
                  <a:lnTo>
                    <a:pt x="15" y="17"/>
                  </a:lnTo>
                  <a:lnTo>
                    <a:pt x="11" y="1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5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3" y="10"/>
                  </a:lnTo>
                  <a:lnTo>
                    <a:pt x="2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3" y="4"/>
                  </a:lnTo>
                  <a:lnTo>
                    <a:pt x="3" y="2"/>
                  </a:lnTo>
                  <a:lnTo>
                    <a:pt x="3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7" y="4"/>
                  </a:lnTo>
                  <a:lnTo>
                    <a:pt x="8" y="5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5" y="6"/>
                  </a:lnTo>
                  <a:lnTo>
                    <a:pt x="19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7" y="6"/>
                  </a:lnTo>
                  <a:lnTo>
                    <a:pt x="34" y="4"/>
                  </a:lnTo>
                  <a:lnTo>
                    <a:pt x="38" y="2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6" y="2"/>
                  </a:lnTo>
                  <a:lnTo>
                    <a:pt x="52" y="2"/>
                  </a:lnTo>
                  <a:lnTo>
                    <a:pt x="55" y="2"/>
                  </a:lnTo>
                  <a:lnTo>
                    <a:pt x="60" y="5"/>
                  </a:lnTo>
                  <a:lnTo>
                    <a:pt x="61" y="8"/>
                  </a:lnTo>
                  <a:lnTo>
                    <a:pt x="63" y="9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5" y="17"/>
                  </a:lnTo>
                  <a:lnTo>
                    <a:pt x="64" y="20"/>
                  </a:lnTo>
                  <a:lnTo>
                    <a:pt x="63" y="23"/>
                  </a:lnTo>
                  <a:lnTo>
                    <a:pt x="61" y="24"/>
                  </a:lnTo>
                  <a:lnTo>
                    <a:pt x="60" y="24"/>
                  </a:lnTo>
                  <a:lnTo>
                    <a:pt x="59" y="2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5" name="Freeform 146"/>
            <p:cNvSpPr>
              <a:spLocks/>
            </p:cNvSpPr>
            <p:nvPr/>
          </p:nvSpPr>
          <p:spPr bwMode="auto">
            <a:xfrm>
              <a:off x="973" y="1868"/>
              <a:ext cx="40" cy="38"/>
            </a:xfrm>
            <a:custGeom>
              <a:avLst/>
              <a:gdLst>
                <a:gd name="T0" fmla="*/ 36 w 40"/>
                <a:gd name="T1" fmla="*/ 34 h 38"/>
                <a:gd name="T2" fmla="*/ 36 w 40"/>
                <a:gd name="T3" fmla="*/ 35 h 38"/>
                <a:gd name="T4" fmla="*/ 36 w 40"/>
                <a:gd name="T5" fmla="*/ 38 h 38"/>
                <a:gd name="T6" fmla="*/ 33 w 40"/>
                <a:gd name="T7" fmla="*/ 36 h 38"/>
                <a:gd name="T8" fmla="*/ 32 w 40"/>
                <a:gd name="T9" fmla="*/ 35 h 38"/>
                <a:gd name="T10" fmla="*/ 30 w 40"/>
                <a:gd name="T11" fmla="*/ 31 h 38"/>
                <a:gd name="T12" fmla="*/ 27 w 40"/>
                <a:gd name="T13" fmla="*/ 31 h 38"/>
                <a:gd name="T14" fmla="*/ 30 w 40"/>
                <a:gd name="T15" fmla="*/ 32 h 38"/>
                <a:gd name="T16" fmla="*/ 30 w 40"/>
                <a:gd name="T17" fmla="*/ 35 h 38"/>
                <a:gd name="T18" fmla="*/ 27 w 40"/>
                <a:gd name="T19" fmla="*/ 35 h 38"/>
                <a:gd name="T20" fmla="*/ 23 w 40"/>
                <a:gd name="T21" fmla="*/ 32 h 38"/>
                <a:gd name="T22" fmla="*/ 26 w 40"/>
                <a:gd name="T23" fmla="*/ 28 h 38"/>
                <a:gd name="T24" fmla="*/ 22 w 40"/>
                <a:gd name="T25" fmla="*/ 24 h 38"/>
                <a:gd name="T26" fmla="*/ 19 w 40"/>
                <a:gd name="T27" fmla="*/ 21 h 38"/>
                <a:gd name="T28" fmla="*/ 15 w 40"/>
                <a:gd name="T29" fmla="*/ 17 h 38"/>
                <a:gd name="T30" fmla="*/ 12 w 40"/>
                <a:gd name="T31" fmla="*/ 14 h 38"/>
                <a:gd name="T32" fmla="*/ 8 w 40"/>
                <a:gd name="T33" fmla="*/ 12 h 38"/>
                <a:gd name="T34" fmla="*/ 8 w 40"/>
                <a:gd name="T35" fmla="*/ 13 h 38"/>
                <a:gd name="T36" fmla="*/ 12 w 40"/>
                <a:gd name="T37" fmla="*/ 17 h 38"/>
                <a:gd name="T38" fmla="*/ 10 w 40"/>
                <a:gd name="T39" fmla="*/ 20 h 38"/>
                <a:gd name="T40" fmla="*/ 7 w 40"/>
                <a:gd name="T41" fmla="*/ 17 h 38"/>
                <a:gd name="T42" fmla="*/ 0 w 40"/>
                <a:gd name="T43" fmla="*/ 14 h 38"/>
                <a:gd name="T44" fmla="*/ 2 w 40"/>
                <a:gd name="T45" fmla="*/ 9 h 38"/>
                <a:gd name="T46" fmla="*/ 3 w 40"/>
                <a:gd name="T47" fmla="*/ 6 h 38"/>
                <a:gd name="T48" fmla="*/ 0 w 40"/>
                <a:gd name="T49" fmla="*/ 5 h 38"/>
                <a:gd name="T50" fmla="*/ 2 w 40"/>
                <a:gd name="T51" fmla="*/ 1 h 38"/>
                <a:gd name="T52" fmla="*/ 2 w 40"/>
                <a:gd name="T53" fmla="*/ 1 h 38"/>
                <a:gd name="T54" fmla="*/ 6 w 40"/>
                <a:gd name="T55" fmla="*/ 0 h 38"/>
                <a:gd name="T56" fmla="*/ 15 w 40"/>
                <a:gd name="T57" fmla="*/ 1 h 38"/>
                <a:gd name="T58" fmla="*/ 19 w 40"/>
                <a:gd name="T59" fmla="*/ 2 h 38"/>
                <a:gd name="T60" fmla="*/ 21 w 40"/>
                <a:gd name="T61" fmla="*/ 4 h 38"/>
                <a:gd name="T62" fmla="*/ 25 w 40"/>
                <a:gd name="T63" fmla="*/ 6 h 38"/>
                <a:gd name="T64" fmla="*/ 25 w 40"/>
                <a:gd name="T65" fmla="*/ 6 h 38"/>
                <a:gd name="T66" fmla="*/ 27 w 40"/>
                <a:gd name="T67" fmla="*/ 5 h 38"/>
                <a:gd name="T68" fmla="*/ 30 w 40"/>
                <a:gd name="T69" fmla="*/ 8 h 38"/>
                <a:gd name="T70" fmla="*/ 32 w 40"/>
                <a:gd name="T71" fmla="*/ 12 h 38"/>
                <a:gd name="T72" fmla="*/ 34 w 40"/>
                <a:gd name="T73" fmla="*/ 16 h 38"/>
                <a:gd name="T74" fmla="*/ 38 w 40"/>
                <a:gd name="T75" fmla="*/ 19 h 38"/>
                <a:gd name="T76" fmla="*/ 40 w 40"/>
                <a:gd name="T77" fmla="*/ 20 h 38"/>
                <a:gd name="T78" fmla="*/ 37 w 40"/>
                <a:gd name="T79" fmla="*/ 21 h 38"/>
                <a:gd name="T80" fmla="*/ 36 w 40"/>
                <a:gd name="T81" fmla="*/ 24 h 38"/>
                <a:gd name="T82" fmla="*/ 36 w 40"/>
                <a:gd name="T83" fmla="*/ 27 h 38"/>
                <a:gd name="T84" fmla="*/ 36 w 40"/>
                <a:gd name="T85" fmla="*/ 31 h 38"/>
                <a:gd name="T86" fmla="*/ 36 w 40"/>
                <a:gd name="T87" fmla="*/ 34 h 38"/>
                <a:gd name="T88" fmla="*/ 36 w 40"/>
                <a:gd name="T89" fmla="*/ 3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" h="38">
                  <a:moveTo>
                    <a:pt x="36" y="34"/>
                  </a:moveTo>
                  <a:lnTo>
                    <a:pt x="36" y="34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0" y="31"/>
                  </a:lnTo>
                  <a:lnTo>
                    <a:pt x="29" y="29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30" y="32"/>
                  </a:lnTo>
                  <a:lnTo>
                    <a:pt x="30" y="34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27" y="35"/>
                  </a:lnTo>
                  <a:lnTo>
                    <a:pt x="25" y="34"/>
                  </a:lnTo>
                  <a:lnTo>
                    <a:pt x="23" y="32"/>
                  </a:lnTo>
                  <a:lnTo>
                    <a:pt x="23" y="31"/>
                  </a:lnTo>
                  <a:lnTo>
                    <a:pt x="26" y="28"/>
                  </a:lnTo>
                  <a:lnTo>
                    <a:pt x="25" y="27"/>
                  </a:lnTo>
                  <a:lnTo>
                    <a:pt x="22" y="24"/>
                  </a:lnTo>
                  <a:lnTo>
                    <a:pt x="21" y="23"/>
                  </a:lnTo>
                  <a:lnTo>
                    <a:pt x="19" y="21"/>
                  </a:lnTo>
                  <a:lnTo>
                    <a:pt x="17" y="20"/>
                  </a:lnTo>
                  <a:lnTo>
                    <a:pt x="15" y="17"/>
                  </a:lnTo>
                  <a:lnTo>
                    <a:pt x="14" y="16"/>
                  </a:lnTo>
                  <a:lnTo>
                    <a:pt x="12" y="14"/>
                  </a:lnTo>
                  <a:lnTo>
                    <a:pt x="11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11" y="16"/>
                  </a:lnTo>
                  <a:lnTo>
                    <a:pt x="12" y="17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8" y="19"/>
                  </a:lnTo>
                  <a:lnTo>
                    <a:pt x="7" y="17"/>
                  </a:lnTo>
                  <a:lnTo>
                    <a:pt x="4" y="17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8"/>
                  </a:lnTo>
                  <a:lnTo>
                    <a:pt x="3" y="6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6" y="0"/>
                  </a:lnTo>
                  <a:lnTo>
                    <a:pt x="12" y="1"/>
                  </a:lnTo>
                  <a:lnTo>
                    <a:pt x="15" y="1"/>
                  </a:lnTo>
                  <a:lnTo>
                    <a:pt x="18" y="1"/>
                  </a:lnTo>
                  <a:lnTo>
                    <a:pt x="19" y="2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7" y="23"/>
                  </a:lnTo>
                  <a:lnTo>
                    <a:pt x="36" y="24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7" y="29"/>
                  </a:lnTo>
                  <a:lnTo>
                    <a:pt x="36" y="31"/>
                  </a:lnTo>
                  <a:lnTo>
                    <a:pt x="36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6" name="Freeform 147"/>
            <p:cNvSpPr>
              <a:spLocks/>
            </p:cNvSpPr>
            <p:nvPr/>
          </p:nvSpPr>
          <p:spPr bwMode="auto">
            <a:xfrm>
              <a:off x="954" y="1821"/>
              <a:ext cx="55" cy="53"/>
            </a:xfrm>
            <a:custGeom>
              <a:avLst/>
              <a:gdLst>
                <a:gd name="T0" fmla="*/ 21 w 55"/>
                <a:gd name="T1" fmla="*/ 48 h 53"/>
                <a:gd name="T2" fmla="*/ 25 w 55"/>
                <a:gd name="T3" fmla="*/ 47 h 53"/>
                <a:gd name="T4" fmla="*/ 34 w 55"/>
                <a:gd name="T5" fmla="*/ 48 h 53"/>
                <a:gd name="T6" fmla="*/ 38 w 55"/>
                <a:gd name="T7" fmla="*/ 49 h 53"/>
                <a:gd name="T8" fmla="*/ 40 w 55"/>
                <a:gd name="T9" fmla="*/ 51 h 53"/>
                <a:gd name="T10" fmla="*/ 44 w 55"/>
                <a:gd name="T11" fmla="*/ 53 h 53"/>
                <a:gd name="T12" fmla="*/ 45 w 55"/>
                <a:gd name="T13" fmla="*/ 52 h 53"/>
                <a:gd name="T14" fmla="*/ 45 w 55"/>
                <a:gd name="T15" fmla="*/ 51 h 53"/>
                <a:gd name="T16" fmla="*/ 44 w 55"/>
                <a:gd name="T17" fmla="*/ 47 h 53"/>
                <a:gd name="T18" fmla="*/ 45 w 55"/>
                <a:gd name="T19" fmla="*/ 41 h 53"/>
                <a:gd name="T20" fmla="*/ 45 w 55"/>
                <a:gd name="T21" fmla="*/ 40 h 53"/>
                <a:gd name="T22" fmla="*/ 44 w 55"/>
                <a:gd name="T23" fmla="*/ 42 h 53"/>
                <a:gd name="T24" fmla="*/ 44 w 55"/>
                <a:gd name="T25" fmla="*/ 38 h 53"/>
                <a:gd name="T26" fmla="*/ 45 w 55"/>
                <a:gd name="T27" fmla="*/ 34 h 53"/>
                <a:gd name="T28" fmla="*/ 46 w 55"/>
                <a:gd name="T29" fmla="*/ 29 h 53"/>
                <a:gd name="T30" fmla="*/ 46 w 55"/>
                <a:gd name="T31" fmla="*/ 30 h 53"/>
                <a:gd name="T32" fmla="*/ 46 w 55"/>
                <a:gd name="T33" fmla="*/ 33 h 53"/>
                <a:gd name="T34" fmla="*/ 46 w 55"/>
                <a:gd name="T35" fmla="*/ 34 h 53"/>
                <a:gd name="T36" fmla="*/ 49 w 55"/>
                <a:gd name="T37" fmla="*/ 33 h 53"/>
                <a:gd name="T38" fmla="*/ 49 w 55"/>
                <a:gd name="T39" fmla="*/ 23 h 53"/>
                <a:gd name="T40" fmla="*/ 49 w 55"/>
                <a:gd name="T41" fmla="*/ 21 h 53"/>
                <a:gd name="T42" fmla="*/ 48 w 55"/>
                <a:gd name="T43" fmla="*/ 19 h 53"/>
                <a:gd name="T44" fmla="*/ 49 w 55"/>
                <a:gd name="T45" fmla="*/ 19 h 53"/>
                <a:gd name="T46" fmla="*/ 51 w 55"/>
                <a:gd name="T47" fmla="*/ 17 h 53"/>
                <a:gd name="T48" fmla="*/ 53 w 55"/>
                <a:gd name="T49" fmla="*/ 13 h 53"/>
                <a:gd name="T50" fmla="*/ 52 w 55"/>
                <a:gd name="T51" fmla="*/ 10 h 53"/>
                <a:gd name="T52" fmla="*/ 53 w 55"/>
                <a:gd name="T53" fmla="*/ 8 h 53"/>
                <a:gd name="T54" fmla="*/ 53 w 55"/>
                <a:gd name="T55" fmla="*/ 3 h 53"/>
                <a:gd name="T56" fmla="*/ 55 w 55"/>
                <a:gd name="T57" fmla="*/ 0 h 53"/>
                <a:gd name="T58" fmla="*/ 51 w 55"/>
                <a:gd name="T59" fmla="*/ 2 h 53"/>
                <a:gd name="T60" fmla="*/ 49 w 55"/>
                <a:gd name="T61" fmla="*/ 0 h 53"/>
                <a:gd name="T62" fmla="*/ 48 w 55"/>
                <a:gd name="T63" fmla="*/ 3 h 53"/>
                <a:gd name="T64" fmla="*/ 44 w 55"/>
                <a:gd name="T65" fmla="*/ 4 h 53"/>
                <a:gd name="T66" fmla="*/ 42 w 55"/>
                <a:gd name="T67" fmla="*/ 6 h 53"/>
                <a:gd name="T68" fmla="*/ 38 w 55"/>
                <a:gd name="T69" fmla="*/ 6 h 53"/>
                <a:gd name="T70" fmla="*/ 36 w 55"/>
                <a:gd name="T71" fmla="*/ 4 h 53"/>
                <a:gd name="T72" fmla="*/ 34 w 55"/>
                <a:gd name="T73" fmla="*/ 6 h 53"/>
                <a:gd name="T74" fmla="*/ 30 w 55"/>
                <a:gd name="T75" fmla="*/ 8 h 53"/>
                <a:gd name="T76" fmla="*/ 29 w 55"/>
                <a:gd name="T77" fmla="*/ 11 h 53"/>
                <a:gd name="T78" fmla="*/ 25 w 55"/>
                <a:gd name="T79" fmla="*/ 14 h 53"/>
                <a:gd name="T80" fmla="*/ 22 w 55"/>
                <a:gd name="T81" fmla="*/ 15 h 53"/>
                <a:gd name="T82" fmla="*/ 19 w 55"/>
                <a:gd name="T83" fmla="*/ 14 h 53"/>
                <a:gd name="T84" fmla="*/ 14 w 55"/>
                <a:gd name="T85" fmla="*/ 15 h 53"/>
                <a:gd name="T86" fmla="*/ 10 w 55"/>
                <a:gd name="T87" fmla="*/ 18 h 53"/>
                <a:gd name="T88" fmla="*/ 10 w 55"/>
                <a:gd name="T89" fmla="*/ 23 h 53"/>
                <a:gd name="T90" fmla="*/ 6 w 55"/>
                <a:gd name="T91" fmla="*/ 25 h 53"/>
                <a:gd name="T92" fmla="*/ 4 w 55"/>
                <a:gd name="T93" fmla="*/ 26 h 53"/>
                <a:gd name="T94" fmla="*/ 0 w 55"/>
                <a:gd name="T95" fmla="*/ 26 h 53"/>
                <a:gd name="T96" fmla="*/ 4 w 55"/>
                <a:gd name="T97" fmla="*/ 32 h 53"/>
                <a:gd name="T98" fmla="*/ 7 w 55"/>
                <a:gd name="T99" fmla="*/ 34 h 53"/>
                <a:gd name="T100" fmla="*/ 12 w 55"/>
                <a:gd name="T101" fmla="*/ 41 h 53"/>
                <a:gd name="T102" fmla="*/ 19 w 55"/>
                <a:gd name="T103" fmla="*/ 4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" h="53">
                  <a:moveTo>
                    <a:pt x="21" y="48"/>
                  </a:moveTo>
                  <a:lnTo>
                    <a:pt x="21" y="48"/>
                  </a:lnTo>
                  <a:lnTo>
                    <a:pt x="21" y="47"/>
                  </a:lnTo>
                  <a:lnTo>
                    <a:pt x="25" y="47"/>
                  </a:lnTo>
                  <a:lnTo>
                    <a:pt x="31" y="48"/>
                  </a:lnTo>
                  <a:lnTo>
                    <a:pt x="34" y="48"/>
                  </a:lnTo>
                  <a:lnTo>
                    <a:pt x="37" y="48"/>
                  </a:lnTo>
                  <a:lnTo>
                    <a:pt x="38" y="49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2" y="53"/>
                  </a:lnTo>
                  <a:lnTo>
                    <a:pt x="44" y="53"/>
                  </a:lnTo>
                  <a:lnTo>
                    <a:pt x="45" y="53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1"/>
                  </a:lnTo>
                  <a:lnTo>
                    <a:pt x="44" y="48"/>
                  </a:lnTo>
                  <a:lnTo>
                    <a:pt x="44" y="47"/>
                  </a:lnTo>
                  <a:lnTo>
                    <a:pt x="45" y="44"/>
                  </a:lnTo>
                  <a:lnTo>
                    <a:pt x="45" y="41"/>
                  </a:lnTo>
                  <a:lnTo>
                    <a:pt x="46" y="38"/>
                  </a:lnTo>
                  <a:lnTo>
                    <a:pt x="45" y="40"/>
                  </a:lnTo>
                  <a:lnTo>
                    <a:pt x="45" y="41"/>
                  </a:lnTo>
                  <a:lnTo>
                    <a:pt x="44" y="42"/>
                  </a:lnTo>
                  <a:lnTo>
                    <a:pt x="44" y="40"/>
                  </a:lnTo>
                  <a:lnTo>
                    <a:pt x="44" y="38"/>
                  </a:lnTo>
                  <a:lnTo>
                    <a:pt x="45" y="36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6" y="29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9" y="33"/>
                  </a:lnTo>
                  <a:lnTo>
                    <a:pt x="49" y="29"/>
                  </a:lnTo>
                  <a:lnTo>
                    <a:pt x="49" y="23"/>
                  </a:lnTo>
                  <a:lnTo>
                    <a:pt x="49" y="22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19"/>
                  </a:lnTo>
                  <a:lnTo>
                    <a:pt x="49" y="18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1" y="17"/>
                  </a:lnTo>
                  <a:lnTo>
                    <a:pt x="52" y="14"/>
                  </a:lnTo>
                  <a:lnTo>
                    <a:pt x="53" y="13"/>
                  </a:lnTo>
                  <a:lnTo>
                    <a:pt x="53" y="11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3" y="8"/>
                  </a:lnTo>
                  <a:lnTo>
                    <a:pt x="53" y="6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5" y="0"/>
                  </a:lnTo>
                  <a:lnTo>
                    <a:pt x="53" y="2"/>
                  </a:lnTo>
                  <a:lnTo>
                    <a:pt x="51" y="2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3"/>
                  </a:lnTo>
                  <a:lnTo>
                    <a:pt x="46" y="3"/>
                  </a:lnTo>
                  <a:lnTo>
                    <a:pt x="44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29" y="11"/>
                  </a:lnTo>
                  <a:lnTo>
                    <a:pt x="27" y="13"/>
                  </a:lnTo>
                  <a:lnTo>
                    <a:pt x="25" y="14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4" y="15"/>
                  </a:lnTo>
                  <a:lnTo>
                    <a:pt x="10" y="15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23"/>
                  </a:lnTo>
                  <a:lnTo>
                    <a:pt x="8" y="25"/>
                  </a:lnTo>
                  <a:lnTo>
                    <a:pt x="6" y="25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32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10" y="37"/>
                  </a:lnTo>
                  <a:lnTo>
                    <a:pt x="12" y="41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21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7" name="Freeform 148"/>
            <p:cNvSpPr>
              <a:spLocks/>
            </p:cNvSpPr>
            <p:nvPr/>
          </p:nvSpPr>
          <p:spPr bwMode="auto">
            <a:xfrm>
              <a:off x="931" y="1808"/>
              <a:ext cx="78" cy="38"/>
            </a:xfrm>
            <a:custGeom>
              <a:avLst/>
              <a:gdLst>
                <a:gd name="T0" fmla="*/ 29 w 78"/>
                <a:gd name="T1" fmla="*/ 38 h 38"/>
                <a:gd name="T2" fmla="*/ 33 w 78"/>
                <a:gd name="T3" fmla="*/ 36 h 38"/>
                <a:gd name="T4" fmla="*/ 33 w 78"/>
                <a:gd name="T5" fmla="*/ 31 h 38"/>
                <a:gd name="T6" fmla="*/ 37 w 78"/>
                <a:gd name="T7" fmla="*/ 28 h 38"/>
                <a:gd name="T8" fmla="*/ 42 w 78"/>
                <a:gd name="T9" fmla="*/ 27 h 38"/>
                <a:gd name="T10" fmla="*/ 45 w 78"/>
                <a:gd name="T11" fmla="*/ 28 h 38"/>
                <a:gd name="T12" fmla="*/ 48 w 78"/>
                <a:gd name="T13" fmla="*/ 27 h 38"/>
                <a:gd name="T14" fmla="*/ 52 w 78"/>
                <a:gd name="T15" fmla="*/ 24 h 38"/>
                <a:gd name="T16" fmla="*/ 53 w 78"/>
                <a:gd name="T17" fmla="*/ 21 h 38"/>
                <a:gd name="T18" fmla="*/ 57 w 78"/>
                <a:gd name="T19" fmla="*/ 19 h 38"/>
                <a:gd name="T20" fmla="*/ 59 w 78"/>
                <a:gd name="T21" fmla="*/ 17 h 38"/>
                <a:gd name="T22" fmla="*/ 61 w 78"/>
                <a:gd name="T23" fmla="*/ 19 h 38"/>
                <a:gd name="T24" fmla="*/ 65 w 78"/>
                <a:gd name="T25" fmla="*/ 19 h 38"/>
                <a:gd name="T26" fmla="*/ 67 w 78"/>
                <a:gd name="T27" fmla="*/ 17 h 38"/>
                <a:gd name="T28" fmla="*/ 71 w 78"/>
                <a:gd name="T29" fmla="*/ 16 h 38"/>
                <a:gd name="T30" fmla="*/ 72 w 78"/>
                <a:gd name="T31" fmla="*/ 13 h 38"/>
                <a:gd name="T32" fmla="*/ 74 w 78"/>
                <a:gd name="T33" fmla="*/ 15 h 38"/>
                <a:gd name="T34" fmla="*/ 78 w 78"/>
                <a:gd name="T35" fmla="*/ 13 h 38"/>
                <a:gd name="T36" fmla="*/ 78 w 78"/>
                <a:gd name="T37" fmla="*/ 12 h 38"/>
                <a:gd name="T38" fmla="*/ 72 w 78"/>
                <a:gd name="T39" fmla="*/ 9 h 38"/>
                <a:gd name="T40" fmla="*/ 72 w 78"/>
                <a:gd name="T41" fmla="*/ 11 h 38"/>
                <a:gd name="T42" fmla="*/ 67 w 78"/>
                <a:gd name="T43" fmla="*/ 11 h 38"/>
                <a:gd name="T44" fmla="*/ 64 w 78"/>
                <a:gd name="T45" fmla="*/ 9 h 38"/>
                <a:gd name="T46" fmla="*/ 63 w 78"/>
                <a:gd name="T47" fmla="*/ 8 h 38"/>
                <a:gd name="T48" fmla="*/ 64 w 78"/>
                <a:gd name="T49" fmla="*/ 7 h 38"/>
                <a:gd name="T50" fmla="*/ 67 w 78"/>
                <a:gd name="T51" fmla="*/ 7 h 38"/>
                <a:gd name="T52" fmla="*/ 71 w 78"/>
                <a:gd name="T53" fmla="*/ 8 h 38"/>
                <a:gd name="T54" fmla="*/ 65 w 78"/>
                <a:gd name="T55" fmla="*/ 4 h 38"/>
                <a:gd name="T56" fmla="*/ 61 w 78"/>
                <a:gd name="T57" fmla="*/ 5 h 38"/>
                <a:gd name="T58" fmla="*/ 60 w 78"/>
                <a:gd name="T59" fmla="*/ 5 h 38"/>
                <a:gd name="T60" fmla="*/ 53 w 78"/>
                <a:gd name="T61" fmla="*/ 4 h 38"/>
                <a:gd name="T62" fmla="*/ 45 w 78"/>
                <a:gd name="T63" fmla="*/ 1 h 38"/>
                <a:gd name="T64" fmla="*/ 42 w 78"/>
                <a:gd name="T65" fmla="*/ 1 h 38"/>
                <a:gd name="T66" fmla="*/ 41 w 78"/>
                <a:gd name="T67" fmla="*/ 2 h 38"/>
                <a:gd name="T68" fmla="*/ 38 w 78"/>
                <a:gd name="T69" fmla="*/ 4 h 38"/>
                <a:gd name="T70" fmla="*/ 29 w 78"/>
                <a:gd name="T71" fmla="*/ 4 h 38"/>
                <a:gd name="T72" fmla="*/ 19 w 78"/>
                <a:gd name="T73" fmla="*/ 5 h 38"/>
                <a:gd name="T74" fmla="*/ 18 w 78"/>
                <a:gd name="T75" fmla="*/ 5 h 38"/>
                <a:gd name="T76" fmla="*/ 15 w 78"/>
                <a:gd name="T77" fmla="*/ 9 h 38"/>
                <a:gd name="T78" fmla="*/ 10 w 78"/>
                <a:gd name="T79" fmla="*/ 11 h 38"/>
                <a:gd name="T80" fmla="*/ 6 w 78"/>
                <a:gd name="T81" fmla="*/ 16 h 38"/>
                <a:gd name="T82" fmla="*/ 4 w 78"/>
                <a:gd name="T83" fmla="*/ 20 h 38"/>
                <a:gd name="T84" fmla="*/ 1 w 78"/>
                <a:gd name="T85" fmla="*/ 23 h 38"/>
                <a:gd name="T86" fmla="*/ 1 w 78"/>
                <a:gd name="T87" fmla="*/ 24 h 38"/>
                <a:gd name="T88" fmla="*/ 1 w 78"/>
                <a:gd name="T89" fmla="*/ 34 h 38"/>
                <a:gd name="T90" fmla="*/ 7 w 78"/>
                <a:gd name="T91" fmla="*/ 35 h 38"/>
                <a:gd name="T92" fmla="*/ 11 w 78"/>
                <a:gd name="T93" fmla="*/ 36 h 38"/>
                <a:gd name="T94" fmla="*/ 10 w 78"/>
                <a:gd name="T95" fmla="*/ 35 h 38"/>
                <a:gd name="T96" fmla="*/ 14 w 78"/>
                <a:gd name="T97" fmla="*/ 36 h 38"/>
                <a:gd name="T98" fmla="*/ 20 w 78"/>
                <a:gd name="T99" fmla="*/ 38 h 38"/>
                <a:gd name="T100" fmla="*/ 20 w 78"/>
                <a:gd name="T101" fmla="*/ 35 h 38"/>
                <a:gd name="T102" fmla="*/ 23 w 78"/>
                <a:gd name="T103" fmla="*/ 35 h 38"/>
                <a:gd name="T104" fmla="*/ 25 w 78"/>
                <a:gd name="T105" fmla="*/ 35 h 38"/>
                <a:gd name="T106" fmla="*/ 26 w 78"/>
                <a:gd name="T107" fmla="*/ 35 h 38"/>
                <a:gd name="T108" fmla="*/ 27 w 78"/>
                <a:gd name="T10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" h="38">
                  <a:moveTo>
                    <a:pt x="27" y="38"/>
                  </a:moveTo>
                  <a:lnTo>
                    <a:pt x="29" y="38"/>
                  </a:lnTo>
                  <a:lnTo>
                    <a:pt x="31" y="38"/>
                  </a:lnTo>
                  <a:lnTo>
                    <a:pt x="33" y="36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3" y="28"/>
                  </a:lnTo>
                  <a:lnTo>
                    <a:pt x="37" y="28"/>
                  </a:lnTo>
                  <a:lnTo>
                    <a:pt x="40" y="27"/>
                  </a:lnTo>
                  <a:lnTo>
                    <a:pt x="42" y="27"/>
                  </a:lnTo>
                  <a:lnTo>
                    <a:pt x="44" y="28"/>
                  </a:lnTo>
                  <a:lnTo>
                    <a:pt x="45" y="28"/>
                  </a:lnTo>
                  <a:lnTo>
                    <a:pt x="46" y="28"/>
                  </a:lnTo>
                  <a:lnTo>
                    <a:pt x="48" y="27"/>
                  </a:lnTo>
                  <a:lnTo>
                    <a:pt x="50" y="26"/>
                  </a:lnTo>
                  <a:lnTo>
                    <a:pt x="52" y="24"/>
                  </a:lnTo>
                  <a:lnTo>
                    <a:pt x="53" y="23"/>
                  </a:lnTo>
                  <a:lnTo>
                    <a:pt x="53" y="21"/>
                  </a:lnTo>
                  <a:lnTo>
                    <a:pt x="56" y="19"/>
                  </a:lnTo>
                  <a:lnTo>
                    <a:pt x="57" y="19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7" y="17"/>
                  </a:lnTo>
                  <a:lnTo>
                    <a:pt x="69" y="16"/>
                  </a:lnTo>
                  <a:lnTo>
                    <a:pt x="71" y="16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4" y="13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2"/>
                  </a:lnTo>
                  <a:lnTo>
                    <a:pt x="75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11"/>
                  </a:lnTo>
                  <a:lnTo>
                    <a:pt x="71" y="11"/>
                  </a:lnTo>
                  <a:lnTo>
                    <a:pt x="67" y="11"/>
                  </a:lnTo>
                  <a:lnTo>
                    <a:pt x="67" y="9"/>
                  </a:lnTo>
                  <a:lnTo>
                    <a:pt x="64" y="9"/>
                  </a:lnTo>
                  <a:lnTo>
                    <a:pt x="61" y="9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7" y="7"/>
                  </a:lnTo>
                  <a:lnTo>
                    <a:pt x="69" y="8"/>
                  </a:lnTo>
                  <a:lnTo>
                    <a:pt x="71" y="8"/>
                  </a:lnTo>
                  <a:lnTo>
                    <a:pt x="68" y="7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5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59" y="4"/>
                  </a:lnTo>
                  <a:lnTo>
                    <a:pt x="53" y="4"/>
                  </a:lnTo>
                  <a:lnTo>
                    <a:pt x="48" y="4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4" y="2"/>
                  </a:lnTo>
                  <a:lnTo>
                    <a:pt x="41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4" y="4"/>
                  </a:lnTo>
                  <a:lnTo>
                    <a:pt x="29" y="4"/>
                  </a:lnTo>
                  <a:lnTo>
                    <a:pt x="22" y="4"/>
                  </a:lnTo>
                  <a:lnTo>
                    <a:pt x="19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7"/>
                  </a:lnTo>
                  <a:lnTo>
                    <a:pt x="15" y="9"/>
                  </a:lnTo>
                  <a:lnTo>
                    <a:pt x="12" y="11"/>
                  </a:lnTo>
                  <a:lnTo>
                    <a:pt x="10" y="11"/>
                  </a:lnTo>
                  <a:lnTo>
                    <a:pt x="7" y="13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4" y="20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31"/>
                  </a:lnTo>
                  <a:lnTo>
                    <a:pt x="1" y="34"/>
                  </a:lnTo>
                  <a:lnTo>
                    <a:pt x="3" y="34"/>
                  </a:lnTo>
                  <a:lnTo>
                    <a:pt x="7" y="35"/>
                  </a:lnTo>
                  <a:lnTo>
                    <a:pt x="10" y="36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2" y="35"/>
                  </a:lnTo>
                  <a:lnTo>
                    <a:pt x="14" y="36"/>
                  </a:lnTo>
                  <a:lnTo>
                    <a:pt x="15" y="38"/>
                  </a:lnTo>
                  <a:lnTo>
                    <a:pt x="20" y="38"/>
                  </a:lnTo>
                  <a:lnTo>
                    <a:pt x="22" y="36"/>
                  </a:lnTo>
                  <a:lnTo>
                    <a:pt x="20" y="35"/>
                  </a:lnTo>
                  <a:lnTo>
                    <a:pt x="22" y="34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7" y="38"/>
                  </a:lnTo>
                  <a:lnTo>
                    <a:pt x="27" y="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8" name="Freeform 149"/>
            <p:cNvSpPr>
              <a:spLocks/>
            </p:cNvSpPr>
            <p:nvPr/>
          </p:nvSpPr>
          <p:spPr bwMode="auto">
            <a:xfrm>
              <a:off x="924" y="1829"/>
              <a:ext cx="29" cy="17"/>
            </a:xfrm>
            <a:custGeom>
              <a:avLst/>
              <a:gdLst>
                <a:gd name="T0" fmla="*/ 11 w 29"/>
                <a:gd name="T1" fmla="*/ 0 h 17"/>
                <a:gd name="T2" fmla="*/ 13 w 29"/>
                <a:gd name="T3" fmla="*/ 0 h 17"/>
                <a:gd name="T4" fmla="*/ 14 w 29"/>
                <a:gd name="T5" fmla="*/ 0 h 17"/>
                <a:gd name="T6" fmla="*/ 15 w 29"/>
                <a:gd name="T7" fmla="*/ 2 h 17"/>
                <a:gd name="T8" fmla="*/ 15 w 29"/>
                <a:gd name="T9" fmla="*/ 3 h 17"/>
                <a:gd name="T10" fmla="*/ 18 w 29"/>
                <a:gd name="T11" fmla="*/ 2 h 17"/>
                <a:gd name="T12" fmla="*/ 21 w 29"/>
                <a:gd name="T13" fmla="*/ 3 h 17"/>
                <a:gd name="T14" fmla="*/ 22 w 29"/>
                <a:gd name="T15" fmla="*/ 5 h 17"/>
                <a:gd name="T16" fmla="*/ 22 w 29"/>
                <a:gd name="T17" fmla="*/ 6 h 17"/>
                <a:gd name="T18" fmla="*/ 23 w 29"/>
                <a:gd name="T19" fmla="*/ 7 h 17"/>
                <a:gd name="T20" fmla="*/ 25 w 29"/>
                <a:gd name="T21" fmla="*/ 6 h 17"/>
                <a:gd name="T22" fmla="*/ 25 w 29"/>
                <a:gd name="T23" fmla="*/ 5 h 17"/>
                <a:gd name="T24" fmla="*/ 26 w 29"/>
                <a:gd name="T25" fmla="*/ 5 h 17"/>
                <a:gd name="T26" fmla="*/ 27 w 29"/>
                <a:gd name="T27" fmla="*/ 5 h 17"/>
                <a:gd name="T28" fmla="*/ 29 w 29"/>
                <a:gd name="T29" fmla="*/ 6 h 17"/>
                <a:gd name="T30" fmla="*/ 29 w 29"/>
                <a:gd name="T31" fmla="*/ 7 h 17"/>
                <a:gd name="T32" fmla="*/ 29 w 29"/>
                <a:gd name="T33" fmla="*/ 10 h 17"/>
                <a:gd name="T34" fmla="*/ 29 w 29"/>
                <a:gd name="T35" fmla="*/ 10 h 17"/>
                <a:gd name="T36" fmla="*/ 29 w 29"/>
                <a:gd name="T37" fmla="*/ 13 h 17"/>
                <a:gd name="T38" fmla="*/ 29 w 29"/>
                <a:gd name="T39" fmla="*/ 13 h 17"/>
                <a:gd name="T40" fmla="*/ 27 w 29"/>
                <a:gd name="T41" fmla="*/ 14 h 17"/>
                <a:gd name="T42" fmla="*/ 29 w 29"/>
                <a:gd name="T43" fmla="*/ 15 h 17"/>
                <a:gd name="T44" fmla="*/ 27 w 29"/>
                <a:gd name="T45" fmla="*/ 17 h 17"/>
                <a:gd name="T46" fmla="*/ 22 w 29"/>
                <a:gd name="T47" fmla="*/ 17 h 17"/>
                <a:gd name="T48" fmla="*/ 21 w 29"/>
                <a:gd name="T49" fmla="*/ 15 h 17"/>
                <a:gd name="T50" fmla="*/ 19 w 29"/>
                <a:gd name="T51" fmla="*/ 14 h 17"/>
                <a:gd name="T52" fmla="*/ 17 w 29"/>
                <a:gd name="T53" fmla="*/ 14 h 17"/>
                <a:gd name="T54" fmla="*/ 17 w 29"/>
                <a:gd name="T55" fmla="*/ 14 h 17"/>
                <a:gd name="T56" fmla="*/ 18 w 29"/>
                <a:gd name="T57" fmla="*/ 15 h 17"/>
                <a:gd name="T58" fmla="*/ 17 w 29"/>
                <a:gd name="T59" fmla="*/ 15 h 17"/>
                <a:gd name="T60" fmla="*/ 14 w 29"/>
                <a:gd name="T61" fmla="*/ 14 h 17"/>
                <a:gd name="T62" fmla="*/ 10 w 29"/>
                <a:gd name="T63" fmla="*/ 13 h 17"/>
                <a:gd name="T64" fmla="*/ 8 w 29"/>
                <a:gd name="T65" fmla="*/ 13 h 17"/>
                <a:gd name="T66" fmla="*/ 6 w 29"/>
                <a:gd name="T67" fmla="*/ 11 h 17"/>
                <a:gd name="T68" fmla="*/ 3 w 29"/>
                <a:gd name="T69" fmla="*/ 10 h 17"/>
                <a:gd name="T70" fmla="*/ 2 w 29"/>
                <a:gd name="T71" fmla="*/ 10 h 17"/>
                <a:gd name="T72" fmla="*/ 0 w 29"/>
                <a:gd name="T73" fmla="*/ 10 h 17"/>
                <a:gd name="T74" fmla="*/ 2 w 29"/>
                <a:gd name="T75" fmla="*/ 9 h 17"/>
                <a:gd name="T76" fmla="*/ 2 w 29"/>
                <a:gd name="T77" fmla="*/ 7 h 17"/>
                <a:gd name="T78" fmla="*/ 3 w 29"/>
                <a:gd name="T79" fmla="*/ 5 h 17"/>
                <a:gd name="T80" fmla="*/ 6 w 29"/>
                <a:gd name="T81" fmla="*/ 5 h 17"/>
                <a:gd name="T82" fmla="*/ 8 w 29"/>
                <a:gd name="T83" fmla="*/ 3 h 17"/>
                <a:gd name="T84" fmla="*/ 8 w 29"/>
                <a:gd name="T85" fmla="*/ 2 h 17"/>
                <a:gd name="T86" fmla="*/ 11 w 29"/>
                <a:gd name="T8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" h="17">
                  <a:moveTo>
                    <a:pt x="11" y="0"/>
                  </a:moveTo>
                  <a:lnTo>
                    <a:pt x="13" y="0"/>
                  </a:lnTo>
                  <a:lnTo>
                    <a:pt x="14" y="0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8" y="2"/>
                  </a:lnTo>
                  <a:lnTo>
                    <a:pt x="21" y="3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7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4"/>
                  </a:lnTo>
                  <a:lnTo>
                    <a:pt x="29" y="15"/>
                  </a:lnTo>
                  <a:lnTo>
                    <a:pt x="27" y="17"/>
                  </a:lnTo>
                  <a:lnTo>
                    <a:pt x="22" y="17"/>
                  </a:lnTo>
                  <a:lnTo>
                    <a:pt x="21" y="15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4" y="14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6" y="11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2" y="9"/>
                  </a:lnTo>
                  <a:lnTo>
                    <a:pt x="2" y="7"/>
                  </a:lnTo>
                  <a:lnTo>
                    <a:pt x="3" y="5"/>
                  </a:lnTo>
                  <a:lnTo>
                    <a:pt x="6" y="5"/>
                  </a:lnTo>
                  <a:lnTo>
                    <a:pt x="8" y="3"/>
                  </a:lnTo>
                  <a:lnTo>
                    <a:pt x="8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49" name="Freeform 150"/>
            <p:cNvSpPr>
              <a:spLocks/>
            </p:cNvSpPr>
            <p:nvPr/>
          </p:nvSpPr>
          <p:spPr bwMode="auto">
            <a:xfrm>
              <a:off x="938" y="1781"/>
              <a:ext cx="13" cy="29"/>
            </a:xfrm>
            <a:custGeom>
              <a:avLst/>
              <a:gdLst>
                <a:gd name="T0" fmla="*/ 0 w 13"/>
                <a:gd name="T1" fmla="*/ 8 h 29"/>
                <a:gd name="T2" fmla="*/ 0 w 13"/>
                <a:gd name="T3" fmla="*/ 8 h 29"/>
                <a:gd name="T4" fmla="*/ 0 w 13"/>
                <a:gd name="T5" fmla="*/ 5 h 29"/>
                <a:gd name="T6" fmla="*/ 1 w 13"/>
                <a:gd name="T7" fmla="*/ 5 h 29"/>
                <a:gd name="T8" fmla="*/ 3 w 13"/>
                <a:gd name="T9" fmla="*/ 5 h 29"/>
                <a:gd name="T10" fmla="*/ 3 w 13"/>
                <a:gd name="T11" fmla="*/ 5 h 29"/>
                <a:gd name="T12" fmla="*/ 4 w 13"/>
                <a:gd name="T13" fmla="*/ 6 h 29"/>
                <a:gd name="T14" fmla="*/ 4 w 13"/>
                <a:gd name="T15" fmla="*/ 5 h 29"/>
                <a:gd name="T16" fmla="*/ 5 w 13"/>
                <a:gd name="T17" fmla="*/ 5 h 29"/>
                <a:gd name="T18" fmla="*/ 5 w 13"/>
                <a:gd name="T19" fmla="*/ 5 h 29"/>
                <a:gd name="T20" fmla="*/ 7 w 13"/>
                <a:gd name="T21" fmla="*/ 2 h 29"/>
                <a:gd name="T22" fmla="*/ 7 w 13"/>
                <a:gd name="T23" fmla="*/ 1 h 29"/>
                <a:gd name="T24" fmla="*/ 7 w 13"/>
                <a:gd name="T25" fmla="*/ 0 h 29"/>
                <a:gd name="T26" fmla="*/ 8 w 13"/>
                <a:gd name="T27" fmla="*/ 0 h 29"/>
                <a:gd name="T28" fmla="*/ 9 w 13"/>
                <a:gd name="T29" fmla="*/ 0 h 29"/>
                <a:gd name="T30" fmla="*/ 11 w 13"/>
                <a:gd name="T31" fmla="*/ 1 h 29"/>
                <a:gd name="T32" fmla="*/ 11 w 13"/>
                <a:gd name="T33" fmla="*/ 0 h 29"/>
                <a:gd name="T34" fmla="*/ 13 w 13"/>
                <a:gd name="T35" fmla="*/ 0 h 29"/>
                <a:gd name="T36" fmla="*/ 13 w 13"/>
                <a:gd name="T37" fmla="*/ 1 h 29"/>
                <a:gd name="T38" fmla="*/ 12 w 13"/>
                <a:gd name="T39" fmla="*/ 2 h 29"/>
                <a:gd name="T40" fmla="*/ 12 w 13"/>
                <a:gd name="T41" fmla="*/ 8 h 29"/>
                <a:gd name="T42" fmla="*/ 11 w 13"/>
                <a:gd name="T43" fmla="*/ 10 h 29"/>
                <a:gd name="T44" fmla="*/ 11 w 13"/>
                <a:gd name="T45" fmla="*/ 13 h 29"/>
                <a:gd name="T46" fmla="*/ 12 w 13"/>
                <a:gd name="T47" fmla="*/ 14 h 29"/>
                <a:gd name="T48" fmla="*/ 12 w 13"/>
                <a:gd name="T49" fmla="*/ 19 h 29"/>
                <a:gd name="T50" fmla="*/ 11 w 13"/>
                <a:gd name="T51" fmla="*/ 21 h 29"/>
                <a:gd name="T52" fmla="*/ 7 w 13"/>
                <a:gd name="T53" fmla="*/ 27 h 29"/>
                <a:gd name="T54" fmla="*/ 7 w 13"/>
                <a:gd name="T55" fmla="*/ 25 h 29"/>
                <a:gd name="T56" fmla="*/ 4 w 13"/>
                <a:gd name="T57" fmla="*/ 28 h 29"/>
                <a:gd name="T58" fmla="*/ 3 w 13"/>
                <a:gd name="T59" fmla="*/ 29 h 29"/>
                <a:gd name="T60" fmla="*/ 3 w 13"/>
                <a:gd name="T61" fmla="*/ 29 h 29"/>
                <a:gd name="T62" fmla="*/ 1 w 13"/>
                <a:gd name="T63" fmla="*/ 29 h 29"/>
                <a:gd name="T64" fmla="*/ 1 w 13"/>
                <a:gd name="T65" fmla="*/ 29 h 29"/>
                <a:gd name="T66" fmla="*/ 0 w 13"/>
                <a:gd name="T67" fmla="*/ 29 h 29"/>
                <a:gd name="T68" fmla="*/ 0 w 13"/>
                <a:gd name="T69" fmla="*/ 8 h 29"/>
                <a:gd name="T70" fmla="*/ 0 w 13"/>
                <a:gd name="T71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" h="29">
                  <a:moveTo>
                    <a:pt x="0" y="8"/>
                  </a:moveTo>
                  <a:lnTo>
                    <a:pt x="0" y="8"/>
                  </a:lnTo>
                  <a:lnTo>
                    <a:pt x="0" y="5"/>
                  </a:lnTo>
                  <a:lnTo>
                    <a:pt x="1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6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2" y="2"/>
                  </a:lnTo>
                  <a:lnTo>
                    <a:pt x="12" y="8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12" y="14"/>
                  </a:lnTo>
                  <a:lnTo>
                    <a:pt x="12" y="19"/>
                  </a:lnTo>
                  <a:lnTo>
                    <a:pt x="11" y="21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4" y="28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0" name="Freeform 151"/>
            <p:cNvSpPr>
              <a:spLocks/>
            </p:cNvSpPr>
            <p:nvPr/>
          </p:nvSpPr>
          <p:spPr bwMode="auto">
            <a:xfrm>
              <a:off x="900" y="1787"/>
              <a:ext cx="49" cy="52"/>
            </a:xfrm>
            <a:custGeom>
              <a:avLst/>
              <a:gdLst>
                <a:gd name="T0" fmla="*/ 24 w 49"/>
                <a:gd name="T1" fmla="*/ 52 h 52"/>
                <a:gd name="T2" fmla="*/ 26 w 49"/>
                <a:gd name="T3" fmla="*/ 51 h 52"/>
                <a:gd name="T4" fmla="*/ 26 w 49"/>
                <a:gd name="T5" fmla="*/ 49 h 52"/>
                <a:gd name="T6" fmla="*/ 27 w 49"/>
                <a:gd name="T7" fmla="*/ 47 h 52"/>
                <a:gd name="T8" fmla="*/ 30 w 49"/>
                <a:gd name="T9" fmla="*/ 47 h 52"/>
                <a:gd name="T10" fmla="*/ 32 w 49"/>
                <a:gd name="T11" fmla="*/ 45 h 52"/>
                <a:gd name="T12" fmla="*/ 32 w 49"/>
                <a:gd name="T13" fmla="*/ 44 h 52"/>
                <a:gd name="T14" fmla="*/ 35 w 49"/>
                <a:gd name="T15" fmla="*/ 41 h 52"/>
                <a:gd name="T16" fmla="*/ 37 w 49"/>
                <a:gd name="T17" fmla="*/ 38 h 52"/>
                <a:gd name="T18" fmla="*/ 37 w 49"/>
                <a:gd name="T19" fmla="*/ 37 h 52"/>
                <a:gd name="T20" fmla="*/ 38 w 49"/>
                <a:gd name="T21" fmla="*/ 34 h 52"/>
                <a:gd name="T22" fmla="*/ 41 w 49"/>
                <a:gd name="T23" fmla="*/ 32 h 52"/>
                <a:gd name="T24" fmla="*/ 43 w 49"/>
                <a:gd name="T25" fmla="*/ 32 h 52"/>
                <a:gd name="T26" fmla="*/ 46 w 49"/>
                <a:gd name="T27" fmla="*/ 30 h 52"/>
                <a:gd name="T28" fmla="*/ 47 w 49"/>
                <a:gd name="T29" fmla="*/ 28 h 52"/>
                <a:gd name="T30" fmla="*/ 49 w 49"/>
                <a:gd name="T31" fmla="*/ 26 h 52"/>
                <a:gd name="T32" fmla="*/ 49 w 49"/>
                <a:gd name="T33" fmla="*/ 26 h 52"/>
                <a:gd name="T34" fmla="*/ 47 w 49"/>
                <a:gd name="T35" fmla="*/ 25 h 52"/>
                <a:gd name="T36" fmla="*/ 46 w 49"/>
                <a:gd name="T37" fmla="*/ 25 h 52"/>
                <a:gd name="T38" fmla="*/ 45 w 49"/>
                <a:gd name="T39" fmla="*/ 26 h 52"/>
                <a:gd name="T40" fmla="*/ 43 w 49"/>
                <a:gd name="T41" fmla="*/ 25 h 52"/>
                <a:gd name="T42" fmla="*/ 42 w 49"/>
                <a:gd name="T43" fmla="*/ 25 h 52"/>
                <a:gd name="T44" fmla="*/ 41 w 49"/>
                <a:gd name="T45" fmla="*/ 23 h 52"/>
                <a:gd name="T46" fmla="*/ 39 w 49"/>
                <a:gd name="T47" fmla="*/ 23 h 52"/>
                <a:gd name="T48" fmla="*/ 39 w 49"/>
                <a:gd name="T49" fmla="*/ 23 h 52"/>
                <a:gd name="T50" fmla="*/ 38 w 49"/>
                <a:gd name="T51" fmla="*/ 23 h 52"/>
                <a:gd name="T52" fmla="*/ 38 w 49"/>
                <a:gd name="T53" fmla="*/ 2 h 52"/>
                <a:gd name="T54" fmla="*/ 38 w 49"/>
                <a:gd name="T55" fmla="*/ 2 h 52"/>
                <a:gd name="T56" fmla="*/ 17 w 49"/>
                <a:gd name="T57" fmla="*/ 0 h 52"/>
                <a:gd name="T58" fmla="*/ 17 w 49"/>
                <a:gd name="T59" fmla="*/ 7 h 52"/>
                <a:gd name="T60" fmla="*/ 12 w 49"/>
                <a:gd name="T61" fmla="*/ 7 h 52"/>
                <a:gd name="T62" fmla="*/ 13 w 49"/>
                <a:gd name="T63" fmla="*/ 8 h 52"/>
                <a:gd name="T64" fmla="*/ 15 w 49"/>
                <a:gd name="T65" fmla="*/ 10 h 52"/>
                <a:gd name="T66" fmla="*/ 16 w 49"/>
                <a:gd name="T67" fmla="*/ 13 h 52"/>
                <a:gd name="T68" fmla="*/ 17 w 49"/>
                <a:gd name="T69" fmla="*/ 14 h 52"/>
                <a:gd name="T70" fmla="*/ 19 w 49"/>
                <a:gd name="T71" fmla="*/ 14 h 52"/>
                <a:gd name="T72" fmla="*/ 20 w 49"/>
                <a:gd name="T73" fmla="*/ 15 h 52"/>
                <a:gd name="T74" fmla="*/ 20 w 49"/>
                <a:gd name="T75" fmla="*/ 17 h 52"/>
                <a:gd name="T76" fmla="*/ 22 w 49"/>
                <a:gd name="T77" fmla="*/ 18 h 52"/>
                <a:gd name="T78" fmla="*/ 23 w 49"/>
                <a:gd name="T79" fmla="*/ 18 h 52"/>
                <a:gd name="T80" fmla="*/ 24 w 49"/>
                <a:gd name="T81" fmla="*/ 18 h 52"/>
                <a:gd name="T82" fmla="*/ 24 w 49"/>
                <a:gd name="T83" fmla="*/ 21 h 52"/>
                <a:gd name="T84" fmla="*/ 23 w 49"/>
                <a:gd name="T85" fmla="*/ 22 h 52"/>
                <a:gd name="T86" fmla="*/ 8 w 49"/>
                <a:gd name="T87" fmla="*/ 22 h 52"/>
                <a:gd name="T88" fmla="*/ 1 w 49"/>
                <a:gd name="T89" fmla="*/ 33 h 52"/>
                <a:gd name="T90" fmla="*/ 1 w 49"/>
                <a:gd name="T91" fmla="*/ 34 h 52"/>
                <a:gd name="T92" fmla="*/ 1 w 49"/>
                <a:gd name="T93" fmla="*/ 36 h 52"/>
                <a:gd name="T94" fmla="*/ 1 w 49"/>
                <a:gd name="T95" fmla="*/ 37 h 52"/>
                <a:gd name="T96" fmla="*/ 3 w 49"/>
                <a:gd name="T97" fmla="*/ 37 h 52"/>
                <a:gd name="T98" fmla="*/ 3 w 49"/>
                <a:gd name="T99" fmla="*/ 37 h 52"/>
                <a:gd name="T100" fmla="*/ 3 w 49"/>
                <a:gd name="T101" fmla="*/ 38 h 52"/>
                <a:gd name="T102" fmla="*/ 1 w 49"/>
                <a:gd name="T103" fmla="*/ 40 h 52"/>
                <a:gd name="T104" fmla="*/ 1 w 49"/>
                <a:gd name="T105" fmla="*/ 41 h 52"/>
                <a:gd name="T106" fmla="*/ 0 w 49"/>
                <a:gd name="T107" fmla="*/ 41 h 52"/>
                <a:gd name="T108" fmla="*/ 3 w 49"/>
                <a:gd name="T109" fmla="*/ 44 h 52"/>
                <a:gd name="T110" fmla="*/ 4 w 49"/>
                <a:gd name="T111" fmla="*/ 45 h 52"/>
                <a:gd name="T112" fmla="*/ 5 w 49"/>
                <a:gd name="T113" fmla="*/ 45 h 52"/>
                <a:gd name="T114" fmla="*/ 7 w 49"/>
                <a:gd name="T115" fmla="*/ 48 h 52"/>
                <a:gd name="T116" fmla="*/ 13 w 49"/>
                <a:gd name="T117" fmla="*/ 51 h 52"/>
                <a:gd name="T118" fmla="*/ 17 w 49"/>
                <a:gd name="T119" fmla="*/ 51 h 52"/>
                <a:gd name="T120" fmla="*/ 20 w 49"/>
                <a:gd name="T121" fmla="*/ 49 h 52"/>
                <a:gd name="T122" fmla="*/ 24 w 49"/>
                <a:gd name="T1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9" h="52">
                  <a:moveTo>
                    <a:pt x="24" y="52"/>
                  </a:moveTo>
                  <a:lnTo>
                    <a:pt x="26" y="51"/>
                  </a:lnTo>
                  <a:lnTo>
                    <a:pt x="26" y="49"/>
                  </a:lnTo>
                  <a:lnTo>
                    <a:pt x="27" y="47"/>
                  </a:lnTo>
                  <a:lnTo>
                    <a:pt x="30" y="47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5" y="41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8" y="34"/>
                  </a:lnTo>
                  <a:lnTo>
                    <a:pt x="41" y="32"/>
                  </a:lnTo>
                  <a:lnTo>
                    <a:pt x="43" y="32"/>
                  </a:lnTo>
                  <a:lnTo>
                    <a:pt x="46" y="30"/>
                  </a:lnTo>
                  <a:lnTo>
                    <a:pt x="47" y="28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5" y="26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1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17" y="0"/>
                  </a:lnTo>
                  <a:lnTo>
                    <a:pt x="17" y="7"/>
                  </a:lnTo>
                  <a:lnTo>
                    <a:pt x="12" y="7"/>
                  </a:lnTo>
                  <a:lnTo>
                    <a:pt x="13" y="8"/>
                  </a:lnTo>
                  <a:lnTo>
                    <a:pt x="15" y="10"/>
                  </a:lnTo>
                  <a:lnTo>
                    <a:pt x="16" y="13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0" y="17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21"/>
                  </a:lnTo>
                  <a:lnTo>
                    <a:pt x="23" y="22"/>
                  </a:lnTo>
                  <a:lnTo>
                    <a:pt x="8" y="22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8"/>
                  </a:lnTo>
                  <a:lnTo>
                    <a:pt x="1" y="40"/>
                  </a:lnTo>
                  <a:lnTo>
                    <a:pt x="1" y="41"/>
                  </a:lnTo>
                  <a:lnTo>
                    <a:pt x="0" y="41"/>
                  </a:lnTo>
                  <a:lnTo>
                    <a:pt x="3" y="44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7" y="48"/>
                  </a:lnTo>
                  <a:lnTo>
                    <a:pt x="13" y="51"/>
                  </a:lnTo>
                  <a:lnTo>
                    <a:pt x="17" y="51"/>
                  </a:lnTo>
                  <a:lnTo>
                    <a:pt x="20" y="49"/>
                  </a:lnTo>
                  <a:lnTo>
                    <a:pt x="24" y="5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1" name="Freeform 152"/>
            <p:cNvSpPr>
              <a:spLocks/>
            </p:cNvSpPr>
            <p:nvPr/>
          </p:nvSpPr>
          <p:spPr bwMode="auto">
            <a:xfrm>
              <a:off x="636" y="1579"/>
              <a:ext cx="336" cy="249"/>
            </a:xfrm>
            <a:custGeom>
              <a:avLst/>
              <a:gdLst>
                <a:gd name="T0" fmla="*/ 125 w 336"/>
                <a:gd name="T1" fmla="*/ 22 h 249"/>
                <a:gd name="T2" fmla="*/ 133 w 336"/>
                <a:gd name="T3" fmla="*/ 32 h 249"/>
                <a:gd name="T4" fmla="*/ 137 w 336"/>
                <a:gd name="T5" fmla="*/ 44 h 249"/>
                <a:gd name="T6" fmla="*/ 146 w 336"/>
                <a:gd name="T7" fmla="*/ 53 h 249"/>
                <a:gd name="T8" fmla="*/ 156 w 336"/>
                <a:gd name="T9" fmla="*/ 59 h 249"/>
                <a:gd name="T10" fmla="*/ 166 w 336"/>
                <a:gd name="T11" fmla="*/ 49 h 249"/>
                <a:gd name="T12" fmla="*/ 178 w 336"/>
                <a:gd name="T13" fmla="*/ 49 h 249"/>
                <a:gd name="T14" fmla="*/ 189 w 336"/>
                <a:gd name="T15" fmla="*/ 71 h 249"/>
                <a:gd name="T16" fmla="*/ 196 w 336"/>
                <a:gd name="T17" fmla="*/ 86 h 249"/>
                <a:gd name="T18" fmla="*/ 212 w 336"/>
                <a:gd name="T19" fmla="*/ 102 h 249"/>
                <a:gd name="T20" fmla="*/ 218 w 336"/>
                <a:gd name="T21" fmla="*/ 105 h 249"/>
                <a:gd name="T22" fmla="*/ 212 w 336"/>
                <a:gd name="T23" fmla="*/ 116 h 249"/>
                <a:gd name="T24" fmla="*/ 209 w 336"/>
                <a:gd name="T25" fmla="*/ 143 h 249"/>
                <a:gd name="T26" fmla="*/ 207 w 336"/>
                <a:gd name="T27" fmla="*/ 158 h 249"/>
                <a:gd name="T28" fmla="*/ 222 w 336"/>
                <a:gd name="T29" fmla="*/ 187 h 249"/>
                <a:gd name="T30" fmla="*/ 243 w 336"/>
                <a:gd name="T31" fmla="*/ 204 h 249"/>
                <a:gd name="T32" fmla="*/ 269 w 336"/>
                <a:gd name="T33" fmla="*/ 199 h 249"/>
                <a:gd name="T34" fmla="*/ 279 w 336"/>
                <a:gd name="T35" fmla="*/ 196 h 249"/>
                <a:gd name="T36" fmla="*/ 291 w 336"/>
                <a:gd name="T37" fmla="*/ 173 h 249"/>
                <a:gd name="T38" fmla="*/ 320 w 336"/>
                <a:gd name="T39" fmla="*/ 159 h 249"/>
                <a:gd name="T40" fmla="*/ 326 w 336"/>
                <a:gd name="T41" fmla="*/ 178 h 249"/>
                <a:gd name="T42" fmla="*/ 324 w 336"/>
                <a:gd name="T43" fmla="*/ 192 h 249"/>
                <a:gd name="T44" fmla="*/ 317 w 336"/>
                <a:gd name="T45" fmla="*/ 199 h 249"/>
                <a:gd name="T46" fmla="*/ 307 w 336"/>
                <a:gd name="T47" fmla="*/ 207 h 249"/>
                <a:gd name="T48" fmla="*/ 281 w 336"/>
                <a:gd name="T49" fmla="*/ 215 h 249"/>
                <a:gd name="T50" fmla="*/ 287 w 336"/>
                <a:gd name="T51" fmla="*/ 226 h 249"/>
                <a:gd name="T52" fmla="*/ 267 w 336"/>
                <a:gd name="T53" fmla="*/ 245 h 249"/>
                <a:gd name="T54" fmla="*/ 247 w 336"/>
                <a:gd name="T55" fmla="*/ 234 h 249"/>
                <a:gd name="T56" fmla="*/ 246 w 336"/>
                <a:gd name="T57" fmla="*/ 234 h 249"/>
                <a:gd name="T58" fmla="*/ 235 w 336"/>
                <a:gd name="T59" fmla="*/ 229 h 249"/>
                <a:gd name="T60" fmla="*/ 230 w 336"/>
                <a:gd name="T61" fmla="*/ 230 h 249"/>
                <a:gd name="T62" fmla="*/ 194 w 336"/>
                <a:gd name="T63" fmla="*/ 229 h 249"/>
                <a:gd name="T64" fmla="*/ 170 w 336"/>
                <a:gd name="T65" fmla="*/ 219 h 249"/>
                <a:gd name="T66" fmla="*/ 143 w 336"/>
                <a:gd name="T67" fmla="*/ 204 h 249"/>
                <a:gd name="T68" fmla="*/ 128 w 336"/>
                <a:gd name="T69" fmla="*/ 191 h 249"/>
                <a:gd name="T70" fmla="*/ 112 w 336"/>
                <a:gd name="T71" fmla="*/ 176 h 249"/>
                <a:gd name="T72" fmla="*/ 118 w 336"/>
                <a:gd name="T73" fmla="*/ 162 h 249"/>
                <a:gd name="T74" fmla="*/ 101 w 336"/>
                <a:gd name="T75" fmla="*/ 125 h 249"/>
                <a:gd name="T76" fmla="*/ 91 w 336"/>
                <a:gd name="T77" fmla="*/ 110 h 249"/>
                <a:gd name="T78" fmla="*/ 79 w 336"/>
                <a:gd name="T79" fmla="*/ 94 h 249"/>
                <a:gd name="T80" fmla="*/ 75 w 336"/>
                <a:gd name="T81" fmla="*/ 87 h 249"/>
                <a:gd name="T82" fmla="*/ 65 w 336"/>
                <a:gd name="T83" fmla="*/ 71 h 249"/>
                <a:gd name="T84" fmla="*/ 54 w 336"/>
                <a:gd name="T85" fmla="*/ 60 h 249"/>
                <a:gd name="T86" fmla="*/ 45 w 336"/>
                <a:gd name="T87" fmla="*/ 43 h 249"/>
                <a:gd name="T88" fmla="*/ 39 w 336"/>
                <a:gd name="T89" fmla="*/ 22 h 249"/>
                <a:gd name="T90" fmla="*/ 27 w 336"/>
                <a:gd name="T91" fmla="*/ 17 h 249"/>
                <a:gd name="T92" fmla="*/ 30 w 336"/>
                <a:gd name="T93" fmla="*/ 48 h 249"/>
                <a:gd name="T94" fmla="*/ 42 w 336"/>
                <a:gd name="T95" fmla="*/ 66 h 249"/>
                <a:gd name="T96" fmla="*/ 49 w 336"/>
                <a:gd name="T97" fmla="*/ 86 h 249"/>
                <a:gd name="T98" fmla="*/ 54 w 336"/>
                <a:gd name="T99" fmla="*/ 100 h 249"/>
                <a:gd name="T100" fmla="*/ 58 w 336"/>
                <a:gd name="T101" fmla="*/ 117 h 249"/>
                <a:gd name="T102" fmla="*/ 67 w 336"/>
                <a:gd name="T103" fmla="*/ 125 h 249"/>
                <a:gd name="T104" fmla="*/ 65 w 336"/>
                <a:gd name="T105" fmla="*/ 138 h 249"/>
                <a:gd name="T106" fmla="*/ 49 w 336"/>
                <a:gd name="T107" fmla="*/ 117 h 249"/>
                <a:gd name="T108" fmla="*/ 42 w 336"/>
                <a:gd name="T109" fmla="*/ 94 h 249"/>
                <a:gd name="T110" fmla="*/ 29 w 336"/>
                <a:gd name="T111" fmla="*/ 85 h 249"/>
                <a:gd name="T112" fmla="*/ 15 w 336"/>
                <a:gd name="T113" fmla="*/ 72 h 249"/>
                <a:gd name="T114" fmla="*/ 26 w 336"/>
                <a:gd name="T115" fmla="*/ 68 h 249"/>
                <a:gd name="T116" fmla="*/ 20 w 336"/>
                <a:gd name="T117" fmla="*/ 52 h 249"/>
                <a:gd name="T118" fmla="*/ 10 w 336"/>
                <a:gd name="T119" fmla="*/ 30 h 249"/>
                <a:gd name="T120" fmla="*/ 4 w 336"/>
                <a:gd name="T121" fmla="*/ 13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36" h="249">
                  <a:moveTo>
                    <a:pt x="0" y="2"/>
                  </a:moveTo>
                  <a:lnTo>
                    <a:pt x="29" y="0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68" y="21"/>
                  </a:lnTo>
                  <a:lnTo>
                    <a:pt x="102" y="22"/>
                  </a:lnTo>
                  <a:lnTo>
                    <a:pt x="102" y="18"/>
                  </a:lnTo>
                  <a:lnTo>
                    <a:pt x="121" y="18"/>
                  </a:lnTo>
                  <a:lnTo>
                    <a:pt x="124" y="19"/>
                  </a:lnTo>
                  <a:lnTo>
                    <a:pt x="125" y="22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9" y="26"/>
                  </a:lnTo>
                  <a:lnTo>
                    <a:pt x="128" y="28"/>
                  </a:lnTo>
                  <a:lnTo>
                    <a:pt x="131" y="28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35" y="33"/>
                  </a:lnTo>
                  <a:lnTo>
                    <a:pt x="135" y="34"/>
                  </a:lnTo>
                  <a:lnTo>
                    <a:pt x="136" y="37"/>
                  </a:lnTo>
                  <a:lnTo>
                    <a:pt x="136" y="38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9" y="41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9" y="47"/>
                  </a:lnTo>
                  <a:lnTo>
                    <a:pt x="140" y="48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3" y="52"/>
                  </a:lnTo>
                  <a:lnTo>
                    <a:pt x="143" y="52"/>
                  </a:lnTo>
                  <a:lnTo>
                    <a:pt x="144" y="52"/>
                  </a:lnTo>
                  <a:lnTo>
                    <a:pt x="146" y="53"/>
                  </a:lnTo>
                  <a:lnTo>
                    <a:pt x="146" y="53"/>
                  </a:lnTo>
                  <a:lnTo>
                    <a:pt x="146" y="55"/>
                  </a:lnTo>
                  <a:lnTo>
                    <a:pt x="147" y="55"/>
                  </a:lnTo>
                  <a:lnTo>
                    <a:pt x="150" y="56"/>
                  </a:lnTo>
                  <a:lnTo>
                    <a:pt x="150" y="56"/>
                  </a:lnTo>
                  <a:lnTo>
                    <a:pt x="152" y="57"/>
                  </a:lnTo>
                  <a:lnTo>
                    <a:pt x="154" y="59"/>
                  </a:lnTo>
                  <a:lnTo>
                    <a:pt x="155" y="59"/>
                  </a:lnTo>
                  <a:lnTo>
                    <a:pt x="156" y="59"/>
                  </a:lnTo>
                  <a:lnTo>
                    <a:pt x="156" y="59"/>
                  </a:lnTo>
                  <a:lnTo>
                    <a:pt x="158" y="57"/>
                  </a:lnTo>
                  <a:lnTo>
                    <a:pt x="159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5"/>
                  </a:lnTo>
                  <a:lnTo>
                    <a:pt x="160" y="53"/>
                  </a:lnTo>
                  <a:lnTo>
                    <a:pt x="163" y="51"/>
                  </a:lnTo>
                  <a:lnTo>
                    <a:pt x="165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7" y="49"/>
                  </a:lnTo>
                  <a:lnTo>
                    <a:pt x="169" y="48"/>
                  </a:lnTo>
                  <a:lnTo>
                    <a:pt x="170" y="48"/>
                  </a:lnTo>
                  <a:lnTo>
                    <a:pt x="173" y="48"/>
                  </a:lnTo>
                  <a:lnTo>
                    <a:pt x="174" y="48"/>
                  </a:lnTo>
                  <a:lnTo>
                    <a:pt x="175" y="48"/>
                  </a:lnTo>
                  <a:lnTo>
                    <a:pt x="175" y="49"/>
                  </a:lnTo>
                  <a:lnTo>
                    <a:pt x="177" y="49"/>
                  </a:lnTo>
                  <a:lnTo>
                    <a:pt x="178" y="49"/>
                  </a:lnTo>
                  <a:lnTo>
                    <a:pt x="179" y="51"/>
                  </a:lnTo>
                  <a:lnTo>
                    <a:pt x="182" y="53"/>
                  </a:lnTo>
                  <a:lnTo>
                    <a:pt x="184" y="56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6" y="62"/>
                  </a:lnTo>
                  <a:lnTo>
                    <a:pt x="186" y="64"/>
                  </a:lnTo>
                  <a:lnTo>
                    <a:pt x="188" y="64"/>
                  </a:lnTo>
                  <a:lnTo>
                    <a:pt x="188" y="66"/>
                  </a:lnTo>
                  <a:lnTo>
                    <a:pt x="189" y="71"/>
                  </a:lnTo>
                  <a:lnTo>
                    <a:pt x="190" y="71"/>
                  </a:lnTo>
                  <a:lnTo>
                    <a:pt x="190" y="72"/>
                  </a:lnTo>
                  <a:lnTo>
                    <a:pt x="193" y="74"/>
                  </a:lnTo>
                  <a:lnTo>
                    <a:pt x="193" y="75"/>
                  </a:lnTo>
                  <a:lnTo>
                    <a:pt x="194" y="78"/>
                  </a:lnTo>
                  <a:lnTo>
                    <a:pt x="196" y="79"/>
                  </a:lnTo>
                  <a:lnTo>
                    <a:pt x="196" y="82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6"/>
                  </a:lnTo>
                  <a:lnTo>
                    <a:pt x="199" y="93"/>
                  </a:lnTo>
                  <a:lnTo>
                    <a:pt x="199" y="96"/>
                  </a:lnTo>
                  <a:lnTo>
                    <a:pt x="199" y="97"/>
                  </a:lnTo>
                  <a:lnTo>
                    <a:pt x="200" y="97"/>
                  </a:lnTo>
                  <a:lnTo>
                    <a:pt x="201" y="97"/>
                  </a:lnTo>
                  <a:lnTo>
                    <a:pt x="203" y="97"/>
                  </a:lnTo>
                  <a:lnTo>
                    <a:pt x="204" y="98"/>
                  </a:lnTo>
                  <a:lnTo>
                    <a:pt x="205" y="100"/>
                  </a:lnTo>
                  <a:lnTo>
                    <a:pt x="209" y="101"/>
                  </a:lnTo>
                  <a:lnTo>
                    <a:pt x="212" y="102"/>
                  </a:lnTo>
                  <a:lnTo>
                    <a:pt x="213" y="102"/>
                  </a:lnTo>
                  <a:lnTo>
                    <a:pt x="215" y="104"/>
                  </a:lnTo>
                  <a:lnTo>
                    <a:pt x="216" y="105"/>
                  </a:lnTo>
                  <a:lnTo>
                    <a:pt x="215" y="106"/>
                  </a:lnTo>
                  <a:lnTo>
                    <a:pt x="218" y="105"/>
                  </a:lnTo>
                  <a:lnTo>
                    <a:pt x="218" y="101"/>
                  </a:lnTo>
                  <a:lnTo>
                    <a:pt x="219" y="100"/>
                  </a:lnTo>
                  <a:lnTo>
                    <a:pt x="219" y="101"/>
                  </a:lnTo>
                  <a:lnTo>
                    <a:pt x="219" y="105"/>
                  </a:lnTo>
                  <a:lnTo>
                    <a:pt x="218" y="105"/>
                  </a:lnTo>
                  <a:lnTo>
                    <a:pt x="218" y="108"/>
                  </a:lnTo>
                  <a:lnTo>
                    <a:pt x="215" y="110"/>
                  </a:lnTo>
                  <a:lnTo>
                    <a:pt x="215" y="113"/>
                  </a:lnTo>
                  <a:lnTo>
                    <a:pt x="213" y="113"/>
                  </a:lnTo>
                  <a:lnTo>
                    <a:pt x="213" y="112"/>
                  </a:lnTo>
                  <a:lnTo>
                    <a:pt x="215" y="109"/>
                  </a:lnTo>
                  <a:lnTo>
                    <a:pt x="212" y="109"/>
                  </a:lnTo>
                  <a:lnTo>
                    <a:pt x="212" y="113"/>
                  </a:lnTo>
                  <a:lnTo>
                    <a:pt x="211" y="115"/>
                  </a:lnTo>
                  <a:lnTo>
                    <a:pt x="212" y="116"/>
                  </a:lnTo>
                  <a:lnTo>
                    <a:pt x="212" y="117"/>
                  </a:lnTo>
                  <a:lnTo>
                    <a:pt x="211" y="120"/>
                  </a:lnTo>
                  <a:lnTo>
                    <a:pt x="209" y="121"/>
                  </a:lnTo>
                  <a:lnTo>
                    <a:pt x="209" y="124"/>
                  </a:lnTo>
                  <a:lnTo>
                    <a:pt x="211" y="125"/>
                  </a:lnTo>
                  <a:lnTo>
                    <a:pt x="209" y="127"/>
                  </a:lnTo>
                  <a:lnTo>
                    <a:pt x="209" y="128"/>
                  </a:lnTo>
                  <a:lnTo>
                    <a:pt x="209" y="134"/>
                  </a:lnTo>
                  <a:lnTo>
                    <a:pt x="209" y="138"/>
                  </a:lnTo>
                  <a:lnTo>
                    <a:pt x="209" y="143"/>
                  </a:lnTo>
                  <a:lnTo>
                    <a:pt x="207" y="146"/>
                  </a:lnTo>
                  <a:lnTo>
                    <a:pt x="208" y="147"/>
                  </a:lnTo>
                  <a:lnTo>
                    <a:pt x="208" y="153"/>
                  </a:lnTo>
                  <a:lnTo>
                    <a:pt x="208" y="154"/>
                  </a:lnTo>
                  <a:lnTo>
                    <a:pt x="211" y="159"/>
                  </a:lnTo>
                  <a:lnTo>
                    <a:pt x="211" y="162"/>
                  </a:lnTo>
                  <a:lnTo>
                    <a:pt x="211" y="163"/>
                  </a:lnTo>
                  <a:lnTo>
                    <a:pt x="209" y="159"/>
                  </a:lnTo>
                  <a:lnTo>
                    <a:pt x="207" y="155"/>
                  </a:lnTo>
                  <a:lnTo>
                    <a:pt x="207" y="158"/>
                  </a:lnTo>
                  <a:lnTo>
                    <a:pt x="209" y="159"/>
                  </a:lnTo>
                  <a:lnTo>
                    <a:pt x="209" y="165"/>
                  </a:lnTo>
                  <a:lnTo>
                    <a:pt x="211" y="166"/>
                  </a:lnTo>
                  <a:lnTo>
                    <a:pt x="209" y="168"/>
                  </a:lnTo>
                  <a:lnTo>
                    <a:pt x="211" y="170"/>
                  </a:lnTo>
                  <a:lnTo>
                    <a:pt x="212" y="173"/>
                  </a:lnTo>
                  <a:lnTo>
                    <a:pt x="218" y="180"/>
                  </a:lnTo>
                  <a:lnTo>
                    <a:pt x="219" y="183"/>
                  </a:lnTo>
                  <a:lnTo>
                    <a:pt x="222" y="185"/>
                  </a:lnTo>
                  <a:lnTo>
                    <a:pt x="222" y="187"/>
                  </a:lnTo>
                  <a:lnTo>
                    <a:pt x="222" y="189"/>
                  </a:lnTo>
                  <a:lnTo>
                    <a:pt x="227" y="195"/>
                  </a:lnTo>
                  <a:lnTo>
                    <a:pt x="228" y="196"/>
                  </a:lnTo>
                  <a:lnTo>
                    <a:pt x="230" y="196"/>
                  </a:lnTo>
                  <a:lnTo>
                    <a:pt x="233" y="196"/>
                  </a:lnTo>
                  <a:lnTo>
                    <a:pt x="234" y="197"/>
                  </a:lnTo>
                  <a:lnTo>
                    <a:pt x="237" y="199"/>
                  </a:lnTo>
                  <a:lnTo>
                    <a:pt x="239" y="202"/>
                  </a:lnTo>
                  <a:lnTo>
                    <a:pt x="241" y="206"/>
                  </a:lnTo>
                  <a:lnTo>
                    <a:pt x="243" y="204"/>
                  </a:lnTo>
                  <a:lnTo>
                    <a:pt x="247" y="203"/>
                  </a:lnTo>
                  <a:lnTo>
                    <a:pt x="247" y="204"/>
                  </a:lnTo>
                  <a:lnTo>
                    <a:pt x="249" y="204"/>
                  </a:lnTo>
                  <a:lnTo>
                    <a:pt x="254" y="202"/>
                  </a:lnTo>
                  <a:lnTo>
                    <a:pt x="256" y="200"/>
                  </a:lnTo>
                  <a:lnTo>
                    <a:pt x="260" y="200"/>
                  </a:lnTo>
                  <a:lnTo>
                    <a:pt x="262" y="200"/>
                  </a:lnTo>
                  <a:lnTo>
                    <a:pt x="264" y="197"/>
                  </a:lnTo>
                  <a:lnTo>
                    <a:pt x="267" y="197"/>
                  </a:lnTo>
                  <a:lnTo>
                    <a:pt x="269" y="199"/>
                  </a:lnTo>
                  <a:lnTo>
                    <a:pt x="271" y="197"/>
                  </a:lnTo>
                  <a:lnTo>
                    <a:pt x="273" y="199"/>
                  </a:lnTo>
                  <a:lnTo>
                    <a:pt x="272" y="199"/>
                  </a:lnTo>
                  <a:lnTo>
                    <a:pt x="271" y="202"/>
                  </a:lnTo>
                  <a:lnTo>
                    <a:pt x="273" y="202"/>
                  </a:lnTo>
                  <a:lnTo>
                    <a:pt x="275" y="203"/>
                  </a:lnTo>
                  <a:lnTo>
                    <a:pt x="276" y="202"/>
                  </a:lnTo>
                  <a:lnTo>
                    <a:pt x="277" y="202"/>
                  </a:lnTo>
                  <a:lnTo>
                    <a:pt x="279" y="199"/>
                  </a:lnTo>
                  <a:lnTo>
                    <a:pt x="279" y="196"/>
                  </a:lnTo>
                  <a:lnTo>
                    <a:pt x="280" y="193"/>
                  </a:lnTo>
                  <a:lnTo>
                    <a:pt x="277" y="196"/>
                  </a:lnTo>
                  <a:lnTo>
                    <a:pt x="277" y="195"/>
                  </a:lnTo>
                  <a:lnTo>
                    <a:pt x="283" y="192"/>
                  </a:lnTo>
                  <a:lnTo>
                    <a:pt x="284" y="192"/>
                  </a:lnTo>
                  <a:lnTo>
                    <a:pt x="287" y="189"/>
                  </a:lnTo>
                  <a:lnTo>
                    <a:pt x="287" y="185"/>
                  </a:lnTo>
                  <a:lnTo>
                    <a:pt x="291" y="181"/>
                  </a:lnTo>
                  <a:lnTo>
                    <a:pt x="290" y="180"/>
                  </a:lnTo>
                  <a:lnTo>
                    <a:pt x="291" y="173"/>
                  </a:lnTo>
                  <a:lnTo>
                    <a:pt x="295" y="168"/>
                  </a:lnTo>
                  <a:lnTo>
                    <a:pt x="294" y="168"/>
                  </a:lnTo>
                  <a:lnTo>
                    <a:pt x="294" y="166"/>
                  </a:lnTo>
                  <a:lnTo>
                    <a:pt x="301" y="163"/>
                  </a:lnTo>
                  <a:lnTo>
                    <a:pt x="311" y="163"/>
                  </a:lnTo>
                  <a:lnTo>
                    <a:pt x="313" y="162"/>
                  </a:lnTo>
                  <a:lnTo>
                    <a:pt x="315" y="161"/>
                  </a:lnTo>
                  <a:lnTo>
                    <a:pt x="317" y="162"/>
                  </a:lnTo>
                  <a:lnTo>
                    <a:pt x="320" y="161"/>
                  </a:lnTo>
                  <a:lnTo>
                    <a:pt x="320" y="159"/>
                  </a:lnTo>
                  <a:lnTo>
                    <a:pt x="324" y="159"/>
                  </a:lnTo>
                  <a:lnTo>
                    <a:pt x="329" y="161"/>
                  </a:lnTo>
                  <a:lnTo>
                    <a:pt x="330" y="161"/>
                  </a:lnTo>
                  <a:lnTo>
                    <a:pt x="330" y="159"/>
                  </a:lnTo>
                  <a:lnTo>
                    <a:pt x="332" y="159"/>
                  </a:lnTo>
                  <a:lnTo>
                    <a:pt x="336" y="163"/>
                  </a:lnTo>
                  <a:lnTo>
                    <a:pt x="336" y="166"/>
                  </a:lnTo>
                  <a:lnTo>
                    <a:pt x="333" y="169"/>
                  </a:lnTo>
                  <a:lnTo>
                    <a:pt x="332" y="173"/>
                  </a:lnTo>
                  <a:lnTo>
                    <a:pt x="326" y="178"/>
                  </a:lnTo>
                  <a:lnTo>
                    <a:pt x="325" y="180"/>
                  </a:lnTo>
                  <a:lnTo>
                    <a:pt x="325" y="183"/>
                  </a:lnTo>
                  <a:lnTo>
                    <a:pt x="322" y="184"/>
                  </a:lnTo>
                  <a:lnTo>
                    <a:pt x="322" y="185"/>
                  </a:lnTo>
                  <a:lnTo>
                    <a:pt x="324" y="187"/>
                  </a:lnTo>
                  <a:lnTo>
                    <a:pt x="325" y="187"/>
                  </a:lnTo>
                  <a:lnTo>
                    <a:pt x="325" y="188"/>
                  </a:lnTo>
                  <a:lnTo>
                    <a:pt x="322" y="191"/>
                  </a:lnTo>
                  <a:lnTo>
                    <a:pt x="322" y="192"/>
                  </a:lnTo>
                  <a:lnTo>
                    <a:pt x="324" y="192"/>
                  </a:lnTo>
                  <a:lnTo>
                    <a:pt x="325" y="191"/>
                  </a:lnTo>
                  <a:lnTo>
                    <a:pt x="325" y="191"/>
                  </a:lnTo>
                  <a:lnTo>
                    <a:pt x="324" y="192"/>
                  </a:lnTo>
                  <a:lnTo>
                    <a:pt x="322" y="200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18" y="202"/>
                  </a:lnTo>
                  <a:lnTo>
                    <a:pt x="315" y="200"/>
                  </a:lnTo>
                  <a:lnTo>
                    <a:pt x="315" y="200"/>
                  </a:lnTo>
                  <a:lnTo>
                    <a:pt x="317" y="199"/>
                  </a:lnTo>
                  <a:lnTo>
                    <a:pt x="317" y="196"/>
                  </a:lnTo>
                  <a:lnTo>
                    <a:pt x="315" y="196"/>
                  </a:lnTo>
                  <a:lnTo>
                    <a:pt x="314" y="200"/>
                  </a:lnTo>
                  <a:lnTo>
                    <a:pt x="311" y="202"/>
                  </a:lnTo>
                  <a:lnTo>
                    <a:pt x="311" y="202"/>
                  </a:lnTo>
                  <a:lnTo>
                    <a:pt x="310" y="202"/>
                  </a:lnTo>
                  <a:lnTo>
                    <a:pt x="309" y="202"/>
                  </a:lnTo>
                  <a:lnTo>
                    <a:pt x="309" y="203"/>
                  </a:lnTo>
                  <a:lnTo>
                    <a:pt x="309" y="204"/>
                  </a:lnTo>
                  <a:lnTo>
                    <a:pt x="307" y="207"/>
                  </a:lnTo>
                  <a:lnTo>
                    <a:pt x="307" y="207"/>
                  </a:lnTo>
                  <a:lnTo>
                    <a:pt x="306" y="207"/>
                  </a:lnTo>
                  <a:lnTo>
                    <a:pt x="306" y="208"/>
                  </a:lnTo>
                  <a:lnTo>
                    <a:pt x="305" y="207"/>
                  </a:lnTo>
                  <a:lnTo>
                    <a:pt x="305" y="207"/>
                  </a:lnTo>
                  <a:lnTo>
                    <a:pt x="303" y="207"/>
                  </a:lnTo>
                  <a:lnTo>
                    <a:pt x="302" y="207"/>
                  </a:lnTo>
                  <a:lnTo>
                    <a:pt x="302" y="210"/>
                  </a:lnTo>
                  <a:lnTo>
                    <a:pt x="281" y="208"/>
                  </a:lnTo>
                  <a:lnTo>
                    <a:pt x="281" y="215"/>
                  </a:lnTo>
                  <a:lnTo>
                    <a:pt x="276" y="215"/>
                  </a:lnTo>
                  <a:lnTo>
                    <a:pt x="277" y="216"/>
                  </a:lnTo>
                  <a:lnTo>
                    <a:pt x="279" y="218"/>
                  </a:lnTo>
                  <a:lnTo>
                    <a:pt x="280" y="221"/>
                  </a:lnTo>
                  <a:lnTo>
                    <a:pt x="281" y="222"/>
                  </a:lnTo>
                  <a:lnTo>
                    <a:pt x="283" y="222"/>
                  </a:lnTo>
                  <a:lnTo>
                    <a:pt x="284" y="223"/>
                  </a:lnTo>
                  <a:lnTo>
                    <a:pt x="284" y="225"/>
                  </a:lnTo>
                  <a:lnTo>
                    <a:pt x="286" y="226"/>
                  </a:lnTo>
                  <a:lnTo>
                    <a:pt x="287" y="226"/>
                  </a:lnTo>
                  <a:lnTo>
                    <a:pt x="288" y="226"/>
                  </a:lnTo>
                  <a:lnTo>
                    <a:pt x="288" y="229"/>
                  </a:lnTo>
                  <a:lnTo>
                    <a:pt x="287" y="230"/>
                  </a:lnTo>
                  <a:lnTo>
                    <a:pt x="272" y="230"/>
                  </a:lnTo>
                  <a:lnTo>
                    <a:pt x="265" y="241"/>
                  </a:lnTo>
                  <a:lnTo>
                    <a:pt x="265" y="242"/>
                  </a:lnTo>
                  <a:lnTo>
                    <a:pt x="265" y="244"/>
                  </a:lnTo>
                  <a:lnTo>
                    <a:pt x="265" y="245"/>
                  </a:lnTo>
                  <a:lnTo>
                    <a:pt x="267" y="245"/>
                  </a:lnTo>
                  <a:lnTo>
                    <a:pt x="267" y="245"/>
                  </a:lnTo>
                  <a:lnTo>
                    <a:pt x="267" y="246"/>
                  </a:lnTo>
                  <a:lnTo>
                    <a:pt x="265" y="248"/>
                  </a:lnTo>
                  <a:lnTo>
                    <a:pt x="265" y="249"/>
                  </a:lnTo>
                  <a:lnTo>
                    <a:pt x="264" y="249"/>
                  </a:lnTo>
                  <a:lnTo>
                    <a:pt x="262" y="246"/>
                  </a:lnTo>
                  <a:lnTo>
                    <a:pt x="260" y="244"/>
                  </a:lnTo>
                  <a:lnTo>
                    <a:pt x="258" y="242"/>
                  </a:lnTo>
                  <a:lnTo>
                    <a:pt x="257" y="242"/>
                  </a:lnTo>
                  <a:lnTo>
                    <a:pt x="249" y="236"/>
                  </a:lnTo>
                  <a:lnTo>
                    <a:pt x="247" y="234"/>
                  </a:lnTo>
                  <a:lnTo>
                    <a:pt x="247" y="233"/>
                  </a:lnTo>
                  <a:lnTo>
                    <a:pt x="245" y="230"/>
                  </a:lnTo>
                  <a:lnTo>
                    <a:pt x="243" y="229"/>
                  </a:lnTo>
                  <a:lnTo>
                    <a:pt x="241" y="229"/>
                  </a:lnTo>
                  <a:lnTo>
                    <a:pt x="241" y="227"/>
                  </a:lnTo>
                  <a:lnTo>
                    <a:pt x="239" y="227"/>
                  </a:lnTo>
                  <a:lnTo>
                    <a:pt x="239" y="229"/>
                  </a:lnTo>
                  <a:lnTo>
                    <a:pt x="243" y="230"/>
                  </a:lnTo>
                  <a:lnTo>
                    <a:pt x="246" y="233"/>
                  </a:lnTo>
                  <a:lnTo>
                    <a:pt x="246" y="234"/>
                  </a:lnTo>
                  <a:lnTo>
                    <a:pt x="245" y="233"/>
                  </a:lnTo>
                  <a:lnTo>
                    <a:pt x="241" y="230"/>
                  </a:lnTo>
                  <a:lnTo>
                    <a:pt x="239" y="229"/>
                  </a:lnTo>
                  <a:lnTo>
                    <a:pt x="238" y="229"/>
                  </a:lnTo>
                  <a:lnTo>
                    <a:pt x="237" y="229"/>
                  </a:lnTo>
                  <a:lnTo>
                    <a:pt x="237" y="229"/>
                  </a:lnTo>
                  <a:lnTo>
                    <a:pt x="238" y="229"/>
                  </a:lnTo>
                  <a:lnTo>
                    <a:pt x="238" y="227"/>
                  </a:lnTo>
                  <a:lnTo>
                    <a:pt x="237" y="227"/>
                  </a:lnTo>
                  <a:lnTo>
                    <a:pt x="235" y="229"/>
                  </a:lnTo>
                  <a:lnTo>
                    <a:pt x="235" y="227"/>
                  </a:lnTo>
                  <a:lnTo>
                    <a:pt x="234" y="226"/>
                  </a:lnTo>
                  <a:lnTo>
                    <a:pt x="233" y="227"/>
                  </a:lnTo>
                  <a:lnTo>
                    <a:pt x="231" y="229"/>
                  </a:lnTo>
                  <a:lnTo>
                    <a:pt x="234" y="229"/>
                  </a:lnTo>
                  <a:lnTo>
                    <a:pt x="237" y="229"/>
                  </a:lnTo>
                  <a:lnTo>
                    <a:pt x="237" y="230"/>
                  </a:lnTo>
                  <a:lnTo>
                    <a:pt x="235" y="230"/>
                  </a:lnTo>
                  <a:lnTo>
                    <a:pt x="233" y="230"/>
                  </a:lnTo>
                  <a:lnTo>
                    <a:pt x="230" y="230"/>
                  </a:lnTo>
                  <a:lnTo>
                    <a:pt x="226" y="233"/>
                  </a:lnTo>
                  <a:lnTo>
                    <a:pt x="224" y="233"/>
                  </a:lnTo>
                  <a:lnTo>
                    <a:pt x="218" y="236"/>
                  </a:lnTo>
                  <a:lnTo>
                    <a:pt x="215" y="236"/>
                  </a:lnTo>
                  <a:lnTo>
                    <a:pt x="209" y="233"/>
                  </a:lnTo>
                  <a:lnTo>
                    <a:pt x="207" y="231"/>
                  </a:lnTo>
                  <a:lnTo>
                    <a:pt x="203" y="231"/>
                  </a:lnTo>
                  <a:lnTo>
                    <a:pt x="199" y="230"/>
                  </a:lnTo>
                  <a:lnTo>
                    <a:pt x="196" y="229"/>
                  </a:lnTo>
                  <a:lnTo>
                    <a:pt x="194" y="229"/>
                  </a:lnTo>
                  <a:lnTo>
                    <a:pt x="193" y="229"/>
                  </a:lnTo>
                  <a:lnTo>
                    <a:pt x="190" y="227"/>
                  </a:lnTo>
                  <a:lnTo>
                    <a:pt x="189" y="225"/>
                  </a:lnTo>
                  <a:lnTo>
                    <a:pt x="188" y="225"/>
                  </a:lnTo>
                  <a:lnTo>
                    <a:pt x="186" y="225"/>
                  </a:lnTo>
                  <a:lnTo>
                    <a:pt x="184" y="223"/>
                  </a:lnTo>
                  <a:lnTo>
                    <a:pt x="179" y="223"/>
                  </a:lnTo>
                  <a:lnTo>
                    <a:pt x="178" y="221"/>
                  </a:lnTo>
                  <a:lnTo>
                    <a:pt x="175" y="219"/>
                  </a:lnTo>
                  <a:lnTo>
                    <a:pt x="170" y="219"/>
                  </a:lnTo>
                  <a:lnTo>
                    <a:pt x="165" y="216"/>
                  </a:lnTo>
                  <a:lnTo>
                    <a:pt x="162" y="214"/>
                  </a:lnTo>
                  <a:lnTo>
                    <a:pt x="160" y="212"/>
                  </a:lnTo>
                  <a:lnTo>
                    <a:pt x="154" y="207"/>
                  </a:lnTo>
                  <a:lnTo>
                    <a:pt x="154" y="206"/>
                  </a:lnTo>
                  <a:lnTo>
                    <a:pt x="152" y="206"/>
                  </a:lnTo>
                  <a:lnTo>
                    <a:pt x="151" y="207"/>
                  </a:lnTo>
                  <a:lnTo>
                    <a:pt x="150" y="207"/>
                  </a:lnTo>
                  <a:lnTo>
                    <a:pt x="144" y="206"/>
                  </a:lnTo>
                  <a:lnTo>
                    <a:pt x="143" y="204"/>
                  </a:lnTo>
                  <a:lnTo>
                    <a:pt x="141" y="204"/>
                  </a:lnTo>
                  <a:lnTo>
                    <a:pt x="140" y="204"/>
                  </a:lnTo>
                  <a:lnTo>
                    <a:pt x="137" y="203"/>
                  </a:lnTo>
                  <a:lnTo>
                    <a:pt x="136" y="200"/>
                  </a:lnTo>
                  <a:lnTo>
                    <a:pt x="135" y="197"/>
                  </a:lnTo>
                  <a:lnTo>
                    <a:pt x="131" y="195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9" y="192"/>
                  </a:lnTo>
                  <a:lnTo>
                    <a:pt x="128" y="191"/>
                  </a:lnTo>
                  <a:lnTo>
                    <a:pt x="125" y="192"/>
                  </a:lnTo>
                  <a:lnTo>
                    <a:pt x="121" y="191"/>
                  </a:lnTo>
                  <a:lnTo>
                    <a:pt x="121" y="189"/>
                  </a:lnTo>
                  <a:lnTo>
                    <a:pt x="120" y="189"/>
                  </a:lnTo>
                  <a:lnTo>
                    <a:pt x="118" y="188"/>
                  </a:lnTo>
                  <a:lnTo>
                    <a:pt x="117" y="185"/>
                  </a:lnTo>
                  <a:lnTo>
                    <a:pt x="116" y="183"/>
                  </a:lnTo>
                  <a:lnTo>
                    <a:pt x="116" y="181"/>
                  </a:lnTo>
                  <a:lnTo>
                    <a:pt x="113" y="180"/>
                  </a:lnTo>
                  <a:lnTo>
                    <a:pt x="112" y="176"/>
                  </a:lnTo>
                  <a:lnTo>
                    <a:pt x="112" y="174"/>
                  </a:lnTo>
                  <a:lnTo>
                    <a:pt x="113" y="173"/>
                  </a:lnTo>
                  <a:lnTo>
                    <a:pt x="116" y="173"/>
                  </a:lnTo>
                  <a:lnTo>
                    <a:pt x="117" y="172"/>
                  </a:lnTo>
                  <a:lnTo>
                    <a:pt x="116" y="172"/>
                  </a:lnTo>
                  <a:lnTo>
                    <a:pt x="114" y="170"/>
                  </a:lnTo>
                  <a:lnTo>
                    <a:pt x="114" y="169"/>
                  </a:lnTo>
                  <a:lnTo>
                    <a:pt x="117" y="168"/>
                  </a:lnTo>
                  <a:lnTo>
                    <a:pt x="118" y="165"/>
                  </a:lnTo>
                  <a:lnTo>
                    <a:pt x="118" y="162"/>
                  </a:lnTo>
                  <a:lnTo>
                    <a:pt x="116" y="157"/>
                  </a:lnTo>
                  <a:lnTo>
                    <a:pt x="114" y="153"/>
                  </a:lnTo>
                  <a:lnTo>
                    <a:pt x="114" y="151"/>
                  </a:lnTo>
                  <a:lnTo>
                    <a:pt x="114" y="149"/>
                  </a:lnTo>
                  <a:lnTo>
                    <a:pt x="114" y="147"/>
                  </a:lnTo>
                  <a:lnTo>
                    <a:pt x="110" y="142"/>
                  </a:lnTo>
                  <a:lnTo>
                    <a:pt x="110" y="139"/>
                  </a:lnTo>
                  <a:lnTo>
                    <a:pt x="106" y="135"/>
                  </a:lnTo>
                  <a:lnTo>
                    <a:pt x="103" y="130"/>
                  </a:lnTo>
                  <a:lnTo>
                    <a:pt x="101" y="125"/>
                  </a:lnTo>
                  <a:lnTo>
                    <a:pt x="97" y="123"/>
                  </a:lnTo>
                  <a:lnTo>
                    <a:pt x="95" y="123"/>
                  </a:lnTo>
                  <a:lnTo>
                    <a:pt x="95" y="120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1" y="117"/>
                  </a:lnTo>
                  <a:lnTo>
                    <a:pt x="92" y="115"/>
                  </a:lnTo>
                  <a:lnTo>
                    <a:pt x="91" y="113"/>
                  </a:lnTo>
                  <a:lnTo>
                    <a:pt x="91" y="110"/>
                  </a:lnTo>
                  <a:lnTo>
                    <a:pt x="90" y="109"/>
                  </a:lnTo>
                  <a:lnTo>
                    <a:pt x="88" y="109"/>
                  </a:lnTo>
                  <a:lnTo>
                    <a:pt x="86" y="109"/>
                  </a:lnTo>
                  <a:lnTo>
                    <a:pt x="82" y="105"/>
                  </a:lnTo>
                  <a:lnTo>
                    <a:pt x="80" y="104"/>
                  </a:lnTo>
                  <a:lnTo>
                    <a:pt x="78" y="104"/>
                  </a:lnTo>
                  <a:lnTo>
                    <a:pt x="76" y="102"/>
                  </a:lnTo>
                  <a:lnTo>
                    <a:pt x="76" y="100"/>
                  </a:lnTo>
                  <a:lnTo>
                    <a:pt x="76" y="97"/>
                  </a:lnTo>
                  <a:lnTo>
                    <a:pt x="79" y="94"/>
                  </a:lnTo>
                  <a:lnTo>
                    <a:pt x="80" y="94"/>
                  </a:lnTo>
                  <a:lnTo>
                    <a:pt x="82" y="96"/>
                  </a:lnTo>
                  <a:lnTo>
                    <a:pt x="83" y="94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79" y="91"/>
                  </a:lnTo>
                  <a:lnTo>
                    <a:pt x="79" y="90"/>
                  </a:lnTo>
                  <a:lnTo>
                    <a:pt x="76" y="87"/>
                  </a:lnTo>
                  <a:lnTo>
                    <a:pt x="75" y="87"/>
                  </a:lnTo>
                  <a:lnTo>
                    <a:pt x="73" y="87"/>
                  </a:lnTo>
                  <a:lnTo>
                    <a:pt x="72" y="86"/>
                  </a:lnTo>
                  <a:lnTo>
                    <a:pt x="72" y="83"/>
                  </a:lnTo>
                  <a:lnTo>
                    <a:pt x="71" y="83"/>
                  </a:lnTo>
                  <a:lnTo>
                    <a:pt x="69" y="83"/>
                  </a:lnTo>
                  <a:lnTo>
                    <a:pt x="65" y="79"/>
                  </a:lnTo>
                  <a:lnTo>
                    <a:pt x="65" y="76"/>
                  </a:lnTo>
                  <a:lnTo>
                    <a:pt x="67" y="75"/>
                  </a:lnTo>
                  <a:lnTo>
                    <a:pt x="67" y="72"/>
                  </a:lnTo>
                  <a:lnTo>
                    <a:pt x="65" y="71"/>
                  </a:lnTo>
                  <a:lnTo>
                    <a:pt x="63" y="72"/>
                  </a:lnTo>
                  <a:lnTo>
                    <a:pt x="63" y="71"/>
                  </a:lnTo>
                  <a:lnTo>
                    <a:pt x="61" y="71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58" y="67"/>
                  </a:lnTo>
                  <a:lnTo>
                    <a:pt x="57" y="64"/>
                  </a:lnTo>
                  <a:lnTo>
                    <a:pt x="56" y="64"/>
                  </a:lnTo>
                  <a:lnTo>
                    <a:pt x="54" y="63"/>
                  </a:lnTo>
                  <a:lnTo>
                    <a:pt x="54" y="60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0" y="53"/>
                  </a:lnTo>
                  <a:lnTo>
                    <a:pt x="50" y="52"/>
                  </a:lnTo>
                  <a:lnTo>
                    <a:pt x="49" y="52"/>
                  </a:lnTo>
                  <a:lnTo>
                    <a:pt x="48" y="51"/>
                  </a:lnTo>
                  <a:lnTo>
                    <a:pt x="49" y="49"/>
                  </a:lnTo>
                  <a:lnTo>
                    <a:pt x="49" y="48"/>
                  </a:lnTo>
                  <a:lnTo>
                    <a:pt x="46" y="44"/>
                  </a:lnTo>
                  <a:lnTo>
                    <a:pt x="45" y="43"/>
                  </a:lnTo>
                  <a:lnTo>
                    <a:pt x="46" y="41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44" y="32"/>
                  </a:lnTo>
                  <a:lnTo>
                    <a:pt x="42" y="29"/>
                  </a:lnTo>
                  <a:lnTo>
                    <a:pt x="42" y="28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2" y="23"/>
                  </a:lnTo>
                  <a:lnTo>
                    <a:pt x="39" y="22"/>
                  </a:lnTo>
                  <a:lnTo>
                    <a:pt x="38" y="21"/>
                  </a:lnTo>
                  <a:lnTo>
                    <a:pt x="37" y="19"/>
                  </a:lnTo>
                  <a:lnTo>
                    <a:pt x="35" y="21"/>
                  </a:lnTo>
                  <a:lnTo>
                    <a:pt x="34" y="21"/>
                  </a:lnTo>
                  <a:lnTo>
                    <a:pt x="33" y="19"/>
                  </a:lnTo>
                  <a:lnTo>
                    <a:pt x="30" y="17"/>
                  </a:lnTo>
                  <a:lnTo>
                    <a:pt x="27" y="15"/>
                  </a:lnTo>
                  <a:lnTo>
                    <a:pt x="26" y="13"/>
                  </a:lnTo>
                  <a:lnTo>
                    <a:pt x="26" y="15"/>
                  </a:lnTo>
                  <a:lnTo>
                    <a:pt x="27" y="17"/>
                  </a:lnTo>
                  <a:lnTo>
                    <a:pt x="26" y="21"/>
                  </a:lnTo>
                  <a:lnTo>
                    <a:pt x="24" y="23"/>
                  </a:lnTo>
                  <a:lnTo>
                    <a:pt x="26" y="29"/>
                  </a:lnTo>
                  <a:lnTo>
                    <a:pt x="26" y="37"/>
                  </a:lnTo>
                  <a:lnTo>
                    <a:pt x="24" y="38"/>
                  </a:lnTo>
                  <a:lnTo>
                    <a:pt x="26" y="40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9" y="45"/>
                  </a:lnTo>
                  <a:lnTo>
                    <a:pt x="30" y="48"/>
                  </a:lnTo>
                  <a:lnTo>
                    <a:pt x="33" y="49"/>
                  </a:lnTo>
                  <a:lnTo>
                    <a:pt x="34" y="53"/>
                  </a:lnTo>
                  <a:lnTo>
                    <a:pt x="33" y="55"/>
                  </a:lnTo>
                  <a:lnTo>
                    <a:pt x="34" y="56"/>
                  </a:lnTo>
                  <a:lnTo>
                    <a:pt x="35" y="57"/>
                  </a:lnTo>
                  <a:lnTo>
                    <a:pt x="37" y="59"/>
                  </a:lnTo>
                  <a:lnTo>
                    <a:pt x="38" y="62"/>
                  </a:lnTo>
                  <a:lnTo>
                    <a:pt x="38" y="63"/>
                  </a:lnTo>
                  <a:lnTo>
                    <a:pt x="39" y="63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1"/>
                  </a:lnTo>
                  <a:lnTo>
                    <a:pt x="44" y="74"/>
                  </a:lnTo>
                  <a:lnTo>
                    <a:pt x="45" y="74"/>
                  </a:lnTo>
                  <a:lnTo>
                    <a:pt x="46" y="76"/>
                  </a:lnTo>
                  <a:lnTo>
                    <a:pt x="48" y="82"/>
                  </a:lnTo>
                  <a:lnTo>
                    <a:pt x="49" y="82"/>
                  </a:lnTo>
                  <a:lnTo>
                    <a:pt x="49" y="83"/>
                  </a:lnTo>
                  <a:lnTo>
                    <a:pt x="49" y="85"/>
                  </a:lnTo>
                  <a:lnTo>
                    <a:pt x="49" y="86"/>
                  </a:lnTo>
                  <a:lnTo>
                    <a:pt x="50" y="89"/>
                  </a:lnTo>
                  <a:lnTo>
                    <a:pt x="52" y="89"/>
                  </a:lnTo>
                  <a:lnTo>
                    <a:pt x="52" y="87"/>
                  </a:lnTo>
                  <a:lnTo>
                    <a:pt x="52" y="86"/>
                  </a:lnTo>
                  <a:lnTo>
                    <a:pt x="53" y="86"/>
                  </a:lnTo>
                  <a:lnTo>
                    <a:pt x="53" y="87"/>
                  </a:lnTo>
                  <a:lnTo>
                    <a:pt x="54" y="90"/>
                  </a:lnTo>
                  <a:lnTo>
                    <a:pt x="56" y="94"/>
                  </a:lnTo>
                  <a:lnTo>
                    <a:pt x="54" y="97"/>
                  </a:lnTo>
                  <a:lnTo>
                    <a:pt x="54" y="100"/>
                  </a:lnTo>
                  <a:lnTo>
                    <a:pt x="56" y="100"/>
                  </a:lnTo>
                  <a:lnTo>
                    <a:pt x="56" y="102"/>
                  </a:lnTo>
                  <a:lnTo>
                    <a:pt x="57" y="104"/>
                  </a:lnTo>
                  <a:lnTo>
                    <a:pt x="57" y="106"/>
                  </a:lnTo>
                  <a:lnTo>
                    <a:pt x="58" y="106"/>
                  </a:lnTo>
                  <a:lnTo>
                    <a:pt x="58" y="109"/>
                  </a:lnTo>
                  <a:lnTo>
                    <a:pt x="57" y="110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58" y="117"/>
                  </a:lnTo>
                  <a:lnTo>
                    <a:pt x="58" y="119"/>
                  </a:lnTo>
                  <a:lnTo>
                    <a:pt x="60" y="121"/>
                  </a:lnTo>
                  <a:lnTo>
                    <a:pt x="63" y="123"/>
                  </a:lnTo>
                  <a:lnTo>
                    <a:pt x="63" y="124"/>
                  </a:lnTo>
                  <a:lnTo>
                    <a:pt x="64" y="124"/>
                  </a:lnTo>
                  <a:lnTo>
                    <a:pt x="64" y="123"/>
                  </a:lnTo>
                  <a:lnTo>
                    <a:pt x="64" y="121"/>
                  </a:lnTo>
                  <a:lnTo>
                    <a:pt x="65" y="123"/>
                  </a:lnTo>
                  <a:lnTo>
                    <a:pt x="67" y="124"/>
                  </a:lnTo>
                  <a:lnTo>
                    <a:pt x="67" y="125"/>
                  </a:lnTo>
                  <a:lnTo>
                    <a:pt x="69" y="127"/>
                  </a:lnTo>
                  <a:lnTo>
                    <a:pt x="69" y="128"/>
                  </a:lnTo>
                  <a:lnTo>
                    <a:pt x="71" y="130"/>
                  </a:lnTo>
                  <a:lnTo>
                    <a:pt x="72" y="132"/>
                  </a:lnTo>
                  <a:lnTo>
                    <a:pt x="73" y="132"/>
                  </a:lnTo>
                  <a:lnTo>
                    <a:pt x="72" y="135"/>
                  </a:lnTo>
                  <a:lnTo>
                    <a:pt x="71" y="139"/>
                  </a:lnTo>
                  <a:lnTo>
                    <a:pt x="67" y="140"/>
                  </a:lnTo>
                  <a:lnTo>
                    <a:pt x="65" y="140"/>
                  </a:lnTo>
                  <a:lnTo>
                    <a:pt x="65" y="138"/>
                  </a:lnTo>
                  <a:lnTo>
                    <a:pt x="64" y="135"/>
                  </a:lnTo>
                  <a:lnTo>
                    <a:pt x="63" y="135"/>
                  </a:lnTo>
                  <a:lnTo>
                    <a:pt x="63" y="131"/>
                  </a:lnTo>
                  <a:lnTo>
                    <a:pt x="61" y="130"/>
                  </a:lnTo>
                  <a:lnTo>
                    <a:pt x="60" y="130"/>
                  </a:lnTo>
                  <a:lnTo>
                    <a:pt x="57" y="128"/>
                  </a:lnTo>
                  <a:lnTo>
                    <a:pt x="57" y="125"/>
                  </a:lnTo>
                  <a:lnTo>
                    <a:pt x="54" y="125"/>
                  </a:lnTo>
                  <a:lnTo>
                    <a:pt x="50" y="120"/>
                  </a:lnTo>
                  <a:lnTo>
                    <a:pt x="49" y="117"/>
                  </a:lnTo>
                  <a:lnTo>
                    <a:pt x="46" y="117"/>
                  </a:lnTo>
                  <a:lnTo>
                    <a:pt x="46" y="116"/>
                  </a:lnTo>
                  <a:lnTo>
                    <a:pt x="45" y="116"/>
                  </a:lnTo>
                  <a:lnTo>
                    <a:pt x="42" y="113"/>
                  </a:lnTo>
                  <a:lnTo>
                    <a:pt x="42" y="112"/>
                  </a:lnTo>
                  <a:lnTo>
                    <a:pt x="45" y="109"/>
                  </a:lnTo>
                  <a:lnTo>
                    <a:pt x="45" y="105"/>
                  </a:lnTo>
                  <a:lnTo>
                    <a:pt x="45" y="100"/>
                  </a:lnTo>
                  <a:lnTo>
                    <a:pt x="44" y="96"/>
                  </a:lnTo>
                  <a:lnTo>
                    <a:pt x="42" y="94"/>
                  </a:lnTo>
                  <a:lnTo>
                    <a:pt x="41" y="94"/>
                  </a:lnTo>
                  <a:lnTo>
                    <a:pt x="39" y="93"/>
                  </a:lnTo>
                  <a:lnTo>
                    <a:pt x="35" y="90"/>
                  </a:lnTo>
                  <a:lnTo>
                    <a:pt x="34" y="86"/>
                  </a:lnTo>
                  <a:lnTo>
                    <a:pt x="35" y="83"/>
                  </a:lnTo>
                  <a:lnTo>
                    <a:pt x="34" y="83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0" y="87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7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3" y="81"/>
                  </a:lnTo>
                  <a:lnTo>
                    <a:pt x="20" y="81"/>
                  </a:lnTo>
                  <a:lnTo>
                    <a:pt x="20" y="78"/>
                  </a:lnTo>
                  <a:lnTo>
                    <a:pt x="20" y="76"/>
                  </a:lnTo>
                  <a:lnTo>
                    <a:pt x="18" y="75"/>
                  </a:lnTo>
                  <a:lnTo>
                    <a:pt x="15" y="72"/>
                  </a:lnTo>
                  <a:lnTo>
                    <a:pt x="16" y="71"/>
                  </a:lnTo>
                  <a:lnTo>
                    <a:pt x="19" y="71"/>
                  </a:lnTo>
                  <a:lnTo>
                    <a:pt x="20" y="72"/>
                  </a:lnTo>
                  <a:lnTo>
                    <a:pt x="23" y="72"/>
                  </a:lnTo>
                  <a:lnTo>
                    <a:pt x="24" y="74"/>
                  </a:lnTo>
                  <a:lnTo>
                    <a:pt x="26" y="72"/>
                  </a:lnTo>
                  <a:lnTo>
                    <a:pt x="26" y="71"/>
                  </a:lnTo>
                  <a:lnTo>
                    <a:pt x="24" y="71"/>
                  </a:lnTo>
                  <a:lnTo>
                    <a:pt x="24" y="70"/>
                  </a:lnTo>
                  <a:lnTo>
                    <a:pt x="26" y="68"/>
                  </a:lnTo>
                  <a:lnTo>
                    <a:pt x="27" y="70"/>
                  </a:lnTo>
                  <a:lnTo>
                    <a:pt x="27" y="67"/>
                  </a:lnTo>
                  <a:lnTo>
                    <a:pt x="26" y="66"/>
                  </a:lnTo>
                  <a:lnTo>
                    <a:pt x="26" y="64"/>
                  </a:lnTo>
                  <a:lnTo>
                    <a:pt x="27" y="63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4" y="56"/>
                  </a:lnTo>
                  <a:lnTo>
                    <a:pt x="22" y="53"/>
                  </a:lnTo>
                  <a:lnTo>
                    <a:pt x="20" y="52"/>
                  </a:lnTo>
                  <a:lnTo>
                    <a:pt x="19" y="49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2" y="44"/>
                  </a:lnTo>
                  <a:lnTo>
                    <a:pt x="11" y="41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4" y="15"/>
                  </a:lnTo>
                  <a:lnTo>
                    <a:pt x="5" y="14"/>
                  </a:lnTo>
                  <a:lnTo>
                    <a:pt x="4" y="13"/>
                  </a:lnTo>
                  <a:lnTo>
                    <a:pt x="3" y="10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2" name="Freeform 153"/>
            <p:cNvSpPr>
              <a:spLocks/>
            </p:cNvSpPr>
            <p:nvPr/>
          </p:nvSpPr>
          <p:spPr bwMode="auto">
            <a:xfrm>
              <a:off x="1113" y="1940"/>
              <a:ext cx="459" cy="481"/>
            </a:xfrm>
            <a:custGeom>
              <a:avLst/>
              <a:gdLst>
                <a:gd name="T0" fmla="*/ 255 w 459"/>
                <a:gd name="T1" fmla="*/ 21 h 481"/>
                <a:gd name="T2" fmla="*/ 238 w 459"/>
                <a:gd name="T3" fmla="*/ 38 h 481"/>
                <a:gd name="T4" fmla="*/ 225 w 459"/>
                <a:gd name="T5" fmla="*/ 29 h 481"/>
                <a:gd name="T6" fmla="*/ 207 w 459"/>
                <a:gd name="T7" fmla="*/ 40 h 481"/>
                <a:gd name="T8" fmla="*/ 184 w 459"/>
                <a:gd name="T9" fmla="*/ 44 h 481"/>
                <a:gd name="T10" fmla="*/ 163 w 459"/>
                <a:gd name="T11" fmla="*/ 36 h 481"/>
                <a:gd name="T12" fmla="*/ 166 w 459"/>
                <a:gd name="T13" fmla="*/ 12 h 481"/>
                <a:gd name="T14" fmla="*/ 155 w 459"/>
                <a:gd name="T15" fmla="*/ 2 h 481"/>
                <a:gd name="T16" fmla="*/ 112 w 459"/>
                <a:gd name="T17" fmla="*/ 13 h 481"/>
                <a:gd name="T18" fmla="*/ 123 w 459"/>
                <a:gd name="T19" fmla="*/ 34 h 481"/>
                <a:gd name="T20" fmla="*/ 85 w 459"/>
                <a:gd name="T21" fmla="*/ 51 h 481"/>
                <a:gd name="T22" fmla="*/ 61 w 459"/>
                <a:gd name="T23" fmla="*/ 43 h 481"/>
                <a:gd name="T24" fmla="*/ 47 w 459"/>
                <a:gd name="T25" fmla="*/ 69 h 481"/>
                <a:gd name="T26" fmla="*/ 38 w 459"/>
                <a:gd name="T27" fmla="*/ 114 h 481"/>
                <a:gd name="T28" fmla="*/ 10 w 459"/>
                <a:gd name="T29" fmla="*/ 130 h 481"/>
                <a:gd name="T30" fmla="*/ 0 w 459"/>
                <a:gd name="T31" fmla="*/ 156 h 481"/>
                <a:gd name="T32" fmla="*/ 36 w 459"/>
                <a:gd name="T33" fmla="*/ 178 h 481"/>
                <a:gd name="T34" fmla="*/ 51 w 459"/>
                <a:gd name="T35" fmla="*/ 194 h 481"/>
                <a:gd name="T36" fmla="*/ 85 w 459"/>
                <a:gd name="T37" fmla="*/ 182 h 481"/>
                <a:gd name="T38" fmla="*/ 102 w 459"/>
                <a:gd name="T39" fmla="*/ 202 h 481"/>
                <a:gd name="T40" fmla="*/ 139 w 459"/>
                <a:gd name="T41" fmla="*/ 220 h 481"/>
                <a:gd name="T42" fmla="*/ 165 w 459"/>
                <a:gd name="T43" fmla="*/ 257 h 481"/>
                <a:gd name="T44" fmla="*/ 195 w 459"/>
                <a:gd name="T45" fmla="*/ 308 h 481"/>
                <a:gd name="T46" fmla="*/ 219 w 459"/>
                <a:gd name="T47" fmla="*/ 331 h 481"/>
                <a:gd name="T48" fmla="*/ 238 w 459"/>
                <a:gd name="T49" fmla="*/ 368 h 481"/>
                <a:gd name="T50" fmla="*/ 248 w 459"/>
                <a:gd name="T51" fmla="*/ 394 h 481"/>
                <a:gd name="T52" fmla="*/ 225 w 459"/>
                <a:gd name="T53" fmla="*/ 409 h 481"/>
                <a:gd name="T54" fmla="*/ 207 w 459"/>
                <a:gd name="T55" fmla="*/ 433 h 481"/>
                <a:gd name="T56" fmla="*/ 236 w 459"/>
                <a:gd name="T57" fmla="*/ 448 h 481"/>
                <a:gd name="T58" fmla="*/ 259 w 459"/>
                <a:gd name="T59" fmla="*/ 477 h 481"/>
                <a:gd name="T60" fmla="*/ 270 w 459"/>
                <a:gd name="T61" fmla="*/ 452 h 481"/>
                <a:gd name="T62" fmla="*/ 280 w 459"/>
                <a:gd name="T63" fmla="*/ 439 h 481"/>
                <a:gd name="T64" fmla="*/ 287 w 459"/>
                <a:gd name="T65" fmla="*/ 436 h 481"/>
                <a:gd name="T66" fmla="*/ 271 w 459"/>
                <a:gd name="T67" fmla="*/ 455 h 481"/>
                <a:gd name="T68" fmla="*/ 306 w 459"/>
                <a:gd name="T69" fmla="*/ 406 h 481"/>
                <a:gd name="T70" fmla="*/ 306 w 459"/>
                <a:gd name="T71" fmla="*/ 387 h 481"/>
                <a:gd name="T72" fmla="*/ 310 w 459"/>
                <a:gd name="T73" fmla="*/ 371 h 481"/>
                <a:gd name="T74" fmla="*/ 343 w 459"/>
                <a:gd name="T75" fmla="*/ 350 h 481"/>
                <a:gd name="T76" fmla="*/ 357 w 459"/>
                <a:gd name="T77" fmla="*/ 337 h 481"/>
                <a:gd name="T78" fmla="*/ 366 w 459"/>
                <a:gd name="T79" fmla="*/ 334 h 481"/>
                <a:gd name="T80" fmla="*/ 381 w 459"/>
                <a:gd name="T81" fmla="*/ 333 h 481"/>
                <a:gd name="T82" fmla="*/ 397 w 459"/>
                <a:gd name="T83" fmla="*/ 308 h 481"/>
                <a:gd name="T84" fmla="*/ 410 w 459"/>
                <a:gd name="T85" fmla="*/ 270 h 481"/>
                <a:gd name="T86" fmla="*/ 410 w 459"/>
                <a:gd name="T87" fmla="*/ 227 h 481"/>
                <a:gd name="T88" fmla="*/ 414 w 459"/>
                <a:gd name="T89" fmla="*/ 213 h 481"/>
                <a:gd name="T90" fmla="*/ 426 w 459"/>
                <a:gd name="T91" fmla="*/ 203 h 481"/>
                <a:gd name="T92" fmla="*/ 456 w 459"/>
                <a:gd name="T93" fmla="*/ 164 h 481"/>
                <a:gd name="T94" fmla="*/ 452 w 459"/>
                <a:gd name="T95" fmla="*/ 126 h 481"/>
                <a:gd name="T96" fmla="*/ 408 w 459"/>
                <a:gd name="T97" fmla="*/ 102 h 481"/>
                <a:gd name="T98" fmla="*/ 377 w 459"/>
                <a:gd name="T99" fmla="*/ 95 h 481"/>
                <a:gd name="T100" fmla="*/ 357 w 459"/>
                <a:gd name="T101" fmla="*/ 89 h 481"/>
                <a:gd name="T102" fmla="*/ 347 w 459"/>
                <a:gd name="T103" fmla="*/ 95 h 481"/>
                <a:gd name="T104" fmla="*/ 346 w 459"/>
                <a:gd name="T105" fmla="*/ 87 h 481"/>
                <a:gd name="T106" fmla="*/ 327 w 459"/>
                <a:gd name="T107" fmla="*/ 77 h 481"/>
                <a:gd name="T108" fmla="*/ 309 w 459"/>
                <a:gd name="T109" fmla="*/ 72 h 481"/>
                <a:gd name="T110" fmla="*/ 287 w 459"/>
                <a:gd name="T111" fmla="*/ 89 h 481"/>
                <a:gd name="T112" fmla="*/ 284 w 459"/>
                <a:gd name="T113" fmla="*/ 91 h 481"/>
                <a:gd name="T114" fmla="*/ 282 w 459"/>
                <a:gd name="T115" fmla="*/ 84 h 481"/>
                <a:gd name="T116" fmla="*/ 298 w 459"/>
                <a:gd name="T117" fmla="*/ 68 h 481"/>
                <a:gd name="T118" fmla="*/ 272 w 459"/>
                <a:gd name="T119" fmla="*/ 72 h 481"/>
                <a:gd name="T120" fmla="*/ 263 w 459"/>
                <a:gd name="T121" fmla="*/ 72 h 481"/>
                <a:gd name="T122" fmla="*/ 271 w 459"/>
                <a:gd name="T123" fmla="*/ 59 h 481"/>
                <a:gd name="T124" fmla="*/ 274 w 459"/>
                <a:gd name="T125" fmla="*/ 4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9" h="481">
                  <a:moveTo>
                    <a:pt x="265" y="16"/>
                  </a:moveTo>
                  <a:lnTo>
                    <a:pt x="264" y="16"/>
                  </a:lnTo>
                  <a:lnTo>
                    <a:pt x="264" y="13"/>
                  </a:lnTo>
                  <a:lnTo>
                    <a:pt x="263" y="10"/>
                  </a:lnTo>
                  <a:lnTo>
                    <a:pt x="263" y="10"/>
                  </a:lnTo>
                  <a:lnTo>
                    <a:pt x="263" y="12"/>
                  </a:lnTo>
                  <a:lnTo>
                    <a:pt x="261" y="15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9" y="16"/>
                  </a:lnTo>
                  <a:lnTo>
                    <a:pt x="257" y="17"/>
                  </a:lnTo>
                  <a:lnTo>
                    <a:pt x="255" y="21"/>
                  </a:lnTo>
                  <a:lnTo>
                    <a:pt x="252" y="24"/>
                  </a:lnTo>
                  <a:lnTo>
                    <a:pt x="252" y="27"/>
                  </a:lnTo>
                  <a:lnTo>
                    <a:pt x="249" y="32"/>
                  </a:lnTo>
                  <a:lnTo>
                    <a:pt x="248" y="35"/>
                  </a:lnTo>
                  <a:lnTo>
                    <a:pt x="246" y="38"/>
                  </a:lnTo>
                  <a:lnTo>
                    <a:pt x="244" y="38"/>
                  </a:lnTo>
                  <a:lnTo>
                    <a:pt x="242" y="39"/>
                  </a:lnTo>
                  <a:lnTo>
                    <a:pt x="242" y="40"/>
                  </a:lnTo>
                  <a:lnTo>
                    <a:pt x="241" y="42"/>
                  </a:lnTo>
                  <a:lnTo>
                    <a:pt x="240" y="42"/>
                  </a:lnTo>
                  <a:lnTo>
                    <a:pt x="238" y="39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37" y="38"/>
                  </a:lnTo>
                  <a:lnTo>
                    <a:pt x="234" y="38"/>
                  </a:lnTo>
                  <a:lnTo>
                    <a:pt x="234" y="39"/>
                  </a:lnTo>
                  <a:lnTo>
                    <a:pt x="231" y="39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29" y="35"/>
                  </a:lnTo>
                  <a:lnTo>
                    <a:pt x="229" y="34"/>
                  </a:lnTo>
                  <a:lnTo>
                    <a:pt x="229" y="32"/>
                  </a:lnTo>
                  <a:lnTo>
                    <a:pt x="226" y="32"/>
                  </a:lnTo>
                  <a:lnTo>
                    <a:pt x="225" y="29"/>
                  </a:lnTo>
                  <a:lnTo>
                    <a:pt x="221" y="29"/>
                  </a:lnTo>
                  <a:lnTo>
                    <a:pt x="219" y="31"/>
                  </a:lnTo>
                  <a:lnTo>
                    <a:pt x="214" y="31"/>
                  </a:lnTo>
                  <a:lnTo>
                    <a:pt x="211" y="31"/>
                  </a:lnTo>
                  <a:lnTo>
                    <a:pt x="210" y="32"/>
                  </a:lnTo>
                  <a:lnTo>
                    <a:pt x="208" y="34"/>
                  </a:lnTo>
                  <a:lnTo>
                    <a:pt x="211" y="36"/>
                  </a:lnTo>
                  <a:lnTo>
                    <a:pt x="211" y="38"/>
                  </a:lnTo>
                  <a:lnTo>
                    <a:pt x="212" y="40"/>
                  </a:lnTo>
                  <a:lnTo>
                    <a:pt x="212" y="40"/>
                  </a:lnTo>
                  <a:lnTo>
                    <a:pt x="210" y="40"/>
                  </a:lnTo>
                  <a:lnTo>
                    <a:pt x="207" y="40"/>
                  </a:lnTo>
                  <a:lnTo>
                    <a:pt x="207" y="39"/>
                  </a:lnTo>
                  <a:lnTo>
                    <a:pt x="206" y="39"/>
                  </a:lnTo>
                  <a:lnTo>
                    <a:pt x="206" y="39"/>
                  </a:lnTo>
                  <a:lnTo>
                    <a:pt x="206" y="39"/>
                  </a:lnTo>
                  <a:lnTo>
                    <a:pt x="202" y="39"/>
                  </a:lnTo>
                  <a:lnTo>
                    <a:pt x="200" y="40"/>
                  </a:lnTo>
                  <a:lnTo>
                    <a:pt x="199" y="39"/>
                  </a:lnTo>
                  <a:lnTo>
                    <a:pt x="195" y="39"/>
                  </a:lnTo>
                  <a:lnTo>
                    <a:pt x="192" y="40"/>
                  </a:lnTo>
                  <a:lnTo>
                    <a:pt x="191" y="43"/>
                  </a:lnTo>
                  <a:lnTo>
                    <a:pt x="187" y="43"/>
                  </a:lnTo>
                  <a:lnTo>
                    <a:pt x="184" y="44"/>
                  </a:lnTo>
                  <a:lnTo>
                    <a:pt x="184" y="46"/>
                  </a:lnTo>
                  <a:lnTo>
                    <a:pt x="182" y="47"/>
                  </a:lnTo>
                  <a:lnTo>
                    <a:pt x="180" y="47"/>
                  </a:lnTo>
                  <a:lnTo>
                    <a:pt x="178" y="47"/>
                  </a:lnTo>
                  <a:lnTo>
                    <a:pt x="177" y="47"/>
                  </a:lnTo>
                  <a:lnTo>
                    <a:pt x="176" y="49"/>
                  </a:lnTo>
                  <a:lnTo>
                    <a:pt x="174" y="49"/>
                  </a:lnTo>
                  <a:lnTo>
                    <a:pt x="169" y="44"/>
                  </a:lnTo>
                  <a:lnTo>
                    <a:pt x="168" y="42"/>
                  </a:lnTo>
                  <a:lnTo>
                    <a:pt x="168" y="40"/>
                  </a:lnTo>
                  <a:lnTo>
                    <a:pt x="165" y="38"/>
                  </a:lnTo>
                  <a:lnTo>
                    <a:pt x="163" y="36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3" y="31"/>
                  </a:lnTo>
                  <a:lnTo>
                    <a:pt x="163" y="28"/>
                  </a:lnTo>
                  <a:lnTo>
                    <a:pt x="163" y="27"/>
                  </a:lnTo>
                  <a:lnTo>
                    <a:pt x="163" y="24"/>
                  </a:lnTo>
                  <a:lnTo>
                    <a:pt x="166" y="20"/>
                  </a:lnTo>
                  <a:lnTo>
                    <a:pt x="166" y="17"/>
                  </a:lnTo>
                  <a:lnTo>
                    <a:pt x="169" y="15"/>
                  </a:lnTo>
                  <a:lnTo>
                    <a:pt x="169" y="13"/>
                  </a:lnTo>
                  <a:lnTo>
                    <a:pt x="166" y="13"/>
                  </a:lnTo>
                  <a:lnTo>
                    <a:pt x="166" y="12"/>
                  </a:lnTo>
                  <a:lnTo>
                    <a:pt x="165" y="10"/>
                  </a:lnTo>
                  <a:lnTo>
                    <a:pt x="162" y="10"/>
                  </a:lnTo>
                  <a:lnTo>
                    <a:pt x="161" y="9"/>
                  </a:lnTo>
                  <a:lnTo>
                    <a:pt x="161" y="8"/>
                  </a:lnTo>
                  <a:lnTo>
                    <a:pt x="163" y="5"/>
                  </a:lnTo>
                  <a:lnTo>
                    <a:pt x="163" y="2"/>
                  </a:lnTo>
                  <a:lnTo>
                    <a:pt x="161" y="0"/>
                  </a:lnTo>
                  <a:lnTo>
                    <a:pt x="158" y="0"/>
                  </a:lnTo>
                  <a:lnTo>
                    <a:pt x="157" y="1"/>
                  </a:lnTo>
                  <a:lnTo>
                    <a:pt x="157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4" y="5"/>
                  </a:lnTo>
                  <a:lnTo>
                    <a:pt x="149" y="9"/>
                  </a:lnTo>
                  <a:lnTo>
                    <a:pt x="144" y="9"/>
                  </a:lnTo>
                  <a:lnTo>
                    <a:pt x="139" y="12"/>
                  </a:lnTo>
                  <a:lnTo>
                    <a:pt x="138" y="10"/>
                  </a:lnTo>
                  <a:lnTo>
                    <a:pt x="134" y="10"/>
                  </a:lnTo>
                  <a:lnTo>
                    <a:pt x="129" y="15"/>
                  </a:lnTo>
                  <a:lnTo>
                    <a:pt x="127" y="16"/>
                  </a:lnTo>
                  <a:lnTo>
                    <a:pt x="125" y="15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2" y="13"/>
                  </a:lnTo>
                  <a:lnTo>
                    <a:pt x="108" y="13"/>
                  </a:lnTo>
                  <a:lnTo>
                    <a:pt x="105" y="12"/>
                  </a:lnTo>
                  <a:lnTo>
                    <a:pt x="106" y="15"/>
                  </a:lnTo>
                  <a:lnTo>
                    <a:pt x="109" y="16"/>
                  </a:lnTo>
                  <a:lnTo>
                    <a:pt x="112" y="19"/>
                  </a:lnTo>
                  <a:lnTo>
                    <a:pt x="112" y="20"/>
                  </a:lnTo>
                  <a:lnTo>
                    <a:pt x="109" y="25"/>
                  </a:lnTo>
                  <a:lnTo>
                    <a:pt x="110" y="28"/>
                  </a:lnTo>
                  <a:lnTo>
                    <a:pt x="109" y="32"/>
                  </a:lnTo>
                  <a:lnTo>
                    <a:pt x="115" y="34"/>
                  </a:lnTo>
                  <a:lnTo>
                    <a:pt x="119" y="34"/>
                  </a:lnTo>
                  <a:lnTo>
                    <a:pt x="123" y="34"/>
                  </a:lnTo>
                  <a:lnTo>
                    <a:pt x="123" y="36"/>
                  </a:lnTo>
                  <a:lnTo>
                    <a:pt x="120" y="38"/>
                  </a:lnTo>
                  <a:lnTo>
                    <a:pt x="115" y="39"/>
                  </a:lnTo>
                  <a:lnTo>
                    <a:pt x="112" y="40"/>
                  </a:lnTo>
                  <a:lnTo>
                    <a:pt x="112" y="43"/>
                  </a:lnTo>
                  <a:lnTo>
                    <a:pt x="105" y="47"/>
                  </a:lnTo>
                  <a:lnTo>
                    <a:pt x="104" y="49"/>
                  </a:lnTo>
                  <a:lnTo>
                    <a:pt x="100" y="51"/>
                  </a:lnTo>
                  <a:lnTo>
                    <a:pt x="97" y="55"/>
                  </a:lnTo>
                  <a:lnTo>
                    <a:pt x="91" y="55"/>
                  </a:lnTo>
                  <a:lnTo>
                    <a:pt x="89" y="55"/>
                  </a:lnTo>
                  <a:lnTo>
                    <a:pt x="85" y="51"/>
                  </a:lnTo>
                  <a:lnTo>
                    <a:pt x="81" y="49"/>
                  </a:lnTo>
                  <a:lnTo>
                    <a:pt x="76" y="49"/>
                  </a:lnTo>
                  <a:lnTo>
                    <a:pt x="76" y="46"/>
                  </a:lnTo>
                  <a:lnTo>
                    <a:pt x="76" y="43"/>
                  </a:lnTo>
                  <a:lnTo>
                    <a:pt x="75" y="40"/>
                  </a:lnTo>
                  <a:lnTo>
                    <a:pt x="74" y="39"/>
                  </a:lnTo>
                  <a:lnTo>
                    <a:pt x="71" y="39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6" y="40"/>
                  </a:lnTo>
                  <a:lnTo>
                    <a:pt x="63" y="40"/>
                  </a:lnTo>
                  <a:lnTo>
                    <a:pt x="61" y="43"/>
                  </a:lnTo>
                  <a:lnTo>
                    <a:pt x="49" y="43"/>
                  </a:lnTo>
                  <a:lnTo>
                    <a:pt x="48" y="46"/>
                  </a:lnTo>
                  <a:lnTo>
                    <a:pt x="49" y="50"/>
                  </a:lnTo>
                  <a:lnTo>
                    <a:pt x="53" y="50"/>
                  </a:lnTo>
                  <a:lnTo>
                    <a:pt x="55" y="54"/>
                  </a:lnTo>
                  <a:lnTo>
                    <a:pt x="53" y="55"/>
                  </a:lnTo>
                  <a:lnTo>
                    <a:pt x="55" y="57"/>
                  </a:lnTo>
                  <a:lnTo>
                    <a:pt x="55" y="58"/>
                  </a:lnTo>
                  <a:lnTo>
                    <a:pt x="52" y="57"/>
                  </a:lnTo>
                  <a:lnTo>
                    <a:pt x="44" y="59"/>
                  </a:lnTo>
                  <a:lnTo>
                    <a:pt x="44" y="66"/>
                  </a:lnTo>
                  <a:lnTo>
                    <a:pt x="47" y="69"/>
                  </a:lnTo>
                  <a:lnTo>
                    <a:pt x="51" y="72"/>
                  </a:lnTo>
                  <a:lnTo>
                    <a:pt x="53" y="77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47" y="107"/>
                  </a:lnTo>
                  <a:lnTo>
                    <a:pt x="45" y="114"/>
                  </a:lnTo>
                  <a:lnTo>
                    <a:pt x="45" y="115"/>
                  </a:lnTo>
                  <a:lnTo>
                    <a:pt x="44" y="116"/>
                  </a:lnTo>
                  <a:lnTo>
                    <a:pt x="41" y="115"/>
                  </a:lnTo>
                  <a:lnTo>
                    <a:pt x="42" y="115"/>
                  </a:lnTo>
                  <a:lnTo>
                    <a:pt x="40" y="112"/>
                  </a:lnTo>
                  <a:lnTo>
                    <a:pt x="38" y="114"/>
                  </a:lnTo>
                  <a:lnTo>
                    <a:pt x="36" y="114"/>
                  </a:lnTo>
                  <a:lnTo>
                    <a:pt x="36" y="112"/>
                  </a:lnTo>
                  <a:lnTo>
                    <a:pt x="34" y="115"/>
                  </a:lnTo>
                  <a:lnTo>
                    <a:pt x="26" y="118"/>
                  </a:lnTo>
                  <a:lnTo>
                    <a:pt x="21" y="119"/>
                  </a:lnTo>
                  <a:lnTo>
                    <a:pt x="19" y="121"/>
                  </a:lnTo>
                  <a:lnTo>
                    <a:pt x="18" y="121"/>
                  </a:lnTo>
                  <a:lnTo>
                    <a:pt x="15" y="123"/>
                  </a:lnTo>
                  <a:lnTo>
                    <a:pt x="13" y="125"/>
                  </a:lnTo>
                  <a:lnTo>
                    <a:pt x="10" y="126"/>
                  </a:lnTo>
                  <a:lnTo>
                    <a:pt x="10" y="129"/>
                  </a:lnTo>
                  <a:lnTo>
                    <a:pt x="10" y="130"/>
                  </a:lnTo>
                  <a:lnTo>
                    <a:pt x="10" y="133"/>
                  </a:lnTo>
                  <a:lnTo>
                    <a:pt x="7" y="136"/>
                  </a:lnTo>
                  <a:lnTo>
                    <a:pt x="7" y="140"/>
                  </a:lnTo>
                  <a:lnTo>
                    <a:pt x="8" y="141"/>
                  </a:lnTo>
                  <a:lnTo>
                    <a:pt x="7" y="144"/>
                  </a:lnTo>
                  <a:lnTo>
                    <a:pt x="4" y="144"/>
                  </a:lnTo>
                  <a:lnTo>
                    <a:pt x="2" y="145"/>
                  </a:lnTo>
                  <a:lnTo>
                    <a:pt x="2" y="148"/>
                  </a:lnTo>
                  <a:lnTo>
                    <a:pt x="0" y="149"/>
                  </a:lnTo>
                  <a:lnTo>
                    <a:pt x="2" y="150"/>
                  </a:lnTo>
                  <a:lnTo>
                    <a:pt x="0" y="153"/>
                  </a:lnTo>
                  <a:lnTo>
                    <a:pt x="0" y="156"/>
                  </a:lnTo>
                  <a:lnTo>
                    <a:pt x="0" y="157"/>
                  </a:lnTo>
                  <a:lnTo>
                    <a:pt x="0" y="159"/>
                  </a:lnTo>
                  <a:lnTo>
                    <a:pt x="3" y="163"/>
                  </a:lnTo>
                  <a:lnTo>
                    <a:pt x="8" y="171"/>
                  </a:lnTo>
                  <a:lnTo>
                    <a:pt x="6" y="175"/>
                  </a:lnTo>
                  <a:lnTo>
                    <a:pt x="14" y="175"/>
                  </a:lnTo>
                  <a:lnTo>
                    <a:pt x="17" y="175"/>
                  </a:lnTo>
                  <a:lnTo>
                    <a:pt x="19" y="179"/>
                  </a:lnTo>
                  <a:lnTo>
                    <a:pt x="21" y="182"/>
                  </a:lnTo>
                  <a:lnTo>
                    <a:pt x="25" y="182"/>
                  </a:lnTo>
                  <a:lnTo>
                    <a:pt x="32" y="183"/>
                  </a:lnTo>
                  <a:lnTo>
                    <a:pt x="36" y="178"/>
                  </a:lnTo>
                  <a:lnTo>
                    <a:pt x="40" y="176"/>
                  </a:lnTo>
                  <a:lnTo>
                    <a:pt x="41" y="178"/>
                  </a:lnTo>
                  <a:lnTo>
                    <a:pt x="41" y="179"/>
                  </a:lnTo>
                  <a:lnTo>
                    <a:pt x="40" y="180"/>
                  </a:lnTo>
                  <a:lnTo>
                    <a:pt x="40" y="184"/>
                  </a:lnTo>
                  <a:lnTo>
                    <a:pt x="41" y="191"/>
                  </a:lnTo>
                  <a:lnTo>
                    <a:pt x="41" y="194"/>
                  </a:lnTo>
                  <a:lnTo>
                    <a:pt x="42" y="195"/>
                  </a:lnTo>
                  <a:lnTo>
                    <a:pt x="44" y="195"/>
                  </a:lnTo>
                  <a:lnTo>
                    <a:pt x="47" y="195"/>
                  </a:lnTo>
                  <a:lnTo>
                    <a:pt x="49" y="194"/>
                  </a:lnTo>
                  <a:lnTo>
                    <a:pt x="51" y="194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9" y="195"/>
                  </a:lnTo>
                  <a:lnTo>
                    <a:pt x="63" y="195"/>
                  </a:lnTo>
                  <a:lnTo>
                    <a:pt x="66" y="194"/>
                  </a:lnTo>
                  <a:lnTo>
                    <a:pt x="68" y="194"/>
                  </a:lnTo>
                  <a:lnTo>
                    <a:pt x="71" y="191"/>
                  </a:lnTo>
                  <a:lnTo>
                    <a:pt x="74" y="191"/>
                  </a:lnTo>
                  <a:lnTo>
                    <a:pt x="76" y="190"/>
                  </a:lnTo>
                  <a:lnTo>
                    <a:pt x="79" y="184"/>
                  </a:lnTo>
                  <a:lnTo>
                    <a:pt x="85" y="182"/>
                  </a:lnTo>
                  <a:lnTo>
                    <a:pt x="89" y="180"/>
                  </a:lnTo>
                  <a:lnTo>
                    <a:pt x="91" y="179"/>
                  </a:lnTo>
                  <a:lnTo>
                    <a:pt x="94" y="179"/>
                  </a:lnTo>
                  <a:lnTo>
                    <a:pt x="97" y="180"/>
                  </a:lnTo>
                  <a:lnTo>
                    <a:pt x="100" y="179"/>
                  </a:lnTo>
                  <a:lnTo>
                    <a:pt x="101" y="180"/>
                  </a:lnTo>
                  <a:lnTo>
                    <a:pt x="101" y="183"/>
                  </a:lnTo>
                  <a:lnTo>
                    <a:pt x="102" y="187"/>
                  </a:lnTo>
                  <a:lnTo>
                    <a:pt x="100" y="190"/>
                  </a:lnTo>
                  <a:lnTo>
                    <a:pt x="102" y="195"/>
                  </a:lnTo>
                  <a:lnTo>
                    <a:pt x="101" y="198"/>
                  </a:lnTo>
                  <a:lnTo>
                    <a:pt x="102" y="202"/>
                  </a:lnTo>
                  <a:lnTo>
                    <a:pt x="105" y="203"/>
                  </a:lnTo>
                  <a:lnTo>
                    <a:pt x="106" y="208"/>
                  </a:lnTo>
                  <a:lnTo>
                    <a:pt x="109" y="209"/>
                  </a:lnTo>
                  <a:lnTo>
                    <a:pt x="113" y="212"/>
                  </a:lnTo>
                  <a:lnTo>
                    <a:pt x="115" y="213"/>
                  </a:lnTo>
                  <a:lnTo>
                    <a:pt x="116" y="213"/>
                  </a:lnTo>
                  <a:lnTo>
                    <a:pt x="121" y="212"/>
                  </a:lnTo>
                  <a:lnTo>
                    <a:pt x="125" y="216"/>
                  </a:lnTo>
                  <a:lnTo>
                    <a:pt x="128" y="214"/>
                  </a:lnTo>
                  <a:lnTo>
                    <a:pt x="132" y="218"/>
                  </a:lnTo>
                  <a:lnTo>
                    <a:pt x="135" y="218"/>
                  </a:lnTo>
                  <a:lnTo>
                    <a:pt x="139" y="220"/>
                  </a:lnTo>
                  <a:lnTo>
                    <a:pt x="143" y="221"/>
                  </a:lnTo>
                  <a:lnTo>
                    <a:pt x="143" y="225"/>
                  </a:lnTo>
                  <a:lnTo>
                    <a:pt x="146" y="225"/>
                  </a:lnTo>
                  <a:lnTo>
                    <a:pt x="149" y="228"/>
                  </a:lnTo>
                  <a:lnTo>
                    <a:pt x="155" y="227"/>
                  </a:lnTo>
                  <a:lnTo>
                    <a:pt x="161" y="229"/>
                  </a:lnTo>
                  <a:lnTo>
                    <a:pt x="161" y="232"/>
                  </a:lnTo>
                  <a:lnTo>
                    <a:pt x="161" y="237"/>
                  </a:lnTo>
                  <a:lnTo>
                    <a:pt x="162" y="242"/>
                  </a:lnTo>
                  <a:lnTo>
                    <a:pt x="161" y="244"/>
                  </a:lnTo>
                  <a:lnTo>
                    <a:pt x="165" y="251"/>
                  </a:lnTo>
                  <a:lnTo>
                    <a:pt x="165" y="257"/>
                  </a:lnTo>
                  <a:lnTo>
                    <a:pt x="185" y="257"/>
                  </a:lnTo>
                  <a:lnTo>
                    <a:pt x="185" y="265"/>
                  </a:lnTo>
                  <a:lnTo>
                    <a:pt x="185" y="269"/>
                  </a:lnTo>
                  <a:lnTo>
                    <a:pt x="192" y="270"/>
                  </a:lnTo>
                  <a:lnTo>
                    <a:pt x="197" y="281"/>
                  </a:lnTo>
                  <a:lnTo>
                    <a:pt x="197" y="288"/>
                  </a:lnTo>
                  <a:lnTo>
                    <a:pt x="192" y="299"/>
                  </a:lnTo>
                  <a:lnTo>
                    <a:pt x="192" y="300"/>
                  </a:lnTo>
                  <a:lnTo>
                    <a:pt x="191" y="303"/>
                  </a:lnTo>
                  <a:lnTo>
                    <a:pt x="192" y="304"/>
                  </a:lnTo>
                  <a:lnTo>
                    <a:pt x="192" y="307"/>
                  </a:lnTo>
                  <a:lnTo>
                    <a:pt x="195" y="308"/>
                  </a:lnTo>
                  <a:lnTo>
                    <a:pt x="195" y="312"/>
                  </a:lnTo>
                  <a:lnTo>
                    <a:pt x="196" y="315"/>
                  </a:lnTo>
                  <a:lnTo>
                    <a:pt x="196" y="323"/>
                  </a:lnTo>
                  <a:lnTo>
                    <a:pt x="196" y="326"/>
                  </a:lnTo>
                  <a:lnTo>
                    <a:pt x="196" y="329"/>
                  </a:lnTo>
                  <a:lnTo>
                    <a:pt x="196" y="331"/>
                  </a:lnTo>
                  <a:lnTo>
                    <a:pt x="200" y="330"/>
                  </a:lnTo>
                  <a:lnTo>
                    <a:pt x="203" y="331"/>
                  </a:lnTo>
                  <a:lnTo>
                    <a:pt x="208" y="331"/>
                  </a:lnTo>
                  <a:lnTo>
                    <a:pt x="211" y="333"/>
                  </a:lnTo>
                  <a:lnTo>
                    <a:pt x="216" y="330"/>
                  </a:lnTo>
                  <a:lnTo>
                    <a:pt x="219" y="331"/>
                  </a:lnTo>
                  <a:lnTo>
                    <a:pt x="222" y="333"/>
                  </a:lnTo>
                  <a:lnTo>
                    <a:pt x="223" y="335"/>
                  </a:lnTo>
                  <a:lnTo>
                    <a:pt x="226" y="348"/>
                  </a:lnTo>
                  <a:lnTo>
                    <a:pt x="227" y="353"/>
                  </a:lnTo>
                  <a:lnTo>
                    <a:pt x="230" y="353"/>
                  </a:lnTo>
                  <a:lnTo>
                    <a:pt x="234" y="350"/>
                  </a:lnTo>
                  <a:lnTo>
                    <a:pt x="237" y="352"/>
                  </a:lnTo>
                  <a:lnTo>
                    <a:pt x="238" y="353"/>
                  </a:lnTo>
                  <a:lnTo>
                    <a:pt x="241" y="353"/>
                  </a:lnTo>
                  <a:lnTo>
                    <a:pt x="240" y="356"/>
                  </a:lnTo>
                  <a:lnTo>
                    <a:pt x="240" y="367"/>
                  </a:lnTo>
                  <a:lnTo>
                    <a:pt x="238" y="368"/>
                  </a:lnTo>
                  <a:lnTo>
                    <a:pt x="238" y="368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72"/>
                  </a:lnTo>
                  <a:lnTo>
                    <a:pt x="240" y="371"/>
                  </a:lnTo>
                  <a:lnTo>
                    <a:pt x="245" y="372"/>
                  </a:lnTo>
                  <a:lnTo>
                    <a:pt x="245" y="373"/>
                  </a:lnTo>
                  <a:lnTo>
                    <a:pt x="248" y="379"/>
                  </a:lnTo>
                  <a:lnTo>
                    <a:pt x="248" y="383"/>
                  </a:lnTo>
                  <a:lnTo>
                    <a:pt x="248" y="387"/>
                  </a:lnTo>
                  <a:lnTo>
                    <a:pt x="248" y="391"/>
                  </a:lnTo>
                  <a:lnTo>
                    <a:pt x="248" y="394"/>
                  </a:lnTo>
                  <a:lnTo>
                    <a:pt x="245" y="394"/>
                  </a:lnTo>
                  <a:lnTo>
                    <a:pt x="242" y="395"/>
                  </a:lnTo>
                  <a:lnTo>
                    <a:pt x="242" y="395"/>
                  </a:lnTo>
                  <a:lnTo>
                    <a:pt x="241" y="397"/>
                  </a:lnTo>
                  <a:lnTo>
                    <a:pt x="240" y="397"/>
                  </a:lnTo>
                  <a:lnTo>
                    <a:pt x="234" y="399"/>
                  </a:lnTo>
                  <a:lnTo>
                    <a:pt x="234" y="402"/>
                  </a:lnTo>
                  <a:lnTo>
                    <a:pt x="231" y="402"/>
                  </a:lnTo>
                  <a:lnTo>
                    <a:pt x="227" y="406"/>
                  </a:lnTo>
                  <a:lnTo>
                    <a:pt x="226" y="406"/>
                  </a:lnTo>
                  <a:lnTo>
                    <a:pt x="226" y="409"/>
                  </a:lnTo>
                  <a:lnTo>
                    <a:pt x="225" y="409"/>
                  </a:lnTo>
                  <a:lnTo>
                    <a:pt x="223" y="409"/>
                  </a:lnTo>
                  <a:lnTo>
                    <a:pt x="219" y="414"/>
                  </a:lnTo>
                  <a:lnTo>
                    <a:pt x="219" y="416"/>
                  </a:lnTo>
                  <a:lnTo>
                    <a:pt x="219" y="418"/>
                  </a:lnTo>
                  <a:lnTo>
                    <a:pt x="216" y="418"/>
                  </a:lnTo>
                  <a:lnTo>
                    <a:pt x="216" y="420"/>
                  </a:lnTo>
                  <a:lnTo>
                    <a:pt x="214" y="424"/>
                  </a:lnTo>
                  <a:lnTo>
                    <a:pt x="212" y="426"/>
                  </a:lnTo>
                  <a:lnTo>
                    <a:pt x="210" y="429"/>
                  </a:lnTo>
                  <a:lnTo>
                    <a:pt x="210" y="431"/>
                  </a:lnTo>
                  <a:lnTo>
                    <a:pt x="208" y="432"/>
                  </a:lnTo>
                  <a:lnTo>
                    <a:pt x="207" y="433"/>
                  </a:lnTo>
                  <a:lnTo>
                    <a:pt x="210" y="433"/>
                  </a:lnTo>
                  <a:lnTo>
                    <a:pt x="211" y="433"/>
                  </a:lnTo>
                  <a:lnTo>
                    <a:pt x="216" y="432"/>
                  </a:lnTo>
                  <a:lnTo>
                    <a:pt x="219" y="433"/>
                  </a:lnTo>
                  <a:lnTo>
                    <a:pt x="222" y="437"/>
                  </a:lnTo>
                  <a:lnTo>
                    <a:pt x="225" y="439"/>
                  </a:lnTo>
                  <a:lnTo>
                    <a:pt x="226" y="441"/>
                  </a:lnTo>
                  <a:lnTo>
                    <a:pt x="229" y="445"/>
                  </a:lnTo>
                  <a:lnTo>
                    <a:pt x="230" y="445"/>
                  </a:lnTo>
                  <a:lnTo>
                    <a:pt x="231" y="444"/>
                  </a:lnTo>
                  <a:lnTo>
                    <a:pt x="233" y="444"/>
                  </a:lnTo>
                  <a:lnTo>
                    <a:pt x="236" y="448"/>
                  </a:lnTo>
                  <a:lnTo>
                    <a:pt x="238" y="450"/>
                  </a:lnTo>
                  <a:lnTo>
                    <a:pt x="242" y="450"/>
                  </a:lnTo>
                  <a:lnTo>
                    <a:pt x="245" y="452"/>
                  </a:lnTo>
                  <a:lnTo>
                    <a:pt x="245" y="456"/>
                  </a:lnTo>
                  <a:lnTo>
                    <a:pt x="246" y="455"/>
                  </a:lnTo>
                  <a:lnTo>
                    <a:pt x="252" y="458"/>
                  </a:lnTo>
                  <a:lnTo>
                    <a:pt x="255" y="460"/>
                  </a:lnTo>
                  <a:lnTo>
                    <a:pt x="257" y="466"/>
                  </a:lnTo>
                  <a:lnTo>
                    <a:pt x="260" y="467"/>
                  </a:lnTo>
                  <a:lnTo>
                    <a:pt x="259" y="470"/>
                  </a:lnTo>
                  <a:lnTo>
                    <a:pt x="257" y="474"/>
                  </a:lnTo>
                  <a:lnTo>
                    <a:pt x="259" y="477"/>
                  </a:lnTo>
                  <a:lnTo>
                    <a:pt x="259" y="478"/>
                  </a:lnTo>
                  <a:lnTo>
                    <a:pt x="259" y="478"/>
                  </a:lnTo>
                  <a:lnTo>
                    <a:pt x="260" y="481"/>
                  </a:lnTo>
                  <a:lnTo>
                    <a:pt x="261" y="481"/>
                  </a:lnTo>
                  <a:lnTo>
                    <a:pt x="265" y="477"/>
                  </a:lnTo>
                  <a:lnTo>
                    <a:pt x="267" y="474"/>
                  </a:lnTo>
                  <a:lnTo>
                    <a:pt x="268" y="466"/>
                  </a:lnTo>
                  <a:lnTo>
                    <a:pt x="271" y="460"/>
                  </a:lnTo>
                  <a:lnTo>
                    <a:pt x="271" y="459"/>
                  </a:lnTo>
                  <a:lnTo>
                    <a:pt x="270" y="458"/>
                  </a:lnTo>
                  <a:lnTo>
                    <a:pt x="268" y="455"/>
                  </a:lnTo>
                  <a:lnTo>
                    <a:pt x="270" y="452"/>
                  </a:lnTo>
                  <a:lnTo>
                    <a:pt x="271" y="451"/>
                  </a:lnTo>
                  <a:lnTo>
                    <a:pt x="271" y="450"/>
                  </a:lnTo>
                  <a:lnTo>
                    <a:pt x="274" y="448"/>
                  </a:lnTo>
                  <a:lnTo>
                    <a:pt x="274" y="445"/>
                  </a:lnTo>
                  <a:lnTo>
                    <a:pt x="274" y="447"/>
                  </a:lnTo>
                  <a:lnTo>
                    <a:pt x="276" y="447"/>
                  </a:lnTo>
                  <a:lnTo>
                    <a:pt x="278" y="445"/>
                  </a:lnTo>
                  <a:lnTo>
                    <a:pt x="278" y="443"/>
                  </a:lnTo>
                  <a:lnTo>
                    <a:pt x="279" y="441"/>
                  </a:lnTo>
                  <a:lnTo>
                    <a:pt x="279" y="439"/>
                  </a:lnTo>
                  <a:lnTo>
                    <a:pt x="280" y="439"/>
                  </a:lnTo>
                  <a:lnTo>
                    <a:pt x="280" y="439"/>
                  </a:lnTo>
                  <a:lnTo>
                    <a:pt x="282" y="436"/>
                  </a:lnTo>
                  <a:lnTo>
                    <a:pt x="282" y="435"/>
                  </a:lnTo>
                  <a:lnTo>
                    <a:pt x="280" y="433"/>
                  </a:lnTo>
                  <a:lnTo>
                    <a:pt x="280" y="429"/>
                  </a:lnTo>
                  <a:lnTo>
                    <a:pt x="279" y="428"/>
                  </a:lnTo>
                  <a:lnTo>
                    <a:pt x="280" y="429"/>
                  </a:lnTo>
                  <a:lnTo>
                    <a:pt x="282" y="432"/>
                  </a:lnTo>
                  <a:lnTo>
                    <a:pt x="284" y="435"/>
                  </a:lnTo>
                  <a:lnTo>
                    <a:pt x="286" y="435"/>
                  </a:lnTo>
                  <a:lnTo>
                    <a:pt x="287" y="433"/>
                  </a:lnTo>
                  <a:lnTo>
                    <a:pt x="287" y="435"/>
                  </a:lnTo>
                  <a:lnTo>
                    <a:pt x="287" y="436"/>
                  </a:lnTo>
                  <a:lnTo>
                    <a:pt x="287" y="437"/>
                  </a:lnTo>
                  <a:lnTo>
                    <a:pt x="286" y="441"/>
                  </a:lnTo>
                  <a:lnTo>
                    <a:pt x="283" y="445"/>
                  </a:lnTo>
                  <a:lnTo>
                    <a:pt x="280" y="445"/>
                  </a:lnTo>
                  <a:lnTo>
                    <a:pt x="280" y="448"/>
                  </a:lnTo>
                  <a:lnTo>
                    <a:pt x="279" y="450"/>
                  </a:lnTo>
                  <a:lnTo>
                    <a:pt x="279" y="450"/>
                  </a:lnTo>
                  <a:lnTo>
                    <a:pt x="276" y="451"/>
                  </a:lnTo>
                  <a:lnTo>
                    <a:pt x="275" y="452"/>
                  </a:lnTo>
                  <a:lnTo>
                    <a:pt x="274" y="454"/>
                  </a:lnTo>
                  <a:lnTo>
                    <a:pt x="272" y="455"/>
                  </a:lnTo>
                  <a:lnTo>
                    <a:pt x="271" y="455"/>
                  </a:lnTo>
                  <a:lnTo>
                    <a:pt x="271" y="456"/>
                  </a:lnTo>
                  <a:lnTo>
                    <a:pt x="274" y="458"/>
                  </a:lnTo>
                  <a:lnTo>
                    <a:pt x="282" y="451"/>
                  </a:lnTo>
                  <a:lnTo>
                    <a:pt x="284" y="447"/>
                  </a:lnTo>
                  <a:lnTo>
                    <a:pt x="290" y="437"/>
                  </a:lnTo>
                  <a:lnTo>
                    <a:pt x="293" y="433"/>
                  </a:lnTo>
                  <a:lnTo>
                    <a:pt x="294" y="426"/>
                  </a:lnTo>
                  <a:lnTo>
                    <a:pt x="299" y="417"/>
                  </a:lnTo>
                  <a:lnTo>
                    <a:pt x="305" y="410"/>
                  </a:lnTo>
                  <a:lnTo>
                    <a:pt x="306" y="409"/>
                  </a:lnTo>
                  <a:lnTo>
                    <a:pt x="305" y="407"/>
                  </a:lnTo>
                  <a:lnTo>
                    <a:pt x="306" y="406"/>
                  </a:lnTo>
                  <a:lnTo>
                    <a:pt x="306" y="406"/>
                  </a:lnTo>
                  <a:lnTo>
                    <a:pt x="308" y="403"/>
                  </a:lnTo>
                  <a:lnTo>
                    <a:pt x="309" y="402"/>
                  </a:lnTo>
                  <a:lnTo>
                    <a:pt x="309" y="401"/>
                  </a:lnTo>
                  <a:lnTo>
                    <a:pt x="309" y="399"/>
                  </a:lnTo>
                  <a:lnTo>
                    <a:pt x="309" y="398"/>
                  </a:lnTo>
                  <a:lnTo>
                    <a:pt x="308" y="398"/>
                  </a:lnTo>
                  <a:lnTo>
                    <a:pt x="308" y="395"/>
                  </a:lnTo>
                  <a:lnTo>
                    <a:pt x="306" y="392"/>
                  </a:lnTo>
                  <a:lnTo>
                    <a:pt x="306" y="391"/>
                  </a:lnTo>
                  <a:lnTo>
                    <a:pt x="306" y="388"/>
                  </a:lnTo>
                  <a:lnTo>
                    <a:pt x="306" y="387"/>
                  </a:lnTo>
                  <a:lnTo>
                    <a:pt x="305" y="384"/>
                  </a:lnTo>
                  <a:lnTo>
                    <a:pt x="304" y="380"/>
                  </a:lnTo>
                  <a:lnTo>
                    <a:pt x="305" y="380"/>
                  </a:lnTo>
                  <a:lnTo>
                    <a:pt x="308" y="379"/>
                  </a:lnTo>
                  <a:lnTo>
                    <a:pt x="306" y="377"/>
                  </a:lnTo>
                  <a:lnTo>
                    <a:pt x="305" y="376"/>
                  </a:lnTo>
                  <a:lnTo>
                    <a:pt x="308" y="376"/>
                  </a:lnTo>
                  <a:lnTo>
                    <a:pt x="309" y="373"/>
                  </a:lnTo>
                  <a:lnTo>
                    <a:pt x="305" y="372"/>
                  </a:lnTo>
                  <a:lnTo>
                    <a:pt x="308" y="372"/>
                  </a:lnTo>
                  <a:lnTo>
                    <a:pt x="309" y="369"/>
                  </a:lnTo>
                  <a:lnTo>
                    <a:pt x="310" y="371"/>
                  </a:lnTo>
                  <a:lnTo>
                    <a:pt x="314" y="367"/>
                  </a:lnTo>
                  <a:lnTo>
                    <a:pt x="316" y="365"/>
                  </a:lnTo>
                  <a:lnTo>
                    <a:pt x="316" y="364"/>
                  </a:lnTo>
                  <a:lnTo>
                    <a:pt x="320" y="361"/>
                  </a:lnTo>
                  <a:lnTo>
                    <a:pt x="323" y="358"/>
                  </a:lnTo>
                  <a:lnTo>
                    <a:pt x="328" y="353"/>
                  </a:lnTo>
                  <a:lnTo>
                    <a:pt x="332" y="353"/>
                  </a:lnTo>
                  <a:lnTo>
                    <a:pt x="335" y="350"/>
                  </a:lnTo>
                  <a:lnTo>
                    <a:pt x="338" y="349"/>
                  </a:lnTo>
                  <a:lnTo>
                    <a:pt x="339" y="349"/>
                  </a:lnTo>
                  <a:lnTo>
                    <a:pt x="340" y="350"/>
                  </a:lnTo>
                  <a:lnTo>
                    <a:pt x="343" y="350"/>
                  </a:lnTo>
                  <a:lnTo>
                    <a:pt x="343" y="349"/>
                  </a:lnTo>
                  <a:lnTo>
                    <a:pt x="344" y="346"/>
                  </a:lnTo>
                  <a:lnTo>
                    <a:pt x="350" y="342"/>
                  </a:lnTo>
                  <a:lnTo>
                    <a:pt x="351" y="342"/>
                  </a:lnTo>
                  <a:lnTo>
                    <a:pt x="351" y="341"/>
                  </a:lnTo>
                  <a:lnTo>
                    <a:pt x="350" y="341"/>
                  </a:lnTo>
                  <a:lnTo>
                    <a:pt x="348" y="339"/>
                  </a:lnTo>
                  <a:lnTo>
                    <a:pt x="348" y="338"/>
                  </a:lnTo>
                  <a:lnTo>
                    <a:pt x="350" y="338"/>
                  </a:lnTo>
                  <a:lnTo>
                    <a:pt x="352" y="337"/>
                  </a:lnTo>
                  <a:lnTo>
                    <a:pt x="354" y="337"/>
                  </a:lnTo>
                  <a:lnTo>
                    <a:pt x="357" y="337"/>
                  </a:lnTo>
                  <a:lnTo>
                    <a:pt x="358" y="335"/>
                  </a:lnTo>
                  <a:lnTo>
                    <a:pt x="359" y="335"/>
                  </a:lnTo>
                  <a:lnTo>
                    <a:pt x="359" y="337"/>
                  </a:lnTo>
                  <a:lnTo>
                    <a:pt x="357" y="338"/>
                  </a:lnTo>
                  <a:lnTo>
                    <a:pt x="354" y="339"/>
                  </a:lnTo>
                  <a:lnTo>
                    <a:pt x="354" y="339"/>
                  </a:lnTo>
                  <a:lnTo>
                    <a:pt x="354" y="341"/>
                  </a:lnTo>
                  <a:lnTo>
                    <a:pt x="359" y="338"/>
                  </a:lnTo>
                  <a:lnTo>
                    <a:pt x="365" y="337"/>
                  </a:lnTo>
                  <a:lnTo>
                    <a:pt x="363" y="335"/>
                  </a:lnTo>
                  <a:lnTo>
                    <a:pt x="365" y="334"/>
                  </a:lnTo>
                  <a:lnTo>
                    <a:pt x="366" y="334"/>
                  </a:lnTo>
                  <a:lnTo>
                    <a:pt x="366" y="335"/>
                  </a:lnTo>
                  <a:lnTo>
                    <a:pt x="366" y="335"/>
                  </a:lnTo>
                  <a:lnTo>
                    <a:pt x="366" y="338"/>
                  </a:lnTo>
                  <a:lnTo>
                    <a:pt x="366" y="338"/>
                  </a:lnTo>
                  <a:lnTo>
                    <a:pt x="370" y="338"/>
                  </a:lnTo>
                  <a:lnTo>
                    <a:pt x="372" y="337"/>
                  </a:lnTo>
                  <a:lnTo>
                    <a:pt x="376" y="337"/>
                  </a:lnTo>
                  <a:lnTo>
                    <a:pt x="378" y="338"/>
                  </a:lnTo>
                  <a:lnTo>
                    <a:pt x="381" y="337"/>
                  </a:lnTo>
                  <a:lnTo>
                    <a:pt x="381" y="335"/>
                  </a:lnTo>
                  <a:lnTo>
                    <a:pt x="381" y="334"/>
                  </a:lnTo>
                  <a:lnTo>
                    <a:pt x="381" y="333"/>
                  </a:lnTo>
                  <a:lnTo>
                    <a:pt x="386" y="330"/>
                  </a:lnTo>
                  <a:lnTo>
                    <a:pt x="391" y="329"/>
                  </a:lnTo>
                  <a:lnTo>
                    <a:pt x="393" y="327"/>
                  </a:lnTo>
                  <a:lnTo>
                    <a:pt x="393" y="324"/>
                  </a:lnTo>
                  <a:lnTo>
                    <a:pt x="393" y="324"/>
                  </a:lnTo>
                  <a:lnTo>
                    <a:pt x="391" y="320"/>
                  </a:lnTo>
                  <a:lnTo>
                    <a:pt x="392" y="316"/>
                  </a:lnTo>
                  <a:lnTo>
                    <a:pt x="395" y="315"/>
                  </a:lnTo>
                  <a:lnTo>
                    <a:pt x="395" y="312"/>
                  </a:lnTo>
                  <a:lnTo>
                    <a:pt x="396" y="311"/>
                  </a:lnTo>
                  <a:lnTo>
                    <a:pt x="397" y="310"/>
                  </a:lnTo>
                  <a:lnTo>
                    <a:pt x="397" y="308"/>
                  </a:lnTo>
                  <a:lnTo>
                    <a:pt x="397" y="307"/>
                  </a:lnTo>
                  <a:lnTo>
                    <a:pt x="400" y="303"/>
                  </a:lnTo>
                  <a:lnTo>
                    <a:pt x="406" y="297"/>
                  </a:lnTo>
                  <a:lnTo>
                    <a:pt x="406" y="295"/>
                  </a:lnTo>
                  <a:lnTo>
                    <a:pt x="404" y="288"/>
                  </a:lnTo>
                  <a:lnTo>
                    <a:pt x="403" y="285"/>
                  </a:lnTo>
                  <a:lnTo>
                    <a:pt x="404" y="281"/>
                  </a:lnTo>
                  <a:lnTo>
                    <a:pt x="406" y="280"/>
                  </a:lnTo>
                  <a:lnTo>
                    <a:pt x="406" y="278"/>
                  </a:lnTo>
                  <a:lnTo>
                    <a:pt x="410" y="276"/>
                  </a:lnTo>
                  <a:lnTo>
                    <a:pt x="410" y="274"/>
                  </a:lnTo>
                  <a:lnTo>
                    <a:pt x="410" y="270"/>
                  </a:lnTo>
                  <a:lnTo>
                    <a:pt x="411" y="265"/>
                  </a:lnTo>
                  <a:lnTo>
                    <a:pt x="411" y="261"/>
                  </a:lnTo>
                  <a:lnTo>
                    <a:pt x="411" y="257"/>
                  </a:lnTo>
                  <a:lnTo>
                    <a:pt x="411" y="255"/>
                  </a:lnTo>
                  <a:lnTo>
                    <a:pt x="412" y="251"/>
                  </a:lnTo>
                  <a:lnTo>
                    <a:pt x="411" y="235"/>
                  </a:lnTo>
                  <a:lnTo>
                    <a:pt x="411" y="232"/>
                  </a:lnTo>
                  <a:lnTo>
                    <a:pt x="412" y="231"/>
                  </a:lnTo>
                  <a:lnTo>
                    <a:pt x="412" y="228"/>
                  </a:lnTo>
                  <a:lnTo>
                    <a:pt x="411" y="229"/>
                  </a:lnTo>
                  <a:lnTo>
                    <a:pt x="410" y="228"/>
                  </a:lnTo>
                  <a:lnTo>
                    <a:pt x="410" y="227"/>
                  </a:lnTo>
                  <a:lnTo>
                    <a:pt x="411" y="224"/>
                  </a:lnTo>
                  <a:lnTo>
                    <a:pt x="410" y="221"/>
                  </a:lnTo>
                  <a:lnTo>
                    <a:pt x="411" y="220"/>
                  </a:lnTo>
                  <a:lnTo>
                    <a:pt x="412" y="218"/>
                  </a:lnTo>
                  <a:lnTo>
                    <a:pt x="412" y="216"/>
                  </a:lnTo>
                  <a:lnTo>
                    <a:pt x="411" y="213"/>
                  </a:lnTo>
                  <a:lnTo>
                    <a:pt x="408" y="212"/>
                  </a:lnTo>
                  <a:lnTo>
                    <a:pt x="408" y="212"/>
                  </a:lnTo>
                  <a:lnTo>
                    <a:pt x="410" y="210"/>
                  </a:lnTo>
                  <a:lnTo>
                    <a:pt x="410" y="212"/>
                  </a:lnTo>
                  <a:lnTo>
                    <a:pt x="411" y="213"/>
                  </a:lnTo>
                  <a:lnTo>
                    <a:pt x="414" y="213"/>
                  </a:lnTo>
                  <a:lnTo>
                    <a:pt x="414" y="212"/>
                  </a:lnTo>
                  <a:lnTo>
                    <a:pt x="415" y="212"/>
                  </a:lnTo>
                  <a:lnTo>
                    <a:pt x="416" y="213"/>
                  </a:lnTo>
                  <a:lnTo>
                    <a:pt x="418" y="213"/>
                  </a:lnTo>
                  <a:lnTo>
                    <a:pt x="416" y="214"/>
                  </a:lnTo>
                  <a:lnTo>
                    <a:pt x="415" y="216"/>
                  </a:lnTo>
                  <a:lnTo>
                    <a:pt x="414" y="217"/>
                  </a:lnTo>
                  <a:lnTo>
                    <a:pt x="415" y="218"/>
                  </a:lnTo>
                  <a:lnTo>
                    <a:pt x="418" y="216"/>
                  </a:lnTo>
                  <a:lnTo>
                    <a:pt x="420" y="214"/>
                  </a:lnTo>
                  <a:lnTo>
                    <a:pt x="425" y="208"/>
                  </a:lnTo>
                  <a:lnTo>
                    <a:pt x="426" y="203"/>
                  </a:lnTo>
                  <a:lnTo>
                    <a:pt x="427" y="201"/>
                  </a:lnTo>
                  <a:lnTo>
                    <a:pt x="429" y="199"/>
                  </a:lnTo>
                  <a:lnTo>
                    <a:pt x="430" y="195"/>
                  </a:lnTo>
                  <a:lnTo>
                    <a:pt x="431" y="193"/>
                  </a:lnTo>
                  <a:lnTo>
                    <a:pt x="438" y="187"/>
                  </a:lnTo>
                  <a:lnTo>
                    <a:pt x="438" y="186"/>
                  </a:lnTo>
                  <a:lnTo>
                    <a:pt x="441" y="186"/>
                  </a:lnTo>
                  <a:lnTo>
                    <a:pt x="442" y="183"/>
                  </a:lnTo>
                  <a:lnTo>
                    <a:pt x="446" y="178"/>
                  </a:lnTo>
                  <a:lnTo>
                    <a:pt x="452" y="172"/>
                  </a:lnTo>
                  <a:lnTo>
                    <a:pt x="453" y="171"/>
                  </a:lnTo>
                  <a:lnTo>
                    <a:pt x="456" y="164"/>
                  </a:lnTo>
                  <a:lnTo>
                    <a:pt x="456" y="161"/>
                  </a:lnTo>
                  <a:lnTo>
                    <a:pt x="457" y="159"/>
                  </a:lnTo>
                  <a:lnTo>
                    <a:pt x="457" y="157"/>
                  </a:lnTo>
                  <a:lnTo>
                    <a:pt x="456" y="155"/>
                  </a:lnTo>
                  <a:lnTo>
                    <a:pt x="457" y="152"/>
                  </a:lnTo>
                  <a:lnTo>
                    <a:pt x="459" y="152"/>
                  </a:lnTo>
                  <a:lnTo>
                    <a:pt x="459" y="145"/>
                  </a:lnTo>
                  <a:lnTo>
                    <a:pt x="457" y="145"/>
                  </a:lnTo>
                  <a:lnTo>
                    <a:pt x="456" y="142"/>
                  </a:lnTo>
                  <a:lnTo>
                    <a:pt x="452" y="133"/>
                  </a:lnTo>
                  <a:lnTo>
                    <a:pt x="452" y="130"/>
                  </a:lnTo>
                  <a:lnTo>
                    <a:pt x="452" y="126"/>
                  </a:lnTo>
                  <a:lnTo>
                    <a:pt x="444" y="123"/>
                  </a:lnTo>
                  <a:lnTo>
                    <a:pt x="439" y="123"/>
                  </a:lnTo>
                  <a:lnTo>
                    <a:pt x="435" y="125"/>
                  </a:lnTo>
                  <a:lnTo>
                    <a:pt x="434" y="121"/>
                  </a:lnTo>
                  <a:lnTo>
                    <a:pt x="431" y="121"/>
                  </a:lnTo>
                  <a:lnTo>
                    <a:pt x="429" y="118"/>
                  </a:lnTo>
                  <a:lnTo>
                    <a:pt x="426" y="116"/>
                  </a:lnTo>
                  <a:lnTo>
                    <a:pt x="423" y="115"/>
                  </a:lnTo>
                  <a:lnTo>
                    <a:pt x="418" y="110"/>
                  </a:lnTo>
                  <a:lnTo>
                    <a:pt x="414" y="104"/>
                  </a:lnTo>
                  <a:lnTo>
                    <a:pt x="411" y="104"/>
                  </a:lnTo>
                  <a:lnTo>
                    <a:pt x="408" y="102"/>
                  </a:lnTo>
                  <a:lnTo>
                    <a:pt x="406" y="102"/>
                  </a:lnTo>
                  <a:lnTo>
                    <a:pt x="399" y="96"/>
                  </a:lnTo>
                  <a:lnTo>
                    <a:pt x="396" y="96"/>
                  </a:lnTo>
                  <a:lnTo>
                    <a:pt x="392" y="95"/>
                  </a:lnTo>
                  <a:lnTo>
                    <a:pt x="391" y="96"/>
                  </a:lnTo>
                  <a:lnTo>
                    <a:pt x="386" y="96"/>
                  </a:lnTo>
                  <a:lnTo>
                    <a:pt x="385" y="95"/>
                  </a:lnTo>
                  <a:lnTo>
                    <a:pt x="382" y="96"/>
                  </a:lnTo>
                  <a:lnTo>
                    <a:pt x="381" y="97"/>
                  </a:lnTo>
                  <a:lnTo>
                    <a:pt x="380" y="96"/>
                  </a:lnTo>
                  <a:lnTo>
                    <a:pt x="377" y="93"/>
                  </a:lnTo>
                  <a:lnTo>
                    <a:pt x="377" y="95"/>
                  </a:lnTo>
                  <a:lnTo>
                    <a:pt x="376" y="93"/>
                  </a:lnTo>
                  <a:lnTo>
                    <a:pt x="374" y="95"/>
                  </a:lnTo>
                  <a:lnTo>
                    <a:pt x="374" y="96"/>
                  </a:lnTo>
                  <a:lnTo>
                    <a:pt x="373" y="95"/>
                  </a:lnTo>
                  <a:lnTo>
                    <a:pt x="373" y="93"/>
                  </a:lnTo>
                  <a:lnTo>
                    <a:pt x="372" y="93"/>
                  </a:lnTo>
                  <a:lnTo>
                    <a:pt x="372" y="95"/>
                  </a:lnTo>
                  <a:lnTo>
                    <a:pt x="370" y="95"/>
                  </a:lnTo>
                  <a:lnTo>
                    <a:pt x="367" y="93"/>
                  </a:lnTo>
                  <a:lnTo>
                    <a:pt x="366" y="93"/>
                  </a:lnTo>
                  <a:lnTo>
                    <a:pt x="363" y="93"/>
                  </a:lnTo>
                  <a:lnTo>
                    <a:pt x="357" y="89"/>
                  </a:lnTo>
                  <a:lnTo>
                    <a:pt x="354" y="91"/>
                  </a:lnTo>
                  <a:lnTo>
                    <a:pt x="354" y="91"/>
                  </a:lnTo>
                  <a:lnTo>
                    <a:pt x="355" y="92"/>
                  </a:lnTo>
                  <a:lnTo>
                    <a:pt x="354" y="93"/>
                  </a:lnTo>
                  <a:lnTo>
                    <a:pt x="352" y="92"/>
                  </a:lnTo>
                  <a:lnTo>
                    <a:pt x="352" y="92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8" y="99"/>
                  </a:lnTo>
                  <a:lnTo>
                    <a:pt x="347" y="96"/>
                  </a:lnTo>
                  <a:lnTo>
                    <a:pt x="347" y="95"/>
                  </a:lnTo>
                  <a:lnTo>
                    <a:pt x="346" y="95"/>
                  </a:lnTo>
                  <a:lnTo>
                    <a:pt x="346" y="97"/>
                  </a:lnTo>
                  <a:lnTo>
                    <a:pt x="344" y="102"/>
                  </a:lnTo>
                  <a:lnTo>
                    <a:pt x="344" y="104"/>
                  </a:lnTo>
                  <a:lnTo>
                    <a:pt x="343" y="102"/>
                  </a:lnTo>
                  <a:lnTo>
                    <a:pt x="344" y="99"/>
                  </a:lnTo>
                  <a:lnTo>
                    <a:pt x="343" y="96"/>
                  </a:lnTo>
                  <a:lnTo>
                    <a:pt x="344" y="92"/>
                  </a:lnTo>
                  <a:lnTo>
                    <a:pt x="346" y="91"/>
                  </a:lnTo>
                  <a:lnTo>
                    <a:pt x="344" y="91"/>
                  </a:lnTo>
                  <a:lnTo>
                    <a:pt x="343" y="91"/>
                  </a:lnTo>
                  <a:lnTo>
                    <a:pt x="346" y="87"/>
                  </a:lnTo>
                  <a:lnTo>
                    <a:pt x="342" y="84"/>
                  </a:lnTo>
                  <a:lnTo>
                    <a:pt x="340" y="81"/>
                  </a:lnTo>
                  <a:lnTo>
                    <a:pt x="339" y="81"/>
                  </a:lnTo>
                  <a:lnTo>
                    <a:pt x="336" y="81"/>
                  </a:lnTo>
                  <a:lnTo>
                    <a:pt x="335" y="83"/>
                  </a:lnTo>
                  <a:lnTo>
                    <a:pt x="333" y="84"/>
                  </a:lnTo>
                  <a:lnTo>
                    <a:pt x="332" y="81"/>
                  </a:lnTo>
                  <a:lnTo>
                    <a:pt x="331" y="81"/>
                  </a:lnTo>
                  <a:lnTo>
                    <a:pt x="331" y="80"/>
                  </a:lnTo>
                  <a:lnTo>
                    <a:pt x="329" y="78"/>
                  </a:lnTo>
                  <a:lnTo>
                    <a:pt x="327" y="78"/>
                  </a:lnTo>
                  <a:lnTo>
                    <a:pt x="327" y="77"/>
                  </a:lnTo>
                  <a:lnTo>
                    <a:pt x="325" y="77"/>
                  </a:lnTo>
                  <a:lnTo>
                    <a:pt x="324" y="77"/>
                  </a:lnTo>
                  <a:lnTo>
                    <a:pt x="324" y="77"/>
                  </a:lnTo>
                  <a:lnTo>
                    <a:pt x="323" y="76"/>
                  </a:lnTo>
                  <a:lnTo>
                    <a:pt x="321" y="74"/>
                  </a:lnTo>
                  <a:lnTo>
                    <a:pt x="320" y="74"/>
                  </a:lnTo>
                  <a:lnTo>
                    <a:pt x="317" y="74"/>
                  </a:lnTo>
                  <a:lnTo>
                    <a:pt x="314" y="72"/>
                  </a:lnTo>
                  <a:lnTo>
                    <a:pt x="313" y="72"/>
                  </a:lnTo>
                  <a:lnTo>
                    <a:pt x="313" y="73"/>
                  </a:lnTo>
                  <a:lnTo>
                    <a:pt x="310" y="72"/>
                  </a:lnTo>
                  <a:lnTo>
                    <a:pt x="309" y="72"/>
                  </a:lnTo>
                  <a:lnTo>
                    <a:pt x="309" y="73"/>
                  </a:lnTo>
                  <a:lnTo>
                    <a:pt x="308" y="73"/>
                  </a:lnTo>
                  <a:lnTo>
                    <a:pt x="308" y="72"/>
                  </a:lnTo>
                  <a:lnTo>
                    <a:pt x="305" y="72"/>
                  </a:lnTo>
                  <a:lnTo>
                    <a:pt x="302" y="73"/>
                  </a:lnTo>
                  <a:lnTo>
                    <a:pt x="301" y="74"/>
                  </a:lnTo>
                  <a:lnTo>
                    <a:pt x="301" y="76"/>
                  </a:lnTo>
                  <a:lnTo>
                    <a:pt x="298" y="78"/>
                  </a:lnTo>
                  <a:lnTo>
                    <a:pt x="295" y="81"/>
                  </a:lnTo>
                  <a:lnTo>
                    <a:pt x="291" y="83"/>
                  </a:lnTo>
                  <a:lnTo>
                    <a:pt x="289" y="85"/>
                  </a:lnTo>
                  <a:lnTo>
                    <a:pt x="287" y="89"/>
                  </a:lnTo>
                  <a:lnTo>
                    <a:pt x="287" y="92"/>
                  </a:lnTo>
                  <a:lnTo>
                    <a:pt x="286" y="93"/>
                  </a:lnTo>
                  <a:lnTo>
                    <a:pt x="284" y="96"/>
                  </a:lnTo>
                  <a:lnTo>
                    <a:pt x="284" y="97"/>
                  </a:lnTo>
                  <a:lnTo>
                    <a:pt x="284" y="100"/>
                  </a:lnTo>
                  <a:lnTo>
                    <a:pt x="284" y="104"/>
                  </a:lnTo>
                  <a:lnTo>
                    <a:pt x="283" y="102"/>
                  </a:lnTo>
                  <a:lnTo>
                    <a:pt x="282" y="99"/>
                  </a:lnTo>
                  <a:lnTo>
                    <a:pt x="282" y="97"/>
                  </a:lnTo>
                  <a:lnTo>
                    <a:pt x="283" y="95"/>
                  </a:lnTo>
                  <a:lnTo>
                    <a:pt x="286" y="93"/>
                  </a:lnTo>
                  <a:lnTo>
                    <a:pt x="284" y="91"/>
                  </a:lnTo>
                  <a:lnTo>
                    <a:pt x="286" y="88"/>
                  </a:lnTo>
                  <a:lnTo>
                    <a:pt x="286" y="87"/>
                  </a:lnTo>
                  <a:lnTo>
                    <a:pt x="284" y="85"/>
                  </a:lnTo>
                  <a:lnTo>
                    <a:pt x="282" y="87"/>
                  </a:lnTo>
                  <a:lnTo>
                    <a:pt x="279" y="87"/>
                  </a:lnTo>
                  <a:lnTo>
                    <a:pt x="276" y="87"/>
                  </a:lnTo>
                  <a:lnTo>
                    <a:pt x="274" y="87"/>
                  </a:lnTo>
                  <a:lnTo>
                    <a:pt x="272" y="85"/>
                  </a:lnTo>
                  <a:lnTo>
                    <a:pt x="274" y="85"/>
                  </a:lnTo>
                  <a:lnTo>
                    <a:pt x="276" y="84"/>
                  </a:lnTo>
                  <a:lnTo>
                    <a:pt x="278" y="84"/>
                  </a:lnTo>
                  <a:lnTo>
                    <a:pt x="282" y="84"/>
                  </a:lnTo>
                  <a:lnTo>
                    <a:pt x="283" y="84"/>
                  </a:lnTo>
                  <a:lnTo>
                    <a:pt x="286" y="81"/>
                  </a:lnTo>
                  <a:lnTo>
                    <a:pt x="286" y="81"/>
                  </a:lnTo>
                  <a:lnTo>
                    <a:pt x="287" y="83"/>
                  </a:lnTo>
                  <a:lnTo>
                    <a:pt x="289" y="83"/>
                  </a:lnTo>
                  <a:lnTo>
                    <a:pt x="291" y="81"/>
                  </a:lnTo>
                  <a:lnTo>
                    <a:pt x="294" y="80"/>
                  </a:lnTo>
                  <a:lnTo>
                    <a:pt x="294" y="77"/>
                  </a:lnTo>
                  <a:lnTo>
                    <a:pt x="297" y="73"/>
                  </a:lnTo>
                  <a:lnTo>
                    <a:pt x="297" y="70"/>
                  </a:lnTo>
                  <a:lnTo>
                    <a:pt x="298" y="69"/>
                  </a:lnTo>
                  <a:lnTo>
                    <a:pt x="298" y="68"/>
                  </a:lnTo>
                  <a:lnTo>
                    <a:pt x="295" y="66"/>
                  </a:lnTo>
                  <a:lnTo>
                    <a:pt x="293" y="65"/>
                  </a:lnTo>
                  <a:lnTo>
                    <a:pt x="290" y="65"/>
                  </a:lnTo>
                  <a:lnTo>
                    <a:pt x="287" y="66"/>
                  </a:lnTo>
                  <a:lnTo>
                    <a:pt x="284" y="66"/>
                  </a:lnTo>
                  <a:lnTo>
                    <a:pt x="280" y="65"/>
                  </a:lnTo>
                  <a:lnTo>
                    <a:pt x="276" y="65"/>
                  </a:lnTo>
                  <a:lnTo>
                    <a:pt x="272" y="68"/>
                  </a:lnTo>
                  <a:lnTo>
                    <a:pt x="272" y="69"/>
                  </a:lnTo>
                  <a:lnTo>
                    <a:pt x="274" y="70"/>
                  </a:lnTo>
                  <a:lnTo>
                    <a:pt x="275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1" y="74"/>
                  </a:lnTo>
                  <a:lnTo>
                    <a:pt x="271" y="72"/>
                  </a:lnTo>
                  <a:lnTo>
                    <a:pt x="270" y="72"/>
                  </a:lnTo>
                  <a:lnTo>
                    <a:pt x="267" y="73"/>
                  </a:lnTo>
                  <a:lnTo>
                    <a:pt x="264" y="77"/>
                  </a:lnTo>
                  <a:lnTo>
                    <a:pt x="260" y="81"/>
                  </a:lnTo>
                  <a:lnTo>
                    <a:pt x="263" y="77"/>
                  </a:lnTo>
                  <a:lnTo>
                    <a:pt x="263" y="74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3" y="72"/>
                  </a:lnTo>
                  <a:lnTo>
                    <a:pt x="260" y="73"/>
                  </a:lnTo>
                  <a:lnTo>
                    <a:pt x="259" y="76"/>
                  </a:lnTo>
                  <a:lnTo>
                    <a:pt x="259" y="78"/>
                  </a:lnTo>
                  <a:lnTo>
                    <a:pt x="256" y="80"/>
                  </a:lnTo>
                  <a:lnTo>
                    <a:pt x="259" y="77"/>
                  </a:lnTo>
                  <a:lnTo>
                    <a:pt x="259" y="74"/>
                  </a:lnTo>
                  <a:lnTo>
                    <a:pt x="263" y="69"/>
                  </a:lnTo>
                  <a:lnTo>
                    <a:pt x="264" y="65"/>
                  </a:lnTo>
                  <a:lnTo>
                    <a:pt x="265" y="63"/>
                  </a:lnTo>
                  <a:lnTo>
                    <a:pt x="267" y="62"/>
                  </a:lnTo>
                  <a:lnTo>
                    <a:pt x="270" y="61"/>
                  </a:lnTo>
                  <a:lnTo>
                    <a:pt x="271" y="59"/>
                  </a:lnTo>
                  <a:lnTo>
                    <a:pt x="274" y="57"/>
                  </a:lnTo>
                  <a:lnTo>
                    <a:pt x="279" y="51"/>
                  </a:lnTo>
                  <a:lnTo>
                    <a:pt x="279" y="50"/>
                  </a:lnTo>
                  <a:lnTo>
                    <a:pt x="280" y="49"/>
                  </a:lnTo>
                  <a:lnTo>
                    <a:pt x="279" y="47"/>
                  </a:lnTo>
                  <a:lnTo>
                    <a:pt x="280" y="46"/>
                  </a:lnTo>
                  <a:lnTo>
                    <a:pt x="280" y="44"/>
                  </a:lnTo>
                  <a:lnTo>
                    <a:pt x="280" y="42"/>
                  </a:lnTo>
                  <a:lnTo>
                    <a:pt x="279" y="40"/>
                  </a:lnTo>
                  <a:lnTo>
                    <a:pt x="276" y="40"/>
                  </a:lnTo>
                  <a:lnTo>
                    <a:pt x="275" y="42"/>
                  </a:lnTo>
                  <a:lnTo>
                    <a:pt x="274" y="40"/>
                  </a:lnTo>
                  <a:lnTo>
                    <a:pt x="272" y="35"/>
                  </a:lnTo>
                  <a:lnTo>
                    <a:pt x="270" y="29"/>
                  </a:lnTo>
                  <a:lnTo>
                    <a:pt x="268" y="25"/>
                  </a:lnTo>
                  <a:lnTo>
                    <a:pt x="265" y="21"/>
                  </a:lnTo>
                  <a:lnTo>
                    <a:pt x="265" y="19"/>
                  </a:lnTo>
                  <a:lnTo>
                    <a:pt x="265" y="16"/>
                  </a:lnTo>
                  <a:close/>
                </a:path>
              </a:pathLst>
            </a:custGeom>
            <a:solidFill>
              <a:schemeClr val="accent5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3" name="Freeform 154"/>
            <p:cNvSpPr>
              <a:spLocks/>
            </p:cNvSpPr>
            <p:nvPr/>
          </p:nvSpPr>
          <p:spPr bwMode="auto">
            <a:xfrm>
              <a:off x="1340" y="1934"/>
              <a:ext cx="34" cy="48"/>
            </a:xfrm>
            <a:custGeom>
              <a:avLst/>
              <a:gdLst>
                <a:gd name="T0" fmla="*/ 2 w 34"/>
                <a:gd name="T1" fmla="*/ 38 h 48"/>
                <a:gd name="T2" fmla="*/ 2 w 34"/>
                <a:gd name="T3" fmla="*/ 40 h 48"/>
                <a:gd name="T4" fmla="*/ 2 w 34"/>
                <a:gd name="T5" fmla="*/ 41 h 48"/>
                <a:gd name="T6" fmla="*/ 3 w 34"/>
                <a:gd name="T7" fmla="*/ 42 h 48"/>
                <a:gd name="T8" fmla="*/ 3 w 34"/>
                <a:gd name="T9" fmla="*/ 44 h 48"/>
                <a:gd name="T10" fmla="*/ 4 w 34"/>
                <a:gd name="T11" fmla="*/ 45 h 48"/>
                <a:gd name="T12" fmla="*/ 7 w 34"/>
                <a:gd name="T13" fmla="*/ 45 h 48"/>
                <a:gd name="T14" fmla="*/ 7 w 34"/>
                <a:gd name="T15" fmla="*/ 44 h 48"/>
                <a:gd name="T16" fmla="*/ 10 w 34"/>
                <a:gd name="T17" fmla="*/ 44 h 48"/>
                <a:gd name="T18" fmla="*/ 11 w 34"/>
                <a:gd name="T19" fmla="*/ 44 h 48"/>
                <a:gd name="T20" fmla="*/ 11 w 34"/>
                <a:gd name="T21" fmla="*/ 44 h 48"/>
                <a:gd name="T22" fmla="*/ 11 w 34"/>
                <a:gd name="T23" fmla="*/ 45 h 48"/>
                <a:gd name="T24" fmla="*/ 13 w 34"/>
                <a:gd name="T25" fmla="*/ 48 h 48"/>
                <a:gd name="T26" fmla="*/ 14 w 34"/>
                <a:gd name="T27" fmla="*/ 48 h 48"/>
                <a:gd name="T28" fmla="*/ 15 w 34"/>
                <a:gd name="T29" fmla="*/ 46 h 48"/>
                <a:gd name="T30" fmla="*/ 15 w 34"/>
                <a:gd name="T31" fmla="*/ 45 h 48"/>
                <a:gd name="T32" fmla="*/ 17 w 34"/>
                <a:gd name="T33" fmla="*/ 44 h 48"/>
                <a:gd name="T34" fmla="*/ 19 w 34"/>
                <a:gd name="T35" fmla="*/ 44 h 48"/>
                <a:gd name="T36" fmla="*/ 21 w 34"/>
                <a:gd name="T37" fmla="*/ 41 h 48"/>
                <a:gd name="T38" fmla="*/ 22 w 34"/>
                <a:gd name="T39" fmla="*/ 38 h 48"/>
                <a:gd name="T40" fmla="*/ 25 w 34"/>
                <a:gd name="T41" fmla="*/ 33 h 48"/>
                <a:gd name="T42" fmla="*/ 25 w 34"/>
                <a:gd name="T43" fmla="*/ 30 h 48"/>
                <a:gd name="T44" fmla="*/ 28 w 34"/>
                <a:gd name="T45" fmla="*/ 27 h 48"/>
                <a:gd name="T46" fmla="*/ 30 w 34"/>
                <a:gd name="T47" fmla="*/ 23 h 48"/>
                <a:gd name="T48" fmla="*/ 32 w 34"/>
                <a:gd name="T49" fmla="*/ 22 h 48"/>
                <a:gd name="T50" fmla="*/ 32 w 34"/>
                <a:gd name="T51" fmla="*/ 22 h 48"/>
                <a:gd name="T52" fmla="*/ 34 w 34"/>
                <a:gd name="T53" fmla="*/ 19 h 48"/>
                <a:gd name="T54" fmla="*/ 33 w 34"/>
                <a:gd name="T55" fmla="*/ 16 h 48"/>
                <a:gd name="T56" fmla="*/ 32 w 34"/>
                <a:gd name="T57" fmla="*/ 14 h 48"/>
                <a:gd name="T58" fmla="*/ 30 w 34"/>
                <a:gd name="T59" fmla="*/ 15 h 48"/>
                <a:gd name="T60" fmla="*/ 29 w 34"/>
                <a:gd name="T61" fmla="*/ 14 h 48"/>
                <a:gd name="T62" fmla="*/ 29 w 34"/>
                <a:gd name="T63" fmla="*/ 11 h 48"/>
                <a:gd name="T64" fmla="*/ 25 w 34"/>
                <a:gd name="T65" fmla="*/ 7 h 48"/>
                <a:gd name="T66" fmla="*/ 23 w 34"/>
                <a:gd name="T67" fmla="*/ 7 h 48"/>
                <a:gd name="T68" fmla="*/ 21 w 34"/>
                <a:gd name="T69" fmla="*/ 4 h 48"/>
                <a:gd name="T70" fmla="*/ 14 w 34"/>
                <a:gd name="T71" fmla="*/ 3 h 48"/>
                <a:gd name="T72" fmla="*/ 11 w 34"/>
                <a:gd name="T73" fmla="*/ 2 h 48"/>
                <a:gd name="T74" fmla="*/ 7 w 34"/>
                <a:gd name="T75" fmla="*/ 0 h 48"/>
                <a:gd name="T76" fmla="*/ 6 w 34"/>
                <a:gd name="T77" fmla="*/ 2 h 48"/>
                <a:gd name="T78" fmla="*/ 3 w 34"/>
                <a:gd name="T79" fmla="*/ 3 h 48"/>
                <a:gd name="T80" fmla="*/ 3 w 34"/>
                <a:gd name="T81" fmla="*/ 3 h 48"/>
                <a:gd name="T82" fmla="*/ 3 w 34"/>
                <a:gd name="T83" fmla="*/ 3 h 48"/>
                <a:gd name="T84" fmla="*/ 3 w 34"/>
                <a:gd name="T85" fmla="*/ 4 h 48"/>
                <a:gd name="T86" fmla="*/ 0 w 34"/>
                <a:gd name="T87" fmla="*/ 7 h 48"/>
                <a:gd name="T88" fmla="*/ 0 w 34"/>
                <a:gd name="T89" fmla="*/ 10 h 48"/>
                <a:gd name="T90" fmla="*/ 2 w 34"/>
                <a:gd name="T91" fmla="*/ 12 h 48"/>
                <a:gd name="T92" fmla="*/ 2 w 34"/>
                <a:gd name="T93" fmla="*/ 15 h 48"/>
                <a:gd name="T94" fmla="*/ 2 w 34"/>
                <a:gd name="T95" fmla="*/ 16 h 48"/>
                <a:gd name="T96" fmla="*/ 3 w 34"/>
                <a:gd name="T97" fmla="*/ 18 h 48"/>
                <a:gd name="T98" fmla="*/ 4 w 34"/>
                <a:gd name="T99" fmla="*/ 21 h 48"/>
                <a:gd name="T100" fmla="*/ 6 w 34"/>
                <a:gd name="T101" fmla="*/ 22 h 48"/>
                <a:gd name="T102" fmla="*/ 6 w 34"/>
                <a:gd name="T103" fmla="*/ 25 h 48"/>
                <a:gd name="T104" fmla="*/ 7 w 34"/>
                <a:gd name="T105" fmla="*/ 26 h 48"/>
                <a:gd name="T106" fmla="*/ 6 w 34"/>
                <a:gd name="T107" fmla="*/ 27 h 48"/>
                <a:gd name="T108" fmla="*/ 4 w 34"/>
                <a:gd name="T109" fmla="*/ 30 h 48"/>
                <a:gd name="T110" fmla="*/ 4 w 34"/>
                <a:gd name="T111" fmla="*/ 33 h 48"/>
                <a:gd name="T112" fmla="*/ 6 w 34"/>
                <a:gd name="T113" fmla="*/ 34 h 48"/>
                <a:gd name="T114" fmla="*/ 4 w 34"/>
                <a:gd name="T115" fmla="*/ 37 h 48"/>
                <a:gd name="T116" fmla="*/ 2 w 34"/>
                <a:gd name="T117" fmla="*/ 38 h 48"/>
                <a:gd name="T118" fmla="*/ 2 w 34"/>
                <a:gd name="T119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" h="48">
                  <a:moveTo>
                    <a:pt x="2" y="38"/>
                  </a:moveTo>
                  <a:lnTo>
                    <a:pt x="2" y="40"/>
                  </a:lnTo>
                  <a:lnTo>
                    <a:pt x="2" y="41"/>
                  </a:lnTo>
                  <a:lnTo>
                    <a:pt x="3" y="42"/>
                  </a:lnTo>
                  <a:lnTo>
                    <a:pt x="3" y="44"/>
                  </a:lnTo>
                  <a:lnTo>
                    <a:pt x="4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3" y="48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5" y="45"/>
                  </a:lnTo>
                  <a:lnTo>
                    <a:pt x="17" y="44"/>
                  </a:lnTo>
                  <a:lnTo>
                    <a:pt x="19" y="44"/>
                  </a:lnTo>
                  <a:lnTo>
                    <a:pt x="21" y="41"/>
                  </a:lnTo>
                  <a:lnTo>
                    <a:pt x="22" y="38"/>
                  </a:lnTo>
                  <a:lnTo>
                    <a:pt x="25" y="33"/>
                  </a:lnTo>
                  <a:lnTo>
                    <a:pt x="25" y="30"/>
                  </a:lnTo>
                  <a:lnTo>
                    <a:pt x="28" y="27"/>
                  </a:lnTo>
                  <a:lnTo>
                    <a:pt x="30" y="23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4" y="19"/>
                  </a:lnTo>
                  <a:lnTo>
                    <a:pt x="33" y="16"/>
                  </a:lnTo>
                  <a:lnTo>
                    <a:pt x="32" y="14"/>
                  </a:lnTo>
                  <a:lnTo>
                    <a:pt x="30" y="15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25" y="7"/>
                  </a:lnTo>
                  <a:lnTo>
                    <a:pt x="23" y="7"/>
                  </a:lnTo>
                  <a:lnTo>
                    <a:pt x="21" y="4"/>
                  </a:lnTo>
                  <a:lnTo>
                    <a:pt x="14" y="3"/>
                  </a:lnTo>
                  <a:lnTo>
                    <a:pt x="11" y="2"/>
                  </a:lnTo>
                  <a:lnTo>
                    <a:pt x="7" y="0"/>
                  </a:lnTo>
                  <a:lnTo>
                    <a:pt x="6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3" y="18"/>
                  </a:lnTo>
                  <a:lnTo>
                    <a:pt x="4" y="21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6"/>
                  </a:lnTo>
                  <a:lnTo>
                    <a:pt x="6" y="27"/>
                  </a:lnTo>
                  <a:lnTo>
                    <a:pt x="4" y="30"/>
                  </a:lnTo>
                  <a:lnTo>
                    <a:pt x="4" y="33"/>
                  </a:lnTo>
                  <a:lnTo>
                    <a:pt x="6" y="34"/>
                  </a:lnTo>
                  <a:lnTo>
                    <a:pt x="4" y="37"/>
                  </a:lnTo>
                  <a:lnTo>
                    <a:pt x="2" y="38"/>
                  </a:lnTo>
                  <a:lnTo>
                    <a:pt x="2" y="3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4" name="Freeform 155"/>
            <p:cNvSpPr>
              <a:spLocks/>
            </p:cNvSpPr>
            <p:nvPr/>
          </p:nvSpPr>
          <p:spPr bwMode="auto">
            <a:xfrm>
              <a:off x="1300" y="1929"/>
              <a:ext cx="47" cy="51"/>
            </a:xfrm>
            <a:custGeom>
              <a:avLst/>
              <a:gdLst>
                <a:gd name="T0" fmla="*/ 19 w 47"/>
                <a:gd name="T1" fmla="*/ 50 h 51"/>
                <a:gd name="T2" fmla="*/ 20 w 47"/>
                <a:gd name="T3" fmla="*/ 51 h 51"/>
                <a:gd name="T4" fmla="*/ 25 w 47"/>
                <a:gd name="T5" fmla="*/ 51 h 51"/>
                <a:gd name="T6" fmla="*/ 24 w 47"/>
                <a:gd name="T7" fmla="*/ 49 h 51"/>
                <a:gd name="T8" fmla="*/ 21 w 47"/>
                <a:gd name="T9" fmla="*/ 45 h 51"/>
                <a:gd name="T10" fmla="*/ 24 w 47"/>
                <a:gd name="T11" fmla="*/ 42 h 51"/>
                <a:gd name="T12" fmla="*/ 32 w 47"/>
                <a:gd name="T13" fmla="*/ 42 h 51"/>
                <a:gd name="T14" fmla="*/ 38 w 47"/>
                <a:gd name="T15" fmla="*/ 40 h 51"/>
                <a:gd name="T16" fmla="*/ 42 w 47"/>
                <a:gd name="T17" fmla="*/ 43 h 51"/>
                <a:gd name="T18" fmla="*/ 46 w 47"/>
                <a:gd name="T19" fmla="*/ 39 h 51"/>
                <a:gd name="T20" fmla="*/ 44 w 47"/>
                <a:gd name="T21" fmla="*/ 35 h 51"/>
                <a:gd name="T22" fmla="*/ 47 w 47"/>
                <a:gd name="T23" fmla="*/ 31 h 51"/>
                <a:gd name="T24" fmla="*/ 46 w 47"/>
                <a:gd name="T25" fmla="*/ 27 h 51"/>
                <a:gd name="T26" fmla="*/ 43 w 47"/>
                <a:gd name="T27" fmla="*/ 23 h 51"/>
                <a:gd name="T28" fmla="*/ 42 w 47"/>
                <a:gd name="T29" fmla="*/ 20 h 51"/>
                <a:gd name="T30" fmla="*/ 40 w 47"/>
                <a:gd name="T31" fmla="*/ 15 h 51"/>
                <a:gd name="T32" fmla="*/ 43 w 47"/>
                <a:gd name="T33" fmla="*/ 9 h 51"/>
                <a:gd name="T34" fmla="*/ 43 w 47"/>
                <a:gd name="T35" fmla="*/ 8 h 51"/>
                <a:gd name="T36" fmla="*/ 46 w 47"/>
                <a:gd name="T37" fmla="*/ 4 h 51"/>
                <a:gd name="T38" fmla="*/ 39 w 47"/>
                <a:gd name="T39" fmla="*/ 2 h 51"/>
                <a:gd name="T40" fmla="*/ 34 w 47"/>
                <a:gd name="T41" fmla="*/ 1 h 51"/>
                <a:gd name="T42" fmla="*/ 27 w 47"/>
                <a:gd name="T43" fmla="*/ 1 h 51"/>
                <a:gd name="T44" fmla="*/ 19 w 47"/>
                <a:gd name="T45" fmla="*/ 1 h 51"/>
                <a:gd name="T46" fmla="*/ 10 w 47"/>
                <a:gd name="T47" fmla="*/ 2 h 51"/>
                <a:gd name="T48" fmla="*/ 10 w 47"/>
                <a:gd name="T49" fmla="*/ 5 h 51"/>
                <a:gd name="T50" fmla="*/ 10 w 47"/>
                <a:gd name="T51" fmla="*/ 9 h 51"/>
                <a:gd name="T52" fmla="*/ 6 w 47"/>
                <a:gd name="T53" fmla="*/ 12 h 51"/>
                <a:gd name="T54" fmla="*/ 2 w 47"/>
                <a:gd name="T55" fmla="*/ 15 h 51"/>
                <a:gd name="T56" fmla="*/ 0 w 47"/>
                <a:gd name="T57" fmla="*/ 23 h 51"/>
                <a:gd name="T58" fmla="*/ 2 w 47"/>
                <a:gd name="T59" fmla="*/ 26 h 51"/>
                <a:gd name="T60" fmla="*/ 4 w 47"/>
                <a:gd name="T61" fmla="*/ 28 h 51"/>
                <a:gd name="T62" fmla="*/ 5 w 47"/>
                <a:gd name="T63" fmla="*/ 31 h 51"/>
                <a:gd name="T64" fmla="*/ 8 w 47"/>
                <a:gd name="T65" fmla="*/ 32 h 51"/>
                <a:gd name="T66" fmla="*/ 9 w 47"/>
                <a:gd name="T67" fmla="*/ 35 h 51"/>
                <a:gd name="T68" fmla="*/ 10 w 47"/>
                <a:gd name="T69" fmla="*/ 40 h 51"/>
                <a:gd name="T70" fmla="*/ 13 w 47"/>
                <a:gd name="T71" fmla="*/ 43 h 51"/>
                <a:gd name="T72" fmla="*/ 16 w 47"/>
                <a:gd name="T73" fmla="*/ 47 h 51"/>
                <a:gd name="T74" fmla="*/ 17 w 47"/>
                <a:gd name="T75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" h="51">
                  <a:moveTo>
                    <a:pt x="19" y="50"/>
                  </a:moveTo>
                  <a:lnTo>
                    <a:pt x="19" y="50"/>
                  </a:lnTo>
                  <a:lnTo>
                    <a:pt x="20" y="50"/>
                  </a:lnTo>
                  <a:lnTo>
                    <a:pt x="20" y="51"/>
                  </a:lnTo>
                  <a:lnTo>
                    <a:pt x="23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4" y="49"/>
                  </a:lnTo>
                  <a:lnTo>
                    <a:pt x="24" y="47"/>
                  </a:lnTo>
                  <a:lnTo>
                    <a:pt x="21" y="45"/>
                  </a:lnTo>
                  <a:lnTo>
                    <a:pt x="23" y="43"/>
                  </a:lnTo>
                  <a:lnTo>
                    <a:pt x="24" y="42"/>
                  </a:lnTo>
                  <a:lnTo>
                    <a:pt x="27" y="42"/>
                  </a:lnTo>
                  <a:lnTo>
                    <a:pt x="32" y="42"/>
                  </a:lnTo>
                  <a:lnTo>
                    <a:pt x="34" y="40"/>
                  </a:lnTo>
                  <a:lnTo>
                    <a:pt x="38" y="40"/>
                  </a:lnTo>
                  <a:lnTo>
                    <a:pt x="39" y="43"/>
                  </a:lnTo>
                  <a:lnTo>
                    <a:pt x="42" y="43"/>
                  </a:lnTo>
                  <a:lnTo>
                    <a:pt x="44" y="42"/>
                  </a:lnTo>
                  <a:lnTo>
                    <a:pt x="46" y="39"/>
                  </a:lnTo>
                  <a:lnTo>
                    <a:pt x="44" y="38"/>
                  </a:lnTo>
                  <a:lnTo>
                    <a:pt x="44" y="35"/>
                  </a:lnTo>
                  <a:lnTo>
                    <a:pt x="46" y="32"/>
                  </a:lnTo>
                  <a:lnTo>
                    <a:pt x="47" y="31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4" y="26"/>
                  </a:lnTo>
                  <a:lnTo>
                    <a:pt x="43" y="23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2" y="17"/>
                  </a:lnTo>
                  <a:lnTo>
                    <a:pt x="40" y="15"/>
                  </a:lnTo>
                  <a:lnTo>
                    <a:pt x="40" y="12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3" y="2"/>
                  </a:lnTo>
                  <a:lnTo>
                    <a:pt x="39" y="2"/>
                  </a:lnTo>
                  <a:lnTo>
                    <a:pt x="35" y="0"/>
                  </a:lnTo>
                  <a:lnTo>
                    <a:pt x="34" y="1"/>
                  </a:lnTo>
                  <a:lnTo>
                    <a:pt x="31" y="1"/>
                  </a:lnTo>
                  <a:lnTo>
                    <a:pt x="27" y="1"/>
                  </a:lnTo>
                  <a:lnTo>
                    <a:pt x="23" y="2"/>
                  </a:lnTo>
                  <a:lnTo>
                    <a:pt x="19" y="1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8"/>
                  </a:lnTo>
                  <a:lnTo>
                    <a:pt x="10" y="9"/>
                  </a:lnTo>
                  <a:lnTo>
                    <a:pt x="8" y="11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2" y="15"/>
                  </a:lnTo>
                  <a:lnTo>
                    <a:pt x="1" y="17"/>
                  </a:lnTo>
                  <a:lnTo>
                    <a:pt x="0" y="23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4" y="27"/>
                  </a:lnTo>
                  <a:lnTo>
                    <a:pt x="4" y="28"/>
                  </a:lnTo>
                  <a:lnTo>
                    <a:pt x="5" y="30"/>
                  </a:lnTo>
                  <a:lnTo>
                    <a:pt x="5" y="31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10" y="38"/>
                  </a:lnTo>
                  <a:lnTo>
                    <a:pt x="10" y="40"/>
                  </a:lnTo>
                  <a:lnTo>
                    <a:pt x="12" y="42"/>
                  </a:lnTo>
                  <a:lnTo>
                    <a:pt x="13" y="43"/>
                  </a:lnTo>
                  <a:lnTo>
                    <a:pt x="13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7" y="49"/>
                  </a:lnTo>
                  <a:lnTo>
                    <a:pt x="19" y="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5" name="Freeform 156"/>
            <p:cNvSpPr>
              <a:spLocks/>
            </p:cNvSpPr>
            <p:nvPr/>
          </p:nvSpPr>
          <p:spPr bwMode="auto">
            <a:xfrm>
              <a:off x="1259" y="1900"/>
              <a:ext cx="60" cy="89"/>
            </a:xfrm>
            <a:custGeom>
              <a:avLst/>
              <a:gdLst>
                <a:gd name="T0" fmla="*/ 11 w 60"/>
                <a:gd name="T1" fmla="*/ 40 h 89"/>
                <a:gd name="T2" fmla="*/ 12 w 60"/>
                <a:gd name="T3" fmla="*/ 40 h 89"/>
                <a:gd name="T4" fmla="*/ 17 w 60"/>
                <a:gd name="T5" fmla="*/ 42 h 89"/>
                <a:gd name="T6" fmla="*/ 15 w 60"/>
                <a:gd name="T7" fmla="*/ 48 h 89"/>
                <a:gd name="T8" fmla="*/ 16 w 60"/>
                <a:gd name="T9" fmla="*/ 50 h 89"/>
                <a:gd name="T10" fmla="*/ 20 w 60"/>
                <a:gd name="T11" fmla="*/ 52 h 89"/>
                <a:gd name="T12" fmla="*/ 23 w 60"/>
                <a:gd name="T13" fmla="*/ 53 h 89"/>
                <a:gd name="T14" fmla="*/ 20 w 60"/>
                <a:gd name="T15" fmla="*/ 57 h 89"/>
                <a:gd name="T16" fmla="*/ 17 w 60"/>
                <a:gd name="T17" fmla="*/ 64 h 89"/>
                <a:gd name="T18" fmla="*/ 17 w 60"/>
                <a:gd name="T19" fmla="*/ 68 h 89"/>
                <a:gd name="T20" fmla="*/ 17 w 60"/>
                <a:gd name="T21" fmla="*/ 72 h 89"/>
                <a:gd name="T22" fmla="*/ 17 w 60"/>
                <a:gd name="T23" fmla="*/ 76 h 89"/>
                <a:gd name="T24" fmla="*/ 22 w 60"/>
                <a:gd name="T25" fmla="*/ 80 h 89"/>
                <a:gd name="T26" fmla="*/ 23 w 60"/>
                <a:gd name="T27" fmla="*/ 84 h 89"/>
                <a:gd name="T28" fmla="*/ 30 w 60"/>
                <a:gd name="T29" fmla="*/ 89 h 89"/>
                <a:gd name="T30" fmla="*/ 32 w 60"/>
                <a:gd name="T31" fmla="*/ 87 h 89"/>
                <a:gd name="T32" fmla="*/ 36 w 60"/>
                <a:gd name="T33" fmla="*/ 87 h 89"/>
                <a:gd name="T34" fmla="*/ 38 w 60"/>
                <a:gd name="T35" fmla="*/ 84 h 89"/>
                <a:gd name="T36" fmla="*/ 45 w 60"/>
                <a:gd name="T37" fmla="*/ 83 h 89"/>
                <a:gd name="T38" fmla="*/ 49 w 60"/>
                <a:gd name="T39" fmla="*/ 79 h 89"/>
                <a:gd name="T40" fmla="*/ 54 w 60"/>
                <a:gd name="T41" fmla="*/ 80 h 89"/>
                <a:gd name="T42" fmla="*/ 60 w 60"/>
                <a:gd name="T43" fmla="*/ 79 h 89"/>
                <a:gd name="T44" fmla="*/ 57 w 60"/>
                <a:gd name="T45" fmla="*/ 76 h 89"/>
                <a:gd name="T46" fmla="*/ 54 w 60"/>
                <a:gd name="T47" fmla="*/ 75 h 89"/>
                <a:gd name="T48" fmla="*/ 53 w 60"/>
                <a:gd name="T49" fmla="*/ 71 h 89"/>
                <a:gd name="T50" fmla="*/ 51 w 60"/>
                <a:gd name="T51" fmla="*/ 67 h 89"/>
                <a:gd name="T52" fmla="*/ 50 w 60"/>
                <a:gd name="T53" fmla="*/ 63 h 89"/>
                <a:gd name="T54" fmla="*/ 47 w 60"/>
                <a:gd name="T55" fmla="*/ 61 h 89"/>
                <a:gd name="T56" fmla="*/ 46 w 60"/>
                <a:gd name="T57" fmla="*/ 59 h 89"/>
                <a:gd name="T58" fmla="*/ 45 w 60"/>
                <a:gd name="T59" fmla="*/ 56 h 89"/>
                <a:gd name="T60" fmla="*/ 41 w 60"/>
                <a:gd name="T61" fmla="*/ 53 h 89"/>
                <a:gd name="T62" fmla="*/ 42 w 60"/>
                <a:gd name="T63" fmla="*/ 46 h 89"/>
                <a:gd name="T64" fmla="*/ 45 w 60"/>
                <a:gd name="T65" fmla="*/ 41 h 89"/>
                <a:gd name="T66" fmla="*/ 49 w 60"/>
                <a:gd name="T67" fmla="*/ 40 h 89"/>
                <a:gd name="T68" fmla="*/ 50 w 60"/>
                <a:gd name="T69" fmla="*/ 37 h 89"/>
                <a:gd name="T70" fmla="*/ 51 w 60"/>
                <a:gd name="T71" fmla="*/ 34 h 89"/>
                <a:gd name="T72" fmla="*/ 50 w 60"/>
                <a:gd name="T73" fmla="*/ 31 h 89"/>
                <a:gd name="T74" fmla="*/ 50 w 60"/>
                <a:gd name="T75" fmla="*/ 27 h 89"/>
                <a:gd name="T76" fmla="*/ 42 w 60"/>
                <a:gd name="T77" fmla="*/ 22 h 89"/>
                <a:gd name="T78" fmla="*/ 38 w 60"/>
                <a:gd name="T79" fmla="*/ 21 h 89"/>
                <a:gd name="T80" fmla="*/ 34 w 60"/>
                <a:gd name="T81" fmla="*/ 23 h 89"/>
                <a:gd name="T82" fmla="*/ 34 w 60"/>
                <a:gd name="T83" fmla="*/ 23 h 89"/>
                <a:gd name="T84" fmla="*/ 35 w 60"/>
                <a:gd name="T85" fmla="*/ 16 h 89"/>
                <a:gd name="T86" fmla="*/ 31 w 60"/>
                <a:gd name="T87" fmla="*/ 12 h 89"/>
                <a:gd name="T88" fmla="*/ 24 w 60"/>
                <a:gd name="T89" fmla="*/ 6 h 89"/>
                <a:gd name="T90" fmla="*/ 22 w 60"/>
                <a:gd name="T91" fmla="*/ 2 h 89"/>
                <a:gd name="T92" fmla="*/ 19 w 60"/>
                <a:gd name="T93" fmla="*/ 0 h 89"/>
                <a:gd name="T94" fmla="*/ 15 w 60"/>
                <a:gd name="T95" fmla="*/ 6 h 89"/>
                <a:gd name="T96" fmla="*/ 11 w 60"/>
                <a:gd name="T97" fmla="*/ 7 h 89"/>
                <a:gd name="T98" fmla="*/ 8 w 60"/>
                <a:gd name="T99" fmla="*/ 12 h 89"/>
                <a:gd name="T100" fmla="*/ 12 w 60"/>
                <a:gd name="T101" fmla="*/ 15 h 89"/>
                <a:gd name="T102" fmla="*/ 15 w 60"/>
                <a:gd name="T103" fmla="*/ 19 h 89"/>
                <a:gd name="T104" fmla="*/ 8 w 60"/>
                <a:gd name="T105" fmla="*/ 21 h 89"/>
                <a:gd name="T106" fmla="*/ 5 w 60"/>
                <a:gd name="T107" fmla="*/ 21 h 89"/>
                <a:gd name="T108" fmla="*/ 3 w 60"/>
                <a:gd name="T109" fmla="*/ 26 h 89"/>
                <a:gd name="T110" fmla="*/ 1 w 60"/>
                <a:gd name="T111" fmla="*/ 31 h 89"/>
                <a:gd name="T112" fmla="*/ 9 w 60"/>
                <a:gd name="T113" fmla="*/ 4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" h="89">
                  <a:moveTo>
                    <a:pt x="9" y="40"/>
                  </a:moveTo>
                  <a:lnTo>
                    <a:pt x="11" y="40"/>
                  </a:lnTo>
                  <a:lnTo>
                    <a:pt x="11" y="41"/>
                  </a:lnTo>
                  <a:lnTo>
                    <a:pt x="12" y="40"/>
                  </a:lnTo>
                  <a:lnTo>
                    <a:pt x="15" y="40"/>
                  </a:lnTo>
                  <a:lnTo>
                    <a:pt x="17" y="42"/>
                  </a:lnTo>
                  <a:lnTo>
                    <a:pt x="17" y="45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6" y="50"/>
                  </a:lnTo>
                  <a:lnTo>
                    <a:pt x="19" y="50"/>
                  </a:lnTo>
                  <a:lnTo>
                    <a:pt x="20" y="52"/>
                  </a:lnTo>
                  <a:lnTo>
                    <a:pt x="20" y="53"/>
                  </a:lnTo>
                  <a:lnTo>
                    <a:pt x="23" y="53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20" y="60"/>
                  </a:lnTo>
                  <a:lnTo>
                    <a:pt x="17" y="64"/>
                  </a:lnTo>
                  <a:lnTo>
                    <a:pt x="17" y="67"/>
                  </a:lnTo>
                  <a:lnTo>
                    <a:pt x="17" y="68"/>
                  </a:lnTo>
                  <a:lnTo>
                    <a:pt x="17" y="71"/>
                  </a:lnTo>
                  <a:lnTo>
                    <a:pt x="17" y="72"/>
                  </a:lnTo>
                  <a:lnTo>
                    <a:pt x="17" y="74"/>
                  </a:lnTo>
                  <a:lnTo>
                    <a:pt x="17" y="76"/>
                  </a:lnTo>
                  <a:lnTo>
                    <a:pt x="19" y="78"/>
                  </a:lnTo>
                  <a:lnTo>
                    <a:pt x="22" y="80"/>
                  </a:lnTo>
                  <a:lnTo>
                    <a:pt x="22" y="82"/>
                  </a:lnTo>
                  <a:lnTo>
                    <a:pt x="23" y="84"/>
                  </a:lnTo>
                  <a:lnTo>
                    <a:pt x="28" y="89"/>
                  </a:lnTo>
                  <a:lnTo>
                    <a:pt x="30" y="89"/>
                  </a:lnTo>
                  <a:lnTo>
                    <a:pt x="31" y="87"/>
                  </a:lnTo>
                  <a:lnTo>
                    <a:pt x="32" y="87"/>
                  </a:lnTo>
                  <a:lnTo>
                    <a:pt x="34" y="87"/>
                  </a:lnTo>
                  <a:lnTo>
                    <a:pt x="36" y="87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41" y="83"/>
                  </a:lnTo>
                  <a:lnTo>
                    <a:pt x="45" y="83"/>
                  </a:lnTo>
                  <a:lnTo>
                    <a:pt x="46" y="80"/>
                  </a:lnTo>
                  <a:lnTo>
                    <a:pt x="49" y="79"/>
                  </a:lnTo>
                  <a:lnTo>
                    <a:pt x="53" y="79"/>
                  </a:lnTo>
                  <a:lnTo>
                    <a:pt x="54" y="80"/>
                  </a:lnTo>
                  <a:lnTo>
                    <a:pt x="56" y="79"/>
                  </a:lnTo>
                  <a:lnTo>
                    <a:pt x="60" y="79"/>
                  </a:lnTo>
                  <a:lnTo>
                    <a:pt x="58" y="78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4" y="75"/>
                  </a:lnTo>
                  <a:lnTo>
                    <a:pt x="54" y="72"/>
                  </a:lnTo>
                  <a:lnTo>
                    <a:pt x="53" y="71"/>
                  </a:lnTo>
                  <a:lnTo>
                    <a:pt x="51" y="69"/>
                  </a:lnTo>
                  <a:lnTo>
                    <a:pt x="51" y="67"/>
                  </a:lnTo>
                  <a:lnTo>
                    <a:pt x="50" y="64"/>
                  </a:lnTo>
                  <a:lnTo>
                    <a:pt x="50" y="63"/>
                  </a:lnTo>
                  <a:lnTo>
                    <a:pt x="49" y="61"/>
                  </a:lnTo>
                  <a:lnTo>
                    <a:pt x="47" y="61"/>
                  </a:lnTo>
                  <a:lnTo>
                    <a:pt x="46" y="60"/>
                  </a:lnTo>
                  <a:lnTo>
                    <a:pt x="46" y="59"/>
                  </a:lnTo>
                  <a:lnTo>
                    <a:pt x="45" y="57"/>
                  </a:lnTo>
                  <a:lnTo>
                    <a:pt x="45" y="56"/>
                  </a:lnTo>
                  <a:lnTo>
                    <a:pt x="43" y="55"/>
                  </a:lnTo>
                  <a:lnTo>
                    <a:pt x="41" y="53"/>
                  </a:lnTo>
                  <a:lnTo>
                    <a:pt x="41" y="52"/>
                  </a:lnTo>
                  <a:lnTo>
                    <a:pt x="42" y="46"/>
                  </a:lnTo>
                  <a:lnTo>
                    <a:pt x="43" y="44"/>
                  </a:lnTo>
                  <a:lnTo>
                    <a:pt x="45" y="41"/>
                  </a:lnTo>
                  <a:lnTo>
                    <a:pt x="47" y="41"/>
                  </a:lnTo>
                  <a:lnTo>
                    <a:pt x="49" y="40"/>
                  </a:lnTo>
                  <a:lnTo>
                    <a:pt x="51" y="38"/>
                  </a:lnTo>
                  <a:lnTo>
                    <a:pt x="50" y="37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0" y="31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46" y="26"/>
                  </a:lnTo>
                  <a:lnTo>
                    <a:pt x="42" y="22"/>
                  </a:lnTo>
                  <a:lnTo>
                    <a:pt x="39" y="21"/>
                  </a:lnTo>
                  <a:lnTo>
                    <a:pt x="38" y="21"/>
                  </a:lnTo>
                  <a:lnTo>
                    <a:pt x="35" y="22"/>
                  </a:lnTo>
                  <a:lnTo>
                    <a:pt x="34" y="23"/>
                  </a:lnTo>
                  <a:lnTo>
                    <a:pt x="34" y="26"/>
                  </a:lnTo>
                  <a:lnTo>
                    <a:pt x="34" y="23"/>
                  </a:lnTo>
                  <a:lnTo>
                    <a:pt x="34" y="19"/>
                  </a:lnTo>
                  <a:lnTo>
                    <a:pt x="35" y="16"/>
                  </a:lnTo>
                  <a:lnTo>
                    <a:pt x="34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4" y="6"/>
                  </a:lnTo>
                  <a:lnTo>
                    <a:pt x="23" y="3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5" y="6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6"/>
                  </a:lnTo>
                  <a:lnTo>
                    <a:pt x="15" y="19"/>
                  </a:lnTo>
                  <a:lnTo>
                    <a:pt x="11" y="22"/>
                  </a:lnTo>
                  <a:lnTo>
                    <a:pt x="8" y="21"/>
                  </a:lnTo>
                  <a:lnTo>
                    <a:pt x="7" y="22"/>
                  </a:lnTo>
                  <a:lnTo>
                    <a:pt x="5" y="21"/>
                  </a:lnTo>
                  <a:lnTo>
                    <a:pt x="4" y="23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1" y="31"/>
                  </a:lnTo>
                  <a:lnTo>
                    <a:pt x="4" y="36"/>
                  </a:lnTo>
                  <a:lnTo>
                    <a:pt x="9" y="40"/>
                  </a:lnTo>
                  <a:lnTo>
                    <a:pt x="9" y="4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6" name="Freeform 157"/>
            <p:cNvSpPr>
              <a:spLocks/>
            </p:cNvSpPr>
            <p:nvPr/>
          </p:nvSpPr>
          <p:spPr bwMode="auto">
            <a:xfrm>
              <a:off x="1121" y="1855"/>
              <a:ext cx="157" cy="140"/>
            </a:xfrm>
            <a:custGeom>
              <a:avLst/>
              <a:gdLst>
                <a:gd name="T0" fmla="*/ 83 w 157"/>
                <a:gd name="T1" fmla="*/ 140 h 140"/>
                <a:gd name="T2" fmla="*/ 97 w 157"/>
                <a:gd name="T3" fmla="*/ 132 h 140"/>
                <a:gd name="T4" fmla="*/ 112 w 157"/>
                <a:gd name="T5" fmla="*/ 123 h 140"/>
                <a:gd name="T6" fmla="*/ 107 w 157"/>
                <a:gd name="T7" fmla="*/ 119 h 140"/>
                <a:gd name="T8" fmla="*/ 104 w 157"/>
                <a:gd name="T9" fmla="*/ 105 h 140"/>
                <a:gd name="T10" fmla="*/ 97 w 157"/>
                <a:gd name="T11" fmla="*/ 97 h 140"/>
                <a:gd name="T12" fmla="*/ 112 w 157"/>
                <a:gd name="T13" fmla="*/ 101 h 140"/>
                <a:gd name="T14" fmla="*/ 126 w 157"/>
                <a:gd name="T15" fmla="*/ 95 h 140"/>
                <a:gd name="T16" fmla="*/ 141 w 157"/>
                <a:gd name="T17" fmla="*/ 94 h 140"/>
                <a:gd name="T18" fmla="*/ 142 w 157"/>
                <a:gd name="T19" fmla="*/ 81 h 140"/>
                <a:gd name="T20" fmla="*/ 142 w 157"/>
                <a:gd name="T21" fmla="*/ 68 h 140"/>
                <a:gd name="T22" fmla="*/ 149 w 157"/>
                <a:gd name="T23" fmla="*/ 67 h 140"/>
                <a:gd name="T24" fmla="*/ 147 w 157"/>
                <a:gd name="T25" fmla="*/ 60 h 140"/>
                <a:gd name="T26" fmla="*/ 150 w 157"/>
                <a:gd name="T27" fmla="*/ 52 h 140"/>
                <a:gd name="T28" fmla="*/ 155 w 157"/>
                <a:gd name="T29" fmla="*/ 45 h 140"/>
                <a:gd name="T30" fmla="*/ 146 w 157"/>
                <a:gd name="T31" fmla="*/ 44 h 140"/>
                <a:gd name="T32" fmla="*/ 136 w 157"/>
                <a:gd name="T33" fmla="*/ 44 h 140"/>
                <a:gd name="T34" fmla="*/ 141 w 157"/>
                <a:gd name="T35" fmla="*/ 42 h 140"/>
                <a:gd name="T36" fmla="*/ 143 w 157"/>
                <a:gd name="T37" fmla="*/ 37 h 140"/>
                <a:gd name="T38" fmla="*/ 135 w 157"/>
                <a:gd name="T39" fmla="*/ 32 h 140"/>
                <a:gd name="T40" fmla="*/ 130 w 157"/>
                <a:gd name="T41" fmla="*/ 29 h 140"/>
                <a:gd name="T42" fmla="*/ 124 w 157"/>
                <a:gd name="T43" fmla="*/ 27 h 140"/>
                <a:gd name="T44" fmla="*/ 121 w 157"/>
                <a:gd name="T45" fmla="*/ 22 h 140"/>
                <a:gd name="T46" fmla="*/ 132 w 157"/>
                <a:gd name="T47" fmla="*/ 18 h 140"/>
                <a:gd name="T48" fmla="*/ 117 w 157"/>
                <a:gd name="T49" fmla="*/ 18 h 140"/>
                <a:gd name="T50" fmla="*/ 104 w 157"/>
                <a:gd name="T51" fmla="*/ 22 h 140"/>
                <a:gd name="T52" fmla="*/ 96 w 157"/>
                <a:gd name="T53" fmla="*/ 26 h 140"/>
                <a:gd name="T54" fmla="*/ 86 w 157"/>
                <a:gd name="T55" fmla="*/ 21 h 140"/>
                <a:gd name="T56" fmla="*/ 63 w 157"/>
                <a:gd name="T57" fmla="*/ 22 h 140"/>
                <a:gd name="T58" fmla="*/ 60 w 157"/>
                <a:gd name="T59" fmla="*/ 18 h 140"/>
                <a:gd name="T60" fmla="*/ 51 w 157"/>
                <a:gd name="T61" fmla="*/ 11 h 140"/>
                <a:gd name="T62" fmla="*/ 43 w 157"/>
                <a:gd name="T63" fmla="*/ 7 h 140"/>
                <a:gd name="T64" fmla="*/ 37 w 157"/>
                <a:gd name="T65" fmla="*/ 2 h 140"/>
                <a:gd name="T66" fmla="*/ 39 w 157"/>
                <a:gd name="T67" fmla="*/ 7 h 140"/>
                <a:gd name="T68" fmla="*/ 40 w 157"/>
                <a:gd name="T69" fmla="*/ 13 h 140"/>
                <a:gd name="T70" fmla="*/ 36 w 157"/>
                <a:gd name="T71" fmla="*/ 11 h 140"/>
                <a:gd name="T72" fmla="*/ 21 w 157"/>
                <a:gd name="T73" fmla="*/ 18 h 140"/>
                <a:gd name="T74" fmla="*/ 24 w 157"/>
                <a:gd name="T75" fmla="*/ 30 h 140"/>
                <a:gd name="T76" fmla="*/ 17 w 157"/>
                <a:gd name="T77" fmla="*/ 38 h 140"/>
                <a:gd name="T78" fmla="*/ 15 w 157"/>
                <a:gd name="T79" fmla="*/ 29 h 140"/>
                <a:gd name="T80" fmla="*/ 18 w 157"/>
                <a:gd name="T81" fmla="*/ 17 h 140"/>
                <a:gd name="T82" fmla="*/ 15 w 157"/>
                <a:gd name="T83" fmla="*/ 11 h 140"/>
                <a:gd name="T84" fmla="*/ 25 w 157"/>
                <a:gd name="T85" fmla="*/ 4 h 140"/>
                <a:gd name="T86" fmla="*/ 13 w 157"/>
                <a:gd name="T87" fmla="*/ 13 h 140"/>
                <a:gd name="T88" fmla="*/ 6 w 157"/>
                <a:gd name="T89" fmla="*/ 19 h 140"/>
                <a:gd name="T90" fmla="*/ 2 w 157"/>
                <a:gd name="T91" fmla="*/ 33 h 140"/>
                <a:gd name="T92" fmla="*/ 3 w 157"/>
                <a:gd name="T93" fmla="*/ 37 h 140"/>
                <a:gd name="T94" fmla="*/ 10 w 157"/>
                <a:gd name="T95" fmla="*/ 53 h 140"/>
                <a:gd name="T96" fmla="*/ 13 w 157"/>
                <a:gd name="T97" fmla="*/ 60 h 140"/>
                <a:gd name="T98" fmla="*/ 22 w 157"/>
                <a:gd name="T99" fmla="*/ 63 h 140"/>
                <a:gd name="T100" fmla="*/ 32 w 157"/>
                <a:gd name="T101" fmla="*/ 61 h 140"/>
                <a:gd name="T102" fmla="*/ 49 w 157"/>
                <a:gd name="T103" fmla="*/ 72 h 140"/>
                <a:gd name="T104" fmla="*/ 55 w 157"/>
                <a:gd name="T105" fmla="*/ 74 h 140"/>
                <a:gd name="T106" fmla="*/ 63 w 157"/>
                <a:gd name="T107" fmla="*/ 72 h 140"/>
                <a:gd name="T108" fmla="*/ 67 w 157"/>
                <a:gd name="T109" fmla="*/ 79 h 140"/>
                <a:gd name="T110" fmla="*/ 63 w 157"/>
                <a:gd name="T111" fmla="*/ 86 h 140"/>
                <a:gd name="T112" fmla="*/ 63 w 157"/>
                <a:gd name="T113" fmla="*/ 98 h 140"/>
                <a:gd name="T114" fmla="*/ 63 w 157"/>
                <a:gd name="T115" fmla="*/ 114 h 140"/>
                <a:gd name="T116" fmla="*/ 66 w 157"/>
                <a:gd name="T117" fmla="*/ 116 h 140"/>
                <a:gd name="T118" fmla="*/ 68 w 157"/>
                <a:gd name="T119" fmla="*/ 123 h 140"/>
                <a:gd name="T120" fmla="*/ 73 w 157"/>
                <a:gd name="T121" fmla="*/ 13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7" h="140">
                  <a:moveTo>
                    <a:pt x="73" y="134"/>
                  </a:moveTo>
                  <a:lnTo>
                    <a:pt x="77" y="136"/>
                  </a:lnTo>
                  <a:lnTo>
                    <a:pt x="81" y="140"/>
                  </a:lnTo>
                  <a:lnTo>
                    <a:pt x="83" y="140"/>
                  </a:lnTo>
                  <a:lnTo>
                    <a:pt x="89" y="140"/>
                  </a:lnTo>
                  <a:lnTo>
                    <a:pt x="92" y="136"/>
                  </a:lnTo>
                  <a:lnTo>
                    <a:pt x="96" y="134"/>
                  </a:lnTo>
                  <a:lnTo>
                    <a:pt x="97" y="132"/>
                  </a:lnTo>
                  <a:lnTo>
                    <a:pt x="104" y="128"/>
                  </a:lnTo>
                  <a:lnTo>
                    <a:pt x="104" y="125"/>
                  </a:lnTo>
                  <a:lnTo>
                    <a:pt x="107" y="124"/>
                  </a:lnTo>
                  <a:lnTo>
                    <a:pt x="112" y="123"/>
                  </a:lnTo>
                  <a:lnTo>
                    <a:pt x="115" y="121"/>
                  </a:lnTo>
                  <a:lnTo>
                    <a:pt x="115" y="119"/>
                  </a:lnTo>
                  <a:lnTo>
                    <a:pt x="111" y="119"/>
                  </a:lnTo>
                  <a:lnTo>
                    <a:pt x="107" y="119"/>
                  </a:lnTo>
                  <a:lnTo>
                    <a:pt x="101" y="117"/>
                  </a:lnTo>
                  <a:lnTo>
                    <a:pt x="102" y="113"/>
                  </a:lnTo>
                  <a:lnTo>
                    <a:pt x="101" y="110"/>
                  </a:lnTo>
                  <a:lnTo>
                    <a:pt x="104" y="105"/>
                  </a:lnTo>
                  <a:lnTo>
                    <a:pt x="104" y="104"/>
                  </a:lnTo>
                  <a:lnTo>
                    <a:pt x="101" y="101"/>
                  </a:lnTo>
                  <a:lnTo>
                    <a:pt x="98" y="100"/>
                  </a:lnTo>
                  <a:lnTo>
                    <a:pt x="97" y="97"/>
                  </a:lnTo>
                  <a:lnTo>
                    <a:pt x="100" y="98"/>
                  </a:lnTo>
                  <a:lnTo>
                    <a:pt x="104" y="98"/>
                  </a:lnTo>
                  <a:lnTo>
                    <a:pt x="108" y="101"/>
                  </a:lnTo>
                  <a:lnTo>
                    <a:pt x="112" y="101"/>
                  </a:lnTo>
                  <a:lnTo>
                    <a:pt x="117" y="100"/>
                  </a:lnTo>
                  <a:lnTo>
                    <a:pt x="119" y="101"/>
                  </a:lnTo>
                  <a:lnTo>
                    <a:pt x="121" y="100"/>
                  </a:lnTo>
                  <a:lnTo>
                    <a:pt x="126" y="95"/>
                  </a:lnTo>
                  <a:lnTo>
                    <a:pt x="130" y="95"/>
                  </a:lnTo>
                  <a:lnTo>
                    <a:pt x="131" y="97"/>
                  </a:lnTo>
                  <a:lnTo>
                    <a:pt x="136" y="94"/>
                  </a:lnTo>
                  <a:lnTo>
                    <a:pt x="141" y="94"/>
                  </a:lnTo>
                  <a:lnTo>
                    <a:pt x="146" y="90"/>
                  </a:lnTo>
                  <a:lnTo>
                    <a:pt x="147" y="87"/>
                  </a:lnTo>
                  <a:lnTo>
                    <a:pt x="147" y="85"/>
                  </a:lnTo>
                  <a:lnTo>
                    <a:pt x="142" y="81"/>
                  </a:lnTo>
                  <a:lnTo>
                    <a:pt x="139" y="76"/>
                  </a:lnTo>
                  <a:lnTo>
                    <a:pt x="138" y="74"/>
                  </a:lnTo>
                  <a:lnTo>
                    <a:pt x="141" y="71"/>
                  </a:lnTo>
                  <a:lnTo>
                    <a:pt x="142" y="68"/>
                  </a:lnTo>
                  <a:lnTo>
                    <a:pt x="143" y="66"/>
                  </a:lnTo>
                  <a:lnTo>
                    <a:pt x="145" y="67"/>
                  </a:lnTo>
                  <a:lnTo>
                    <a:pt x="146" y="66"/>
                  </a:lnTo>
                  <a:lnTo>
                    <a:pt x="149" y="67"/>
                  </a:lnTo>
                  <a:lnTo>
                    <a:pt x="153" y="64"/>
                  </a:lnTo>
                  <a:lnTo>
                    <a:pt x="153" y="61"/>
                  </a:lnTo>
                  <a:lnTo>
                    <a:pt x="150" y="60"/>
                  </a:lnTo>
                  <a:lnTo>
                    <a:pt x="147" y="60"/>
                  </a:lnTo>
                  <a:lnTo>
                    <a:pt x="146" y="57"/>
                  </a:lnTo>
                  <a:lnTo>
                    <a:pt x="146" y="56"/>
                  </a:lnTo>
                  <a:lnTo>
                    <a:pt x="149" y="52"/>
                  </a:lnTo>
                  <a:lnTo>
                    <a:pt x="150" y="52"/>
                  </a:lnTo>
                  <a:lnTo>
                    <a:pt x="153" y="51"/>
                  </a:lnTo>
                  <a:lnTo>
                    <a:pt x="157" y="47"/>
                  </a:lnTo>
                  <a:lnTo>
                    <a:pt x="157" y="45"/>
                  </a:lnTo>
                  <a:lnTo>
                    <a:pt x="155" y="45"/>
                  </a:lnTo>
                  <a:lnTo>
                    <a:pt x="151" y="42"/>
                  </a:lnTo>
                  <a:lnTo>
                    <a:pt x="150" y="42"/>
                  </a:lnTo>
                  <a:lnTo>
                    <a:pt x="149" y="44"/>
                  </a:lnTo>
                  <a:lnTo>
                    <a:pt x="146" y="44"/>
                  </a:lnTo>
                  <a:lnTo>
                    <a:pt x="145" y="44"/>
                  </a:lnTo>
                  <a:lnTo>
                    <a:pt x="143" y="44"/>
                  </a:lnTo>
                  <a:lnTo>
                    <a:pt x="139" y="45"/>
                  </a:lnTo>
                  <a:lnTo>
                    <a:pt x="136" y="44"/>
                  </a:lnTo>
                  <a:lnTo>
                    <a:pt x="135" y="44"/>
                  </a:lnTo>
                  <a:lnTo>
                    <a:pt x="138" y="44"/>
                  </a:lnTo>
                  <a:lnTo>
                    <a:pt x="139" y="44"/>
                  </a:lnTo>
                  <a:lnTo>
                    <a:pt x="141" y="42"/>
                  </a:lnTo>
                  <a:lnTo>
                    <a:pt x="142" y="41"/>
                  </a:lnTo>
                  <a:lnTo>
                    <a:pt x="143" y="40"/>
                  </a:lnTo>
                  <a:lnTo>
                    <a:pt x="145" y="38"/>
                  </a:lnTo>
                  <a:lnTo>
                    <a:pt x="143" y="37"/>
                  </a:lnTo>
                  <a:lnTo>
                    <a:pt x="143" y="36"/>
                  </a:lnTo>
                  <a:lnTo>
                    <a:pt x="142" y="34"/>
                  </a:lnTo>
                  <a:lnTo>
                    <a:pt x="139" y="33"/>
                  </a:lnTo>
                  <a:lnTo>
                    <a:pt x="135" y="32"/>
                  </a:lnTo>
                  <a:lnTo>
                    <a:pt x="134" y="30"/>
                  </a:lnTo>
                  <a:lnTo>
                    <a:pt x="132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27" y="27"/>
                  </a:lnTo>
                  <a:lnTo>
                    <a:pt x="126" y="27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3" y="25"/>
                  </a:lnTo>
                  <a:lnTo>
                    <a:pt x="121" y="23"/>
                  </a:lnTo>
                  <a:lnTo>
                    <a:pt x="120" y="22"/>
                  </a:lnTo>
                  <a:lnTo>
                    <a:pt x="121" y="22"/>
                  </a:lnTo>
                  <a:lnTo>
                    <a:pt x="127" y="22"/>
                  </a:lnTo>
                  <a:lnTo>
                    <a:pt x="128" y="21"/>
                  </a:lnTo>
                  <a:lnTo>
                    <a:pt x="132" y="21"/>
                  </a:lnTo>
                  <a:lnTo>
                    <a:pt x="132" y="18"/>
                  </a:lnTo>
                  <a:lnTo>
                    <a:pt x="130" y="19"/>
                  </a:lnTo>
                  <a:lnTo>
                    <a:pt x="124" y="18"/>
                  </a:lnTo>
                  <a:lnTo>
                    <a:pt x="120" y="18"/>
                  </a:lnTo>
                  <a:lnTo>
                    <a:pt x="117" y="18"/>
                  </a:lnTo>
                  <a:lnTo>
                    <a:pt x="113" y="19"/>
                  </a:lnTo>
                  <a:lnTo>
                    <a:pt x="111" y="19"/>
                  </a:lnTo>
                  <a:lnTo>
                    <a:pt x="109" y="19"/>
                  </a:lnTo>
                  <a:lnTo>
                    <a:pt x="104" y="22"/>
                  </a:lnTo>
                  <a:lnTo>
                    <a:pt x="102" y="23"/>
                  </a:lnTo>
                  <a:lnTo>
                    <a:pt x="100" y="25"/>
                  </a:lnTo>
                  <a:lnTo>
                    <a:pt x="98" y="25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3" y="26"/>
                  </a:lnTo>
                  <a:lnTo>
                    <a:pt x="87" y="22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79" y="21"/>
                  </a:lnTo>
                  <a:lnTo>
                    <a:pt x="68" y="22"/>
                  </a:lnTo>
                  <a:lnTo>
                    <a:pt x="63" y="22"/>
                  </a:lnTo>
                  <a:lnTo>
                    <a:pt x="60" y="21"/>
                  </a:lnTo>
                  <a:lnTo>
                    <a:pt x="59" y="19"/>
                  </a:lnTo>
                  <a:lnTo>
                    <a:pt x="59" y="18"/>
                  </a:lnTo>
                  <a:lnTo>
                    <a:pt x="60" y="18"/>
                  </a:lnTo>
                  <a:lnTo>
                    <a:pt x="60" y="15"/>
                  </a:lnTo>
                  <a:lnTo>
                    <a:pt x="58" y="13"/>
                  </a:lnTo>
                  <a:lnTo>
                    <a:pt x="56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4" y="11"/>
                  </a:lnTo>
                  <a:lnTo>
                    <a:pt x="43" y="7"/>
                  </a:lnTo>
                  <a:lnTo>
                    <a:pt x="43" y="4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9" y="7"/>
                  </a:lnTo>
                  <a:lnTo>
                    <a:pt x="40" y="8"/>
                  </a:lnTo>
                  <a:lnTo>
                    <a:pt x="43" y="10"/>
                  </a:lnTo>
                  <a:lnTo>
                    <a:pt x="41" y="11"/>
                  </a:lnTo>
                  <a:lnTo>
                    <a:pt x="40" y="13"/>
                  </a:lnTo>
                  <a:lnTo>
                    <a:pt x="37" y="11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3" y="13"/>
                  </a:lnTo>
                  <a:lnTo>
                    <a:pt x="28" y="14"/>
                  </a:lnTo>
                  <a:lnTo>
                    <a:pt x="22" y="17"/>
                  </a:lnTo>
                  <a:lnTo>
                    <a:pt x="21" y="18"/>
                  </a:lnTo>
                  <a:lnTo>
                    <a:pt x="21" y="21"/>
                  </a:lnTo>
                  <a:lnTo>
                    <a:pt x="22" y="22"/>
                  </a:lnTo>
                  <a:lnTo>
                    <a:pt x="22" y="27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2" y="37"/>
                  </a:lnTo>
                  <a:lnTo>
                    <a:pt x="18" y="40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4" y="33"/>
                  </a:lnTo>
                  <a:lnTo>
                    <a:pt x="13" y="30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9" y="23"/>
                  </a:lnTo>
                  <a:lnTo>
                    <a:pt x="19" y="19"/>
                  </a:lnTo>
                  <a:lnTo>
                    <a:pt x="18" y="17"/>
                  </a:lnTo>
                  <a:lnTo>
                    <a:pt x="18" y="15"/>
                  </a:lnTo>
                  <a:lnTo>
                    <a:pt x="18" y="14"/>
                  </a:lnTo>
                  <a:lnTo>
                    <a:pt x="17" y="13"/>
                  </a:lnTo>
                  <a:lnTo>
                    <a:pt x="15" y="11"/>
                  </a:lnTo>
                  <a:lnTo>
                    <a:pt x="17" y="10"/>
                  </a:lnTo>
                  <a:lnTo>
                    <a:pt x="19" y="8"/>
                  </a:lnTo>
                  <a:lnTo>
                    <a:pt x="22" y="7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17" y="7"/>
                  </a:lnTo>
                  <a:lnTo>
                    <a:pt x="13" y="13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9" y="17"/>
                  </a:lnTo>
                  <a:lnTo>
                    <a:pt x="6" y="19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3" y="29"/>
                  </a:lnTo>
                  <a:lnTo>
                    <a:pt x="2" y="33"/>
                  </a:lnTo>
                  <a:lnTo>
                    <a:pt x="0" y="36"/>
                  </a:lnTo>
                  <a:lnTo>
                    <a:pt x="0" y="37"/>
                  </a:lnTo>
                  <a:lnTo>
                    <a:pt x="2" y="37"/>
                  </a:lnTo>
                  <a:lnTo>
                    <a:pt x="3" y="37"/>
                  </a:lnTo>
                  <a:lnTo>
                    <a:pt x="9" y="45"/>
                  </a:lnTo>
                  <a:lnTo>
                    <a:pt x="10" y="49"/>
                  </a:lnTo>
                  <a:lnTo>
                    <a:pt x="11" y="51"/>
                  </a:lnTo>
                  <a:lnTo>
                    <a:pt x="10" y="53"/>
                  </a:lnTo>
                  <a:lnTo>
                    <a:pt x="10" y="55"/>
                  </a:lnTo>
                  <a:lnTo>
                    <a:pt x="9" y="56"/>
                  </a:lnTo>
                  <a:lnTo>
                    <a:pt x="10" y="59"/>
                  </a:lnTo>
                  <a:lnTo>
                    <a:pt x="13" y="60"/>
                  </a:lnTo>
                  <a:lnTo>
                    <a:pt x="15" y="61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22" y="63"/>
                  </a:lnTo>
                  <a:lnTo>
                    <a:pt x="25" y="63"/>
                  </a:lnTo>
                  <a:lnTo>
                    <a:pt x="28" y="63"/>
                  </a:lnTo>
                  <a:lnTo>
                    <a:pt x="29" y="63"/>
                  </a:lnTo>
                  <a:lnTo>
                    <a:pt x="32" y="61"/>
                  </a:lnTo>
                  <a:lnTo>
                    <a:pt x="36" y="63"/>
                  </a:lnTo>
                  <a:lnTo>
                    <a:pt x="37" y="64"/>
                  </a:lnTo>
                  <a:lnTo>
                    <a:pt x="47" y="72"/>
                  </a:lnTo>
                  <a:lnTo>
                    <a:pt x="49" y="72"/>
                  </a:lnTo>
                  <a:lnTo>
                    <a:pt x="51" y="72"/>
                  </a:lnTo>
                  <a:lnTo>
                    <a:pt x="52" y="72"/>
                  </a:lnTo>
                  <a:lnTo>
                    <a:pt x="53" y="72"/>
                  </a:lnTo>
                  <a:lnTo>
                    <a:pt x="55" y="74"/>
                  </a:lnTo>
                  <a:lnTo>
                    <a:pt x="58" y="72"/>
                  </a:lnTo>
                  <a:lnTo>
                    <a:pt x="60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8" y="78"/>
                  </a:lnTo>
                  <a:lnTo>
                    <a:pt x="67" y="79"/>
                  </a:lnTo>
                  <a:lnTo>
                    <a:pt x="67" y="82"/>
                  </a:lnTo>
                  <a:lnTo>
                    <a:pt x="67" y="83"/>
                  </a:lnTo>
                  <a:lnTo>
                    <a:pt x="64" y="83"/>
                  </a:lnTo>
                  <a:lnTo>
                    <a:pt x="63" y="86"/>
                  </a:lnTo>
                  <a:lnTo>
                    <a:pt x="63" y="90"/>
                  </a:lnTo>
                  <a:lnTo>
                    <a:pt x="63" y="91"/>
                  </a:lnTo>
                  <a:lnTo>
                    <a:pt x="63" y="94"/>
                  </a:lnTo>
                  <a:lnTo>
                    <a:pt x="63" y="98"/>
                  </a:lnTo>
                  <a:lnTo>
                    <a:pt x="64" y="100"/>
                  </a:lnTo>
                  <a:lnTo>
                    <a:pt x="64" y="101"/>
                  </a:lnTo>
                  <a:lnTo>
                    <a:pt x="67" y="108"/>
                  </a:lnTo>
                  <a:lnTo>
                    <a:pt x="63" y="114"/>
                  </a:lnTo>
                  <a:lnTo>
                    <a:pt x="63" y="116"/>
                  </a:lnTo>
                  <a:lnTo>
                    <a:pt x="64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7" y="117"/>
                  </a:lnTo>
                  <a:lnTo>
                    <a:pt x="67" y="119"/>
                  </a:lnTo>
                  <a:lnTo>
                    <a:pt x="68" y="121"/>
                  </a:lnTo>
                  <a:lnTo>
                    <a:pt x="68" y="123"/>
                  </a:lnTo>
                  <a:lnTo>
                    <a:pt x="70" y="125"/>
                  </a:lnTo>
                  <a:lnTo>
                    <a:pt x="73" y="131"/>
                  </a:lnTo>
                  <a:lnTo>
                    <a:pt x="73" y="134"/>
                  </a:lnTo>
                  <a:lnTo>
                    <a:pt x="73" y="134"/>
                  </a:lnTo>
                  <a:lnTo>
                    <a:pt x="73" y="1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7" name="Freeform 158"/>
            <p:cNvSpPr>
              <a:spLocks/>
            </p:cNvSpPr>
            <p:nvPr/>
          </p:nvSpPr>
          <p:spPr bwMode="auto">
            <a:xfrm>
              <a:off x="1052" y="1853"/>
              <a:ext cx="142" cy="201"/>
            </a:xfrm>
            <a:custGeom>
              <a:avLst/>
              <a:gdLst>
                <a:gd name="T0" fmla="*/ 114 w 142"/>
                <a:gd name="T1" fmla="*/ 164 h 201"/>
                <a:gd name="T2" fmla="*/ 113 w 142"/>
                <a:gd name="T3" fmla="*/ 144 h 201"/>
                <a:gd name="T4" fmla="*/ 114 w 142"/>
                <a:gd name="T5" fmla="*/ 137 h 201"/>
                <a:gd name="T6" fmla="*/ 124 w 142"/>
                <a:gd name="T7" fmla="*/ 127 h 201"/>
                <a:gd name="T8" fmla="*/ 135 w 142"/>
                <a:gd name="T9" fmla="*/ 126 h 201"/>
                <a:gd name="T10" fmla="*/ 142 w 142"/>
                <a:gd name="T11" fmla="*/ 136 h 201"/>
                <a:gd name="T12" fmla="*/ 136 w 142"/>
                <a:gd name="T13" fmla="*/ 121 h 201"/>
                <a:gd name="T14" fmla="*/ 132 w 142"/>
                <a:gd name="T15" fmla="*/ 118 h 201"/>
                <a:gd name="T16" fmla="*/ 132 w 142"/>
                <a:gd name="T17" fmla="*/ 100 h 201"/>
                <a:gd name="T18" fmla="*/ 133 w 142"/>
                <a:gd name="T19" fmla="*/ 85 h 201"/>
                <a:gd name="T20" fmla="*/ 136 w 142"/>
                <a:gd name="T21" fmla="*/ 74 h 201"/>
                <a:gd name="T22" fmla="*/ 127 w 142"/>
                <a:gd name="T23" fmla="*/ 74 h 201"/>
                <a:gd name="T24" fmla="*/ 118 w 142"/>
                <a:gd name="T25" fmla="*/ 74 h 201"/>
                <a:gd name="T26" fmla="*/ 98 w 142"/>
                <a:gd name="T27" fmla="*/ 65 h 201"/>
                <a:gd name="T28" fmla="*/ 86 w 142"/>
                <a:gd name="T29" fmla="*/ 65 h 201"/>
                <a:gd name="T30" fmla="*/ 79 w 142"/>
                <a:gd name="T31" fmla="*/ 57 h 201"/>
                <a:gd name="T32" fmla="*/ 72 w 142"/>
                <a:gd name="T33" fmla="*/ 39 h 201"/>
                <a:gd name="T34" fmla="*/ 72 w 142"/>
                <a:gd name="T35" fmla="*/ 31 h 201"/>
                <a:gd name="T36" fmla="*/ 79 w 142"/>
                <a:gd name="T37" fmla="*/ 16 h 201"/>
                <a:gd name="T38" fmla="*/ 93 w 142"/>
                <a:gd name="T39" fmla="*/ 6 h 201"/>
                <a:gd name="T40" fmla="*/ 94 w 142"/>
                <a:gd name="T41" fmla="*/ 2 h 201"/>
                <a:gd name="T42" fmla="*/ 86 w 142"/>
                <a:gd name="T43" fmla="*/ 2 h 201"/>
                <a:gd name="T44" fmla="*/ 82 w 142"/>
                <a:gd name="T45" fmla="*/ 5 h 201"/>
                <a:gd name="T46" fmla="*/ 68 w 142"/>
                <a:gd name="T47" fmla="*/ 13 h 201"/>
                <a:gd name="T48" fmla="*/ 59 w 142"/>
                <a:gd name="T49" fmla="*/ 17 h 201"/>
                <a:gd name="T50" fmla="*/ 56 w 142"/>
                <a:gd name="T51" fmla="*/ 19 h 201"/>
                <a:gd name="T52" fmla="*/ 46 w 142"/>
                <a:gd name="T53" fmla="*/ 19 h 201"/>
                <a:gd name="T54" fmla="*/ 41 w 142"/>
                <a:gd name="T55" fmla="*/ 31 h 201"/>
                <a:gd name="T56" fmla="*/ 37 w 142"/>
                <a:gd name="T57" fmla="*/ 36 h 201"/>
                <a:gd name="T58" fmla="*/ 27 w 142"/>
                <a:gd name="T59" fmla="*/ 44 h 201"/>
                <a:gd name="T60" fmla="*/ 27 w 142"/>
                <a:gd name="T61" fmla="*/ 54 h 201"/>
                <a:gd name="T62" fmla="*/ 23 w 142"/>
                <a:gd name="T63" fmla="*/ 50 h 201"/>
                <a:gd name="T64" fmla="*/ 20 w 142"/>
                <a:gd name="T65" fmla="*/ 51 h 201"/>
                <a:gd name="T66" fmla="*/ 14 w 142"/>
                <a:gd name="T67" fmla="*/ 62 h 201"/>
                <a:gd name="T68" fmla="*/ 19 w 142"/>
                <a:gd name="T69" fmla="*/ 70 h 201"/>
                <a:gd name="T70" fmla="*/ 19 w 142"/>
                <a:gd name="T71" fmla="*/ 76 h 201"/>
                <a:gd name="T72" fmla="*/ 19 w 142"/>
                <a:gd name="T73" fmla="*/ 84 h 201"/>
                <a:gd name="T74" fmla="*/ 18 w 142"/>
                <a:gd name="T75" fmla="*/ 99 h 201"/>
                <a:gd name="T76" fmla="*/ 23 w 142"/>
                <a:gd name="T77" fmla="*/ 103 h 201"/>
                <a:gd name="T78" fmla="*/ 16 w 142"/>
                <a:gd name="T79" fmla="*/ 115 h 201"/>
                <a:gd name="T80" fmla="*/ 1 w 142"/>
                <a:gd name="T81" fmla="*/ 131 h 201"/>
                <a:gd name="T82" fmla="*/ 15 w 142"/>
                <a:gd name="T83" fmla="*/ 141 h 201"/>
                <a:gd name="T84" fmla="*/ 26 w 142"/>
                <a:gd name="T85" fmla="*/ 149 h 201"/>
                <a:gd name="T86" fmla="*/ 34 w 142"/>
                <a:gd name="T87" fmla="*/ 145 h 201"/>
                <a:gd name="T88" fmla="*/ 42 w 142"/>
                <a:gd name="T89" fmla="*/ 150 h 201"/>
                <a:gd name="T90" fmla="*/ 52 w 142"/>
                <a:gd name="T91" fmla="*/ 153 h 201"/>
                <a:gd name="T92" fmla="*/ 59 w 142"/>
                <a:gd name="T93" fmla="*/ 164 h 201"/>
                <a:gd name="T94" fmla="*/ 69 w 142"/>
                <a:gd name="T95" fmla="*/ 174 h 201"/>
                <a:gd name="T96" fmla="*/ 75 w 142"/>
                <a:gd name="T97" fmla="*/ 179 h 201"/>
                <a:gd name="T98" fmla="*/ 87 w 142"/>
                <a:gd name="T99" fmla="*/ 178 h 201"/>
                <a:gd name="T100" fmla="*/ 99 w 142"/>
                <a:gd name="T101" fmla="*/ 179 h 201"/>
                <a:gd name="T102" fmla="*/ 98 w 142"/>
                <a:gd name="T103" fmla="*/ 195 h 201"/>
                <a:gd name="T104" fmla="*/ 106 w 142"/>
                <a:gd name="T105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2" h="201">
                  <a:moveTo>
                    <a:pt x="106" y="201"/>
                  </a:moveTo>
                  <a:lnTo>
                    <a:pt x="108" y="194"/>
                  </a:lnTo>
                  <a:lnTo>
                    <a:pt x="114" y="170"/>
                  </a:lnTo>
                  <a:lnTo>
                    <a:pt x="114" y="168"/>
                  </a:lnTo>
                  <a:lnTo>
                    <a:pt x="114" y="164"/>
                  </a:lnTo>
                  <a:lnTo>
                    <a:pt x="112" y="159"/>
                  </a:lnTo>
                  <a:lnTo>
                    <a:pt x="108" y="156"/>
                  </a:lnTo>
                  <a:lnTo>
                    <a:pt x="105" y="153"/>
                  </a:lnTo>
                  <a:lnTo>
                    <a:pt x="105" y="146"/>
                  </a:lnTo>
                  <a:lnTo>
                    <a:pt x="113" y="144"/>
                  </a:lnTo>
                  <a:lnTo>
                    <a:pt x="116" y="145"/>
                  </a:lnTo>
                  <a:lnTo>
                    <a:pt x="116" y="144"/>
                  </a:lnTo>
                  <a:lnTo>
                    <a:pt x="114" y="142"/>
                  </a:lnTo>
                  <a:lnTo>
                    <a:pt x="116" y="141"/>
                  </a:lnTo>
                  <a:lnTo>
                    <a:pt x="114" y="137"/>
                  </a:lnTo>
                  <a:lnTo>
                    <a:pt x="110" y="137"/>
                  </a:lnTo>
                  <a:lnTo>
                    <a:pt x="109" y="133"/>
                  </a:lnTo>
                  <a:lnTo>
                    <a:pt x="110" y="130"/>
                  </a:lnTo>
                  <a:lnTo>
                    <a:pt x="122" y="130"/>
                  </a:lnTo>
                  <a:lnTo>
                    <a:pt x="124" y="127"/>
                  </a:lnTo>
                  <a:lnTo>
                    <a:pt x="127" y="127"/>
                  </a:lnTo>
                  <a:lnTo>
                    <a:pt x="128" y="129"/>
                  </a:lnTo>
                  <a:lnTo>
                    <a:pt x="129" y="129"/>
                  </a:lnTo>
                  <a:lnTo>
                    <a:pt x="132" y="126"/>
                  </a:lnTo>
                  <a:lnTo>
                    <a:pt x="135" y="126"/>
                  </a:lnTo>
                  <a:lnTo>
                    <a:pt x="136" y="127"/>
                  </a:lnTo>
                  <a:lnTo>
                    <a:pt x="137" y="130"/>
                  </a:lnTo>
                  <a:lnTo>
                    <a:pt x="137" y="133"/>
                  </a:lnTo>
                  <a:lnTo>
                    <a:pt x="137" y="136"/>
                  </a:lnTo>
                  <a:lnTo>
                    <a:pt x="142" y="136"/>
                  </a:lnTo>
                  <a:lnTo>
                    <a:pt x="142" y="133"/>
                  </a:lnTo>
                  <a:lnTo>
                    <a:pt x="139" y="127"/>
                  </a:lnTo>
                  <a:lnTo>
                    <a:pt x="137" y="125"/>
                  </a:lnTo>
                  <a:lnTo>
                    <a:pt x="137" y="123"/>
                  </a:lnTo>
                  <a:lnTo>
                    <a:pt x="136" y="121"/>
                  </a:lnTo>
                  <a:lnTo>
                    <a:pt x="136" y="119"/>
                  </a:lnTo>
                  <a:lnTo>
                    <a:pt x="135" y="118"/>
                  </a:lnTo>
                  <a:lnTo>
                    <a:pt x="135" y="118"/>
                  </a:lnTo>
                  <a:lnTo>
                    <a:pt x="133" y="118"/>
                  </a:lnTo>
                  <a:lnTo>
                    <a:pt x="132" y="118"/>
                  </a:lnTo>
                  <a:lnTo>
                    <a:pt x="132" y="116"/>
                  </a:lnTo>
                  <a:lnTo>
                    <a:pt x="136" y="110"/>
                  </a:lnTo>
                  <a:lnTo>
                    <a:pt x="133" y="103"/>
                  </a:lnTo>
                  <a:lnTo>
                    <a:pt x="133" y="102"/>
                  </a:lnTo>
                  <a:lnTo>
                    <a:pt x="132" y="100"/>
                  </a:lnTo>
                  <a:lnTo>
                    <a:pt x="132" y="96"/>
                  </a:lnTo>
                  <a:lnTo>
                    <a:pt x="132" y="93"/>
                  </a:lnTo>
                  <a:lnTo>
                    <a:pt x="132" y="92"/>
                  </a:lnTo>
                  <a:lnTo>
                    <a:pt x="132" y="88"/>
                  </a:lnTo>
                  <a:lnTo>
                    <a:pt x="133" y="85"/>
                  </a:lnTo>
                  <a:lnTo>
                    <a:pt x="136" y="85"/>
                  </a:lnTo>
                  <a:lnTo>
                    <a:pt x="136" y="84"/>
                  </a:lnTo>
                  <a:lnTo>
                    <a:pt x="136" y="81"/>
                  </a:lnTo>
                  <a:lnTo>
                    <a:pt x="137" y="80"/>
                  </a:lnTo>
                  <a:lnTo>
                    <a:pt x="136" y="74"/>
                  </a:lnTo>
                  <a:lnTo>
                    <a:pt x="135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29" y="74"/>
                  </a:lnTo>
                  <a:lnTo>
                    <a:pt x="127" y="74"/>
                  </a:lnTo>
                  <a:lnTo>
                    <a:pt x="124" y="76"/>
                  </a:lnTo>
                  <a:lnTo>
                    <a:pt x="122" y="74"/>
                  </a:lnTo>
                  <a:lnTo>
                    <a:pt x="121" y="74"/>
                  </a:lnTo>
                  <a:lnTo>
                    <a:pt x="120" y="74"/>
                  </a:lnTo>
                  <a:lnTo>
                    <a:pt x="118" y="74"/>
                  </a:lnTo>
                  <a:lnTo>
                    <a:pt x="116" y="74"/>
                  </a:lnTo>
                  <a:lnTo>
                    <a:pt x="106" y="66"/>
                  </a:lnTo>
                  <a:lnTo>
                    <a:pt x="105" y="65"/>
                  </a:lnTo>
                  <a:lnTo>
                    <a:pt x="101" y="63"/>
                  </a:lnTo>
                  <a:lnTo>
                    <a:pt x="98" y="65"/>
                  </a:lnTo>
                  <a:lnTo>
                    <a:pt x="97" y="65"/>
                  </a:lnTo>
                  <a:lnTo>
                    <a:pt x="94" y="65"/>
                  </a:lnTo>
                  <a:lnTo>
                    <a:pt x="91" y="65"/>
                  </a:lnTo>
                  <a:lnTo>
                    <a:pt x="88" y="65"/>
                  </a:lnTo>
                  <a:lnTo>
                    <a:pt x="86" y="65"/>
                  </a:lnTo>
                  <a:lnTo>
                    <a:pt x="84" y="63"/>
                  </a:lnTo>
                  <a:lnTo>
                    <a:pt x="82" y="62"/>
                  </a:lnTo>
                  <a:lnTo>
                    <a:pt x="79" y="61"/>
                  </a:lnTo>
                  <a:lnTo>
                    <a:pt x="78" y="58"/>
                  </a:lnTo>
                  <a:lnTo>
                    <a:pt x="79" y="57"/>
                  </a:lnTo>
                  <a:lnTo>
                    <a:pt x="79" y="55"/>
                  </a:lnTo>
                  <a:lnTo>
                    <a:pt x="80" y="53"/>
                  </a:lnTo>
                  <a:lnTo>
                    <a:pt x="79" y="51"/>
                  </a:lnTo>
                  <a:lnTo>
                    <a:pt x="78" y="47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69" y="39"/>
                  </a:lnTo>
                  <a:lnTo>
                    <a:pt x="69" y="38"/>
                  </a:lnTo>
                  <a:lnTo>
                    <a:pt x="71" y="35"/>
                  </a:lnTo>
                  <a:lnTo>
                    <a:pt x="72" y="31"/>
                  </a:lnTo>
                  <a:lnTo>
                    <a:pt x="71" y="28"/>
                  </a:lnTo>
                  <a:lnTo>
                    <a:pt x="72" y="27"/>
                  </a:lnTo>
                  <a:lnTo>
                    <a:pt x="75" y="21"/>
                  </a:lnTo>
                  <a:lnTo>
                    <a:pt x="78" y="19"/>
                  </a:lnTo>
                  <a:lnTo>
                    <a:pt x="79" y="16"/>
                  </a:lnTo>
                  <a:lnTo>
                    <a:pt x="80" y="16"/>
                  </a:lnTo>
                  <a:lnTo>
                    <a:pt x="82" y="15"/>
                  </a:lnTo>
                  <a:lnTo>
                    <a:pt x="86" y="9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5" y="5"/>
                  </a:lnTo>
                  <a:lnTo>
                    <a:pt x="95" y="4"/>
                  </a:lnTo>
                  <a:lnTo>
                    <a:pt x="94" y="2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1"/>
                  </a:lnTo>
                  <a:lnTo>
                    <a:pt x="87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82" y="4"/>
                  </a:lnTo>
                  <a:lnTo>
                    <a:pt x="80" y="4"/>
                  </a:lnTo>
                  <a:lnTo>
                    <a:pt x="82" y="5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4" y="10"/>
                  </a:lnTo>
                  <a:lnTo>
                    <a:pt x="71" y="13"/>
                  </a:lnTo>
                  <a:lnTo>
                    <a:pt x="68" y="13"/>
                  </a:lnTo>
                  <a:lnTo>
                    <a:pt x="64" y="13"/>
                  </a:lnTo>
                  <a:lnTo>
                    <a:pt x="60" y="13"/>
                  </a:lnTo>
                  <a:lnTo>
                    <a:pt x="59" y="15"/>
                  </a:lnTo>
                  <a:lnTo>
                    <a:pt x="59" y="16"/>
                  </a:lnTo>
                  <a:lnTo>
                    <a:pt x="59" y="17"/>
                  </a:lnTo>
                  <a:lnTo>
                    <a:pt x="59" y="20"/>
                  </a:lnTo>
                  <a:lnTo>
                    <a:pt x="57" y="21"/>
                  </a:lnTo>
                  <a:lnTo>
                    <a:pt x="56" y="20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7" y="17"/>
                  </a:lnTo>
                  <a:lnTo>
                    <a:pt x="54" y="17"/>
                  </a:lnTo>
                  <a:lnTo>
                    <a:pt x="52" y="16"/>
                  </a:lnTo>
                  <a:lnTo>
                    <a:pt x="50" y="16"/>
                  </a:lnTo>
                  <a:lnTo>
                    <a:pt x="46" y="19"/>
                  </a:lnTo>
                  <a:lnTo>
                    <a:pt x="46" y="20"/>
                  </a:lnTo>
                  <a:lnTo>
                    <a:pt x="44" y="23"/>
                  </a:lnTo>
                  <a:lnTo>
                    <a:pt x="40" y="29"/>
                  </a:lnTo>
                  <a:lnTo>
                    <a:pt x="40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2" y="34"/>
                  </a:lnTo>
                  <a:lnTo>
                    <a:pt x="41" y="35"/>
                  </a:lnTo>
                  <a:lnTo>
                    <a:pt x="40" y="36"/>
                  </a:lnTo>
                  <a:lnTo>
                    <a:pt x="37" y="36"/>
                  </a:lnTo>
                  <a:lnTo>
                    <a:pt x="35" y="38"/>
                  </a:lnTo>
                  <a:lnTo>
                    <a:pt x="33" y="40"/>
                  </a:lnTo>
                  <a:lnTo>
                    <a:pt x="31" y="40"/>
                  </a:lnTo>
                  <a:lnTo>
                    <a:pt x="29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6" y="47"/>
                  </a:lnTo>
                  <a:lnTo>
                    <a:pt x="29" y="49"/>
                  </a:lnTo>
                  <a:lnTo>
                    <a:pt x="29" y="51"/>
                  </a:lnTo>
                  <a:lnTo>
                    <a:pt x="27" y="54"/>
                  </a:lnTo>
                  <a:lnTo>
                    <a:pt x="26" y="54"/>
                  </a:lnTo>
                  <a:lnTo>
                    <a:pt x="23" y="53"/>
                  </a:lnTo>
                  <a:lnTo>
                    <a:pt x="25" y="51"/>
                  </a:lnTo>
                  <a:lnTo>
                    <a:pt x="25" y="50"/>
                  </a:lnTo>
                  <a:lnTo>
                    <a:pt x="23" y="50"/>
                  </a:lnTo>
                  <a:lnTo>
                    <a:pt x="22" y="47"/>
                  </a:lnTo>
                  <a:lnTo>
                    <a:pt x="19" y="44"/>
                  </a:lnTo>
                  <a:lnTo>
                    <a:pt x="19" y="47"/>
                  </a:lnTo>
                  <a:lnTo>
                    <a:pt x="19" y="49"/>
                  </a:lnTo>
                  <a:lnTo>
                    <a:pt x="20" y="51"/>
                  </a:lnTo>
                  <a:lnTo>
                    <a:pt x="19" y="54"/>
                  </a:lnTo>
                  <a:lnTo>
                    <a:pt x="18" y="57"/>
                  </a:lnTo>
                  <a:lnTo>
                    <a:pt x="16" y="58"/>
                  </a:lnTo>
                  <a:lnTo>
                    <a:pt x="15" y="58"/>
                  </a:lnTo>
                  <a:lnTo>
                    <a:pt x="14" y="62"/>
                  </a:lnTo>
                  <a:lnTo>
                    <a:pt x="15" y="62"/>
                  </a:lnTo>
                  <a:lnTo>
                    <a:pt x="15" y="65"/>
                  </a:lnTo>
                  <a:lnTo>
                    <a:pt x="15" y="68"/>
                  </a:lnTo>
                  <a:lnTo>
                    <a:pt x="18" y="70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20" y="78"/>
                  </a:lnTo>
                  <a:lnTo>
                    <a:pt x="20" y="81"/>
                  </a:lnTo>
                  <a:lnTo>
                    <a:pt x="19" y="83"/>
                  </a:lnTo>
                  <a:lnTo>
                    <a:pt x="18" y="84"/>
                  </a:lnTo>
                  <a:lnTo>
                    <a:pt x="19" y="84"/>
                  </a:lnTo>
                  <a:lnTo>
                    <a:pt x="20" y="87"/>
                  </a:lnTo>
                  <a:lnTo>
                    <a:pt x="19" y="91"/>
                  </a:lnTo>
                  <a:lnTo>
                    <a:pt x="20" y="96"/>
                  </a:lnTo>
                  <a:lnTo>
                    <a:pt x="18" y="97"/>
                  </a:lnTo>
                  <a:lnTo>
                    <a:pt x="18" y="99"/>
                  </a:lnTo>
                  <a:lnTo>
                    <a:pt x="19" y="102"/>
                  </a:lnTo>
                  <a:lnTo>
                    <a:pt x="22" y="100"/>
                  </a:lnTo>
                  <a:lnTo>
                    <a:pt x="20" y="102"/>
                  </a:lnTo>
                  <a:lnTo>
                    <a:pt x="22" y="103"/>
                  </a:lnTo>
                  <a:lnTo>
                    <a:pt x="23" y="103"/>
                  </a:lnTo>
                  <a:lnTo>
                    <a:pt x="23" y="104"/>
                  </a:lnTo>
                  <a:lnTo>
                    <a:pt x="22" y="106"/>
                  </a:lnTo>
                  <a:lnTo>
                    <a:pt x="22" y="108"/>
                  </a:lnTo>
                  <a:lnTo>
                    <a:pt x="16" y="112"/>
                  </a:lnTo>
                  <a:lnTo>
                    <a:pt x="16" y="115"/>
                  </a:lnTo>
                  <a:lnTo>
                    <a:pt x="12" y="119"/>
                  </a:lnTo>
                  <a:lnTo>
                    <a:pt x="8" y="119"/>
                  </a:lnTo>
                  <a:lnTo>
                    <a:pt x="4" y="122"/>
                  </a:lnTo>
                  <a:lnTo>
                    <a:pt x="1" y="127"/>
                  </a:lnTo>
                  <a:lnTo>
                    <a:pt x="1" y="131"/>
                  </a:lnTo>
                  <a:lnTo>
                    <a:pt x="0" y="133"/>
                  </a:lnTo>
                  <a:lnTo>
                    <a:pt x="4" y="134"/>
                  </a:lnTo>
                  <a:lnTo>
                    <a:pt x="8" y="137"/>
                  </a:lnTo>
                  <a:lnTo>
                    <a:pt x="14" y="141"/>
                  </a:lnTo>
                  <a:lnTo>
                    <a:pt x="15" y="141"/>
                  </a:lnTo>
                  <a:lnTo>
                    <a:pt x="18" y="144"/>
                  </a:lnTo>
                  <a:lnTo>
                    <a:pt x="18" y="145"/>
                  </a:lnTo>
                  <a:lnTo>
                    <a:pt x="18" y="146"/>
                  </a:lnTo>
                  <a:lnTo>
                    <a:pt x="22" y="146"/>
                  </a:lnTo>
                  <a:lnTo>
                    <a:pt x="26" y="149"/>
                  </a:lnTo>
                  <a:lnTo>
                    <a:pt x="27" y="150"/>
                  </a:lnTo>
                  <a:lnTo>
                    <a:pt x="31" y="150"/>
                  </a:lnTo>
                  <a:lnTo>
                    <a:pt x="33" y="149"/>
                  </a:lnTo>
                  <a:lnTo>
                    <a:pt x="33" y="146"/>
                  </a:lnTo>
                  <a:lnTo>
                    <a:pt x="34" y="145"/>
                  </a:lnTo>
                  <a:lnTo>
                    <a:pt x="34" y="145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1" y="149"/>
                  </a:lnTo>
                  <a:lnTo>
                    <a:pt x="42" y="150"/>
                  </a:lnTo>
                  <a:lnTo>
                    <a:pt x="42" y="150"/>
                  </a:lnTo>
                  <a:lnTo>
                    <a:pt x="44" y="150"/>
                  </a:lnTo>
                  <a:lnTo>
                    <a:pt x="45" y="152"/>
                  </a:lnTo>
                  <a:lnTo>
                    <a:pt x="49" y="153"/>
                  </a:lnTo>
                  <a:lnTo>
                    <a:pt x="52" y="153"/>
                  </a:lnTo>
                  <a:lnTo>
                    <a:pt x="52" y="155"/>
                  </a:lnTo>
                  <a:lnTo>
                    <a:pt x="54" y="157"/>
                  </a:lnTo>
                  <a:lnTo>
                    <a:pt x="54" y="160"/>
                  </a:lnTo>
                  <a:lnTo>
                    <a:pt x="57" y="164"/>
                  </a:lnTo>
                  <a:lnTo>
                    <a:pt x="59" y="164"/>
                  </a:lnTo>
                  <a:lnTo>
                    <a:pt x="64" y="165"/>
                  </a:lnTo>
                  <a:lnTo>
                    <a:pt x="67" y="170"/>
                  </a:lnTo>
                  <a:lnTo>
                    <a:pt x="67" y="172"/>
                  </a:lnTo>
                  <a:lnTo>
                    <a:pt x="67" y="172"/>
                  </a:lnTo>
                  <a:lnTo>
                    <a:pt x="69" y="174"/>
                  </a:lnTo>
                  <a:lnTo>
                    <a:pt x="71" y="176"/>
                  </a:lnTo>
                  <a:lnTo>
                    <a:pt x="69" y="178"/>
                  </a:lnTo>
                  <a:lnTo>
                    <a:pt x="69" y="179"/>
                  </a:lnTo>
                  <a:lnTo>
                    <a:pt x="72" y="180"/>
                  </a:lnTo>
                  <a:lnTo>
                    <a:pt x="75" y="179"/>
                  </a:lnTo>
                  <a:lnTo>
                    <a:pt x="76" y="179"/>
                  </a:lnTo>
                  <a:lnTo>
                    <a:pt x="79" y="179"/>
                  </a:lnTo>
                  <a:lnTo>
                    <a:pt x="80" y="179"/>
                  </a:lnTo>
                  <a:lnTo>
                    <a:pt x="84" y="176"/>
                  </a:lnTo>
                  <a:lnTo>
                    <a:pt x="87" y="178"/>
                  </a:lnTo>
                  <a:lnTo>
                    <a:pt x="90" y="179"/>
                  </a:lnTo>
                  <a:lnTo>
                    <a:pt x="94" y="178"/>
                  </a:lnTo>
                  <a:lnTo>
                    <a:pt x="97" y="178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2" y="179"/>
                  </a:lnTo>
                  <a:lnTo>
                    <a:pt x="102" y="182"/>
                  </a:lnTo>
                  <a:lnTo>
                    <a:pt x="105" y="180"/>
                  </a:lnTo>
                  <a:lnTo>
                    <a:pt x="105" y="182"/>
                  </a:lnTo>
                  <a:lnTo>
                    <a:pt x="98" y="195"/>
                  </a:lnTo>
                  <a:lnTo>
                    <a:pt x="98" y="197"/>
                  </a:lnTo>
                  <a:lnTo>
                    <a:pt x="101" y="197"/>
                  </a:lnTo>
                  <a:lnTo>
                    <a:pt x="103" y="195"/>
                  </a:lnTo>
                  <a:lnTo>
                    <a:pt x="105" y="198"/>
                  </a:lnTo>
                  <a:lnTo>
                    <a:pt x="106" y="20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8" name="Freeform 159"/>
            <p:cNvSpPr>
              <a:spLocks/>
            </p:cNvSpPr>
            <p:nvPr/>
          </p:nvSpPr>
          <p:spPr bwMode="auto">
            <a:xfrm>
              <a:off x="1028" y="1986"/>
              <a:ext cx="69" cy="76"/>
            </a:xfrm>
            <a:custGeom>
              <a:avLst/>
              <a:gdLst>
                <a:gd name="T0" fmla="*/ 66 w 69"/>
                <a:gd name="T1" fmla="*/ 17 h 76"/>
                <a:gd name="T2" fmla="*/ 64 w 69"/>
                <a:gd name="T3" fmla="*/ 15 h 76"/>
                <a:gd name="T4" fmla="*/ 58 w 69"/>
                <a:gd name="T5" fmla="*/ 12 h 76"/>
                <a:gd name="T6" fmla="*/ 57 w 69"/>
                <a:gd name="T7" fmla="*/ 13 h 76"/>
                <a:gd name="T8" fmla="*/ 55 w 69"/>
                <a:gd name="T9" fmla="*/ 17 h 76"/>
                <a:gd name="T10" fmla="*/ 50 w 69"/>
                <a:gd name="T11" fmla="*/ 16 h 76"/>
                <a:gd name="T12" fmla="*/ 42 w 69"/>
                <a:gd name="T13" fmla="*/ 13 h 76"/>
                <a:gd name="T14" fmla="*/ 42 w 69"/>
                <a:gd name="T15" fmla="*/ 11 h 76"/>
                <a:gd name="T16" fmla="*/ 38 w 69"/>
                <a:gd name="T17" fmla="*/ 8 h 76"/>
                <a:gd name="T18" fmla="*/ 28 w 69"/>
                <a:gd name="T19" fmla="*/ 1 h 76"/>
                <a:gd name="T20" fmla="*/ 24 w 69"/>
                <a:gd name="T21" fmla="*/ 3 h 76"/>
                <a:gd name="T22" fmla="*/ 15 w 69"/>
                <a:gd name="T23" fmla="*/ 7 h 76"/>
                <a:gd name="T24" fmla="*/ 9 w 69"/>
                <a:gd name="T25" fmla="*/ 8 h 76"/>
                <a:gd name="T26" fmla="*/ 11 w 69"/>
                <a:gd name="T27" fmla="*/ 13 h 76"/>
                <a:gd name="T28" fmla="*/ 11 w 69"/>
                <a:gd name="T29" fmla="*/ 17 h 76"/>
                <a:gd name="T30" fmla="*/ 6 w 69"/>
                <a:gd name="T31" fmla="*/ 24 h 76"/>
                <a:gd name="T32" fmla="*/ 5 w 69"/>
                <a:gd name="T33" fmla="*/ 30 h 76"/>
                <a:gd name="T34" fmla="*/ 1 w 69"/>
                <a:gd name="T35" fmla="*/ 32 h 76"/>
                <a:gd name="T36" fmla="*/ 2 w 69"/>
                <a:gd name="T37" fmla="*/ 37 h 76"/>
                <a:gd name="T38" fmla="*/ 2 w 69"/>
                <a:gd name="T39" fmla="*/ 42 h 76"/>
                <a:gd name="T40" fmla="*/ 0 w 69"/>
                <a:gd name="T41" fmla="*/ 45 h 76"/>
                <a:gd name="T42" fmla="*/ 4 w 69"/>
                <a:gd name="T43" fmla="*/ 47 h 76"/>
                <a:gd name="T44" fmla="*/ 8 w 69"/>
                <a:gd name="T45" fmla="*/ 51 h 76"/>
                <a:gd name="T46" fmla="*/ 11 w 69"/>
                <a:gd name="T47" fmla="*/ 49 h 76"/>
                <a:gd name="T48" fmla="*/ 13 w 69"/>
                <a:gd name="T49" fmla="*/ 45 h 76"/>
                <a:gd name="T50" fmla="*/ 13 w 69"/>
                <a:gd name="T51" fmla="*/ 49 h 76"/>
                <a:gd name="T52" fmla="*/ 13 w 69"/>
                <a:gd name="T53" fmla="*/ 46 h 76"/>
                <a:gd name="T54" fmla="*/ 15 w 69"/>
                <a:gd name="T55" fmla="*/ 49 h 76"/>
                <a:gd name="T56" fmla="*/ 15 w 69"/>
                <a:gd name="T57" fmla="*/ 54 h 76"/>
                <a:gd name="T58" fmla="*/ 11 w 69"/>
                <a:gd name="T59" fmla="*/ 60 h 76"/>
                <a:gd name="T60" fmla="*/ 12 w 69"/>
                <a:gd name="T61" fmla="*/ 64 h 76"/>
                <a:gd name="T62" fmla="*/ 8 w 69"/>
                <a:gd name="T63" fmla="*/ 66 h 76"/>
                <a:gd name="T64" fmla="*/ 11 w 69"/>
                <a:gd name="T65" fmla="*/ 69 h 76"/>
                <a:gd name="T66" fmla="*/ 15 w 69"/>
                <a:gd name="T67" fmla="*/ 70 h 76"/>
                <a:gd name="T68" fmla="*/ 20 w 69"/>
                <a:gd name="T69" fmla="*/ 72 h 76"/>
                <a:gd name="T70" fmla="*/ 25 w 69"/>
                <a:gd name="T71" fmla="*/ 76 h 76"/>
                <a:gd name="T72" fmla="*/ 36 w 69"/>
                <a:gd name="T73" fmla="*/ 56 h 76"/>
                <a:gd name="T74" fmla="*/ 50 w 69"/>
                <a:gd name="T75" fmla="*/ 50 h 76"/>
                <a:gd name="T76" fmla="*/ 64 w 69"/>
                <a:gd name="T77" fmla="*/ 39 h 76"/>
                <a:gd name="T78" fmla="*/ 69 w 69"/>
                <a:gd name="T79" fmla="*/ 31 h 76"/>
                <a:gd name="T80" fmla="*/ 69 w 69"/>
                <a:gd name="T81" fmla="*/ 27 h 76"/>
                <a:gd name="T82" fmla="*/ 66 w 69"/>
                <a:gd name="T83" fmla="*/ 20 h 76"/>
                <a:gd name="T84" fmla="*/ 66 w 69"/>
                <a:gd name="T85" fmla="*/ 17 h 76"/>
                <a:gd name="T86" fmla="*/ 66 w 69"/>
                <a:gd name="T87" fmla="*/ 1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9" h="76">
                  <a:moveTo>
                    <a:pt x="66" y="17"/>
                  </a:moveTo>
                  <a:lnTo>
                    <a:pt x="66" y="17"/>
                  </a:lnTo>
                  <a:lnTo>
                    <a:pt x="65" y="16"/>
                  </a:lnTo>
                  <a:lnTo>
                    <a:pt x="64" y="15"/>
                  </a:lnTo>
                  <a:lnTo>
                    <a:pt x="62" y="13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7" y="13"/>
                  </a:lnTo>
                  <a:lnTo>
                    <a:pt x="57" y="16"/>
                  </a:lnTo>
                  <a:lnTo>
                    <a:pt x="55" y="17"/>
                  </a:lnTo>
                  <a:lnTo>
                    <a:pt x="51" y="17"/>
                  </a:lnTo>
                  <a:lnTo>
                    <a:pt x="50" y="16"/>
                  </a:lnTo>
                  <a:lnTo>
                    <a:pt x="46" y="13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2" y="4"/>
                  </a:lnTo>
                  <a:lnTo>
                    <a:pt x="28" y="1"/>
                  </a:lnTo>
                  <a:lnTo>
                    <a:pt x="24" y="0"/>
                  </a:lnTo>
                  <a:lnTo>
                    <a:pt x="24" y="3"/>
                  </a:lnTo>
                  <a:lnTo>
                    <a:pt x="20" y="3"/>
                  </a:lnTo>
                  <a:lnTo>
                    <a:pt x="15" y="7"/>
                  </a:lnTo>
                  <a:lnTo>
                    <a:pt x="12" y="7"/>
                  </a:lnTo>
                  <a:lnTo>
                    <a:pt x="9" y="8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12" y="15"/>
                  </a:lnTo>
                  <a:lnTo>
                    <a:pt x="11" y="17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8" y="26"/>
                  </a:lnTo>
                  <a:lnTo>
                    <a:pt x="5" y="30"/>
                  </a:lnTo>
                  <a:lnTo>
                    <a:pt x="2" y="30"/>
                  </a:lnTo>
                  <a:lnTo>
                    <a:pt x="1" y="32"/>
                  </a:lnTo>
                  <a:lnTo>
                    <a:pt x="1" y="34"/>
                  </a:lnTo>
                  <a:lnTo>
                    <a:pt x="2" y="37"/>
                  </a:lnTo>
                  <a:lnTo>
                    <a:pt x="2" y="38"/>
                  </a:lnTo>
                  <a:lnTo>
                    <a:pt x="2" y="42"/>
                  </a:lnTo>
                  <a:lnTo>
                    <a:pt x="1" y="45"/>
                  </a:lnTo>
                  <a:lnTo>
                    <a:pt x="0" y="45"/>
                  </a:lnTo>
                  <a:lnTo>
                    <a:pt x="1" y="47"/>
                  </a:lnTo>
                  <a:lnTo>
                    <a:pt x="4" y="47"/>
                  </a:lnTo>
                  <a:lnTo>
                    <a:pt x="6" y="50"/>
                  </a:lnTo>
                  <a:lnTo>
                    <a:pt x="8" y="51"/>
                  </a:lnTo>
                  <a:lnTo>
                    <a:pt x="9" y="51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5" y="46"/>
                  </a:lnTo>
                  <a:lnTo>
                    <a:pt x="15" y="49"/>
                  </a:lnTo>
                  <a:lnTo>
                    <a:pt x="15" y="53"/>
                  </a:lnTo>
                  <a:lnTo>
                    <a:pt x="15" y="54"/>
                  </a:lnTo>
                  <a:lnTo>
                    <a:pt x="13" y="57"/>
                  </a:lnTo>
                  <a:lnTo>
                    <a:pt x="11" y="60"/>
                  </a:lnTo>
                  <a:lnTo>
                    <a:pt x="12" y="61"/>
                  </a:lnTo>
                  <a:lnTo>
                    <a:pt x="12" y="64"/>
                  </a:lnTo>
                  <a:lnTo>
                    <a:pt x="11" y="65"/>
                  </a:lnTo>
                  <a:lnTo>
                    <a:pt x="8" y="66"/>
                  </a:lnTo>
                  <a:lnTo>
                    <a:pt x="8" y="69"/>
                  </a:lnTo>
                  <a:lnTo>
                    <a:pt x="11" y="69"/>
                  </a:lnTo>
                  <a:lnTo>
                    <a:pt x="13" y="68"/>
                  </a:lnTo>
                  <a:lnTo>
                    <a:pt x="15" y="70"/>
                  </a:lnTo>
                  <a:lnTo>
                    <a:pt x="17" y="70"/>
                  </a:lnTo>
                  <a:lnTo>
                    <a:pt x="20" y="72"/>
                  </a:lnTo>
                  <a:lnTo>
                    <a:pt x="23" y="76"/>
                  </a:lnTo>
                  <a:lnTo>
                    <a:pt x="25" y="76"/>
                  </a:lnTo>
                  <a:lnTo>
                    <a:pt x="27" y="75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50" y="50"/>
                  </a:lnTo>
                  <a:lnTo>
                    <a:pt x="55" y="46"/>
                  </a:lnTo>
                  <a:lnTo>
                    <a:pt x="64" y="39"/>
                  </a:lnTo>
                  <a:lnTo>
                    <a:pt x="66" y="31"/>
                  </a:lnTo>
                  <a:lnTo>
                    <a:pt x="69" y="31"/>
                  </a:lnTo>
                  <a:lnTo>
                    <a:pt x="69" y="30"/>
                  </a:lnTo>
                  <a:lnTo>
                    <a:pt x="69" y="27"/>
                  </a:lnTo>
                  <a:lnTo>
                    <a:pt x="69" y="26"/>
                  </a:lnTo>
                  <a:lnTo>
                    <a:pt x="66" y="20"/>
                  </a:lnTo>
                  <a:lnTo>
                    <a:pt x="66" y="19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59" name="Freeform 160"/>
            <p:cNvSpPr>
              <a:spLocks/>
            </p:cNvSpPr>
            <p:nvPr/>
          </p:nvSpPr>
          <p:spPr bwMode="auto">
            <a:xfrm>
              <a:off x="1025" y="2003"/>
              <a:ext cx="151" cy="223"/>
            </a:xfrm>
            <a:custGeom>
              <a:avLst/>
              <a:gdLst>
                <a:gd name="T0" fmla="*/ 137 w 151"/>
                <a:gd name="T1" fmla="*/ 131 h 223"/>
                <a:gd name="T2" fmla="*/ 129 w 151"/>
                <a:gd name="T3" fmla="*/ 131 h 223"/>
                <a:gd name="T4" fmla="*/ 129 w 151"/>
                <a:gd name="T5" fmla="*/ 116 h 223"/>
                <a:gd name="T6" fmla="*/ 120 w 151"/>
                <a:gd name="T7" fmla="*/ 120 h 223"/>
                <a:gd name="T8" fmla="*/ 105 w 151"/>
                <a:gd name="T9" fmla="*/ 112 h 223"/>
                <a:gd name="T10" fmla="*/ 91 w 151"/>
                <a:gd name="T11" fmla="*/ 100 h 223"/>
                <a:gd name="T12" fmla="*/ 88 w 151"/>
                <a:gd name="T13" fmla="*/ 90 h 223"/>
                <a:gd name="T14" fmla="*/ 90 w 151"/>
                <a:gd name="T15" fmla="*/ 82 h 223"/>
                <a:gd name="T16" fmla="*/ 95 w 151"/>
                <a:gd name="T17" fmla="*/ 77 h 223"/>
                <a:gd name="T18" fmla="*/ 98 w 151"/>
                <a:gd name="T19" fmla="*/ 66 h 223"/>
                <a:gd name="T20" fmla="*/ 106 w 151"/>
                <a:gd name="T21" fmla="*/ 58 h 223"/>
                <a:gd name="T22" fmla="*/ 122 w 151"/>
                <a:gd name="T23" fmla="*/ 52 h 223"/>
                <a:gd name="T24" fmla="*/ 128 w 151"/>
                <a:gd name="T25" fmla="*/ 49 h 223"/>
                <a:gd name="T26" fmla="*/ 133 w 151"/>
                <a:gd name="T27" fmla="*/ 52 h 223"/>
                <a:gd name="T28" fmla="*/ 125 w 151"/>
                <a:gd name="T29" fmla="*/ 47 h 223"/>
                <a:gd name="T30" fmla="*/ 129 w 151"/>
                <a:gd name="T31" fmla="*/ 32 h 223"/>
                <a:gd name="T32" fmla="*/ 124 w 151"/>
                <a:gd name="T33" fmla="*/ 28 h 223"/>
                <a:gd name="T34" fmla="*/ 111 w 151"/>
                <a:gd name="T35" fmla="*/ 26 h 223"/>
                <a:gd name="T36" fmla="*/ 102 w 151"/>
                <a:gd name="T37" fmla="*/ 29 h 223"/>
                <a:gd name="T38" fmla="*/ 98 w 151"/>
                <a:gd name="T39" fmla="*/ 26 h 223"/>
                <a:gd name="T40" fmla="*/ 94 w 151"/>
                <a:gd name="T41" fmla="*/ 20 h 223"/>
                <a:gd name="T42" fmla="*/ 81 w 151"/>
                <a:gd name="T43" fmla="*/ 10 h 223"/>
                <a:gd name="T44" fmla="*/ 76 w 151"/>
                <a:gd name="T45" fmla="*/ 3 h 223"/>
                <a:gd name="T46" fmla="*/ 69 w 151"/>
                <a:gd name="T47" fmla="*/ 2 h 223"/>
                <a:gd name="T48" fmla="*/ 72 w 151"/>
                <a:gd name="T49" fmla="*/ 13 h 223"/>
                <a:gd name="T50" fmla="*/ 58 w 151"/>
                <a:gd name="T51" fmla="*/ 29 h 223"/>
                <a:gd name="T52" fmla="*/ 30 w 151"/>
                <a:gd name="T53" fmla="*/ 58 h 223"/>
                <a:gd name="T54" fmla="*/ 20 w 151"/>
                <a:gd name="T55" fmla="*/ 53 h 223"/>
                <a:gd name="T56" fmla="*/ 11 w 151"/>
                <a:gd name="T57" fmla="*/ 52 h 223"/>
                <a:gd name="T58" fmla="*/ 15 w 151"/>
                <a:gd name="T59" fmla="*/ 44 h 223"/>
                <a:gd name="T60" fmla="*/ 5 w 151"/>
                <a:gd name="T61" fmla="*/ 48 h 223"/>
                <a:gd name="T62" fmla="*/ 0 w 151"/>
                <a:gd name="T63" fmla="*/ 58 h 223"/>
                <a:gd name="T64" fmla="*/ 0 w 151"/>
                <a:gd name="T65" fmla="*/ 63 h 223"/>
                <a:gd name="T66" fmla="*/ 3 w 151"/>
                <a:gd name="T67" fmla="*/ 71 h 223"/>
                <a:gd name="T68" fmla="*/ 4 w 151"/>
                <a:gd name="T69" fmla="*/ 77 h 223"/>
                <a:gd name="T70" fmla="*/ 18 w 151"/>
                <a:gd name="T71" fmla="*/ 83 h 223"/>
                <a:gd name="T72" fmla="*/ 23 w 151"/>
                <a:gd name="T73" fmla="*/ 94 h 223"/>
                <a:gd name="T74" fmla="*/ 31 w 151"/>
                <a:gd name="T75" fmla="*/ 107 h 223"/>
                <a:gd name="T76" fmla="*/ 38 w 151"/>
                <a:gd name="T77" fmla="*/ 117 h 223"/>
                <a:gd name="T78" fmla="*/ 43 w 151"/>
                <a:gd name="T79" fmla="*/ 130 h 223"/>
                <a:gd name="T80" fmla="*/ 46 w 151"/>
                <a:gd name="T81" fmla="*/ 136 h 223"/>
                <a:gd name="T82" fmla="*/ 53 w 151"/>
                <a:gd name="T83" fmla="*/ 147 h 223"/>
                <a:gd name="T84" fmla="*/ 60 w 151"/>
                <a:gd name="T85" fmla="*/ 158 h 223"/>
                <a:gd name="T86" fmla="*/ 62 w 151"/>
                <a:gd name="T87" fmla="*/ 166 h 223"/>
                <a:gd name="T88" fmla="*/ 64 w 151"/>
                <a:gd name="T89" fmla="*/ 170 h 223"/>
                <a:gd name="T90" fmla="*/ 69 w 151"/>
                <a:gd name="T91" fmla="*/ 177 h 223"/>
                <a:gd name="T92" fmla="*/ 77 w 151"/>
                <a:gd name="T93" fmla="*/ 183 h 223"/>
                <a:gd name="T94" fmla="*/ 83 w 151"/>
                <a:gd name="T95" fmla="*/ 187 h 223"/>
                <a:gd name="T96" fmla="*/ 90 w 151"/>
                <a:gd name="T97" fmla="*/ 192 h 223"/>
                <a:gd name="T98" fmla="*/ 96 w 151"/>
                <a:gd name="T99" fmla="*/ 198 h 223"/>
                <a:gd name="T100" fmla="*/ 107 w 151"/>
                <a:gd name="T101" fmla="*/ 202 h 223"/>
                <a:gd name="T102" fmla="*/ 114 w 151"/>
                <a:gd name="T103" fmla="*/ 206 h 223"/>
                <a:gd name="T104" fmla="*/ 121 w 151"/>
                <a:gd name="T105" fmla="*/ 211 h 223"/>
                <a:gd name="T106" fmla="*/ 126 w 151"/>
                <a:gd name="T107" fmla="*/ 217 h 223"/>
                <a:gd name="T108" fmla="*/ 135 w 151"/>
                <a:gd name="T109" fmla="*/ 223 h 223"/>
                <a:gd name="T110" fmla="*/ 144 w 151"/>
                <a:gd name="T111" fmla="*/ 219 h 223"/>
                <a:gd name="T112" fmla="*/ 144 w 151"/>
                <a:gd name="T113" fmla="*/ 211 h 223"/>
                <a:gd name="T114" fmla="*/ 144 w 151"/>
                <a:gd name="T115" fmla="*/ 208 h 223"/>
                <a:gd name="T116" fmla="*/ 151 w 151"/>
                <a:gd name="T117" fmla="*/ 198 h 223"/>
                <a:gd name="T118" fmla="*/ 147 w 151"/>
                <a:gd name="T119" fmla="*/ 183 h 223"/>
                <a:gd name="T120" fmla="*/ 148 w 151"/>
                <a:gd name="T121" fmla="*/ 168 h 223"/>
                <a:gd name="T122" fmla="*/ 151 w 151"/>
                <a:gd name="T123" fmla="*/ 14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223">
                  <a:moveTo>
                    <a:pt x="140" y="132"/>
                  </a:moveTo>
                  <a:lnTo>
                    <a:pt x="140" y="132"/>
                  </a:lnTo>
                  <a:lnTo>
                    <a:pt x="139" y="131"/>
                  </a:lnTo>
                  <a:lnTo>
                    <a:pt x="137" y="131"/>
                  </a:lnTo>
                  <a:lnTo>
                    <a:pt x="135" y="132"/>
                  </a:lnTo>
                  <a:lnTo>
                    <a:pt x="132" y="132"/>
                  </a:lnTo>
                  <a:lnTo>
                    <a:pt x="130" y="132"/>
                  </a:lnTo>
                  <a:lnTo>
                    <a:pt x="129" y="131"/>
                  </a:lnTo>
                  <a:lnTo>
                    <a:pt x="129" y="128"/>
                  </a:lnTo>
                  <a:lnTo>
                    <a:pt x="128" y="121"/>
                  </a:lnTo>
                  <a:lnTo>
                    <a:pt x="128" y="117"/>
                  </a:lnTo>
                  <a:lnTo>
                    <a:pt x="129" y="116"/>
                  </a:lnTo>
                  <a:lnTo>
                    <a:pt x="129" y="115"/>
                  </a:lnTo>
                  <a:lnTo>
                    <a:pt x="128" y="113"/>
                  </a:lnTo>
                  <a:lnTo>
                    <a:pt x="124" y="115"/>
                  </a:lnTo>
                  <a:lnTo>
                    <a:pt x="120" y="120"/>
                  </a:lnTo>
                  <a:lnTo>
                    <a:pt x="113" y="119"/>
                  </a:lnTo>
                  <a:lnTo>
                    <a:pt x="109" y="119"/>
                  </a:lnTo>
                  <a:lnTo>
                    <a:pt x="107" y="116"/>
                  </a:lnTo>
                  <a:lnTo>
                    <a:pt x="105" y="112"/>
                  </a:lnTo>
                  <a:lnTo>
                    <a:pt x="102" y="112"/>
                  </a:lnTo>
                  <a:lnTo>
                    <a:pt x="94" y="112"/>
                  </a:lnTo>
                  <a:lnTo>
                    <a:pt x="96" y="108"/>
                  </a:lnTo>
                  <a:lnTo>
                    <a:pt x="91" y="100"/>
                  </a:lnTo>
                  <a:lnTo>
                    <a:pt x="88" y="96"/>
                  </a:lnTo>
                  <a:lnTo>
                    <a:pt x="88" y="94"/>
                  </a:lnTo>
                  <a:lnTo>
                    <a:pt x="88" y="93"/>
                  </a:lnTo>
                  <a:lnTo>
                    <a:pt x="88" y="90"/>
                  </a:lnTo>
                  <a:lnTo>
                    <a:pt x="90" y="87"/>
                  </a:lnTo>
                  <a:lnTo>
                    <a:pt x="88" y="86"/>
                  </a:lnTo>
                  <a:lnTo>
                    <a:pt x="90" y="85"/>
                  </a:lnTo>
                  <a:lnTo>
                    <a:pt x="90" y="82"/>
                  </a:lnTo>
                  <a:lnTo>
                    <a:pt x="92" y="81"/>
                  </a:lnTo>
                  <a:lnTo>
                    <a:pt x="95" y="81"/>
                  </a:lnTo>
                  <a:lnTo>
                    <a:pt x="96" y="78"/>
                  </a:lnTo>
                  <a:lnTo>
                    <a:pt x="95" y="77"/>
                  </a:lnTo>
                  <a:lnTo>
                    <a:pt x="95" y="73"/>
                  </a:lnTo>
                  <a:lnTo>
                    <a:pt x="98" y="70"/>
                  </a:lnTo>
                  <a:lnTo>
                    <a:pt x="98" y="67"/>
                  </a:lnTo>
                  <a:lnTo>
                    <a:pt x="98" y="66"/>
                  </a:lnTo>
                  <a:lnTo>
                    <a:pt x="98" y="63"/>
                  </a:lnTo>
                  <a:lnTo>
                    <a:pt x="101" y="62"/>
                  </a:lnTo>
                  <a:lnTo>
                    <a:pt x="103" y="60"/>
                  </a:lnTo>
                  <a:lnTo>
                    <a:pt x="106" y="58"/>
                  </a:lnTo>
                  <a:lnTo>
                    <a:pt x="107" y="58"/>
                  </a:lnTo>
                  <a:lnTo>
                    <a:pt x="109" y="56"/>
                  </a:lnTo>
                  <a:lnTo>
                    <a:pt x="114" y="55"/>
                  </a:lnTo>
                  <a:lnTo>
                    <a:pt x="122" y="52"/>
                  </a:lnTo>
                  <a:lnTo>
                    <a:pt x="124" y="49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49"/>
                  </a:lnTo>
                  <a:lnTo>
                    <a:pt x="130" y="52"/>
                  </a:lnTo>
                  <a:lnTo>
                    <a:pt x="129" y="52"/>
                  </a:lnTo>
                  <a:lnTo>
                    <a:pt x="132" y="53"/>
                  </a:lnTo>
                  <a:lnTo>
                    <a:pt x="133" y="52"/>
                  </a:lnTo>
                  <a:lnTo>
                    <a:pt x="132" y="48"/>
                  </a:lnTo>
                  <a:lnTo>
                    <a:pt x="130" y="45"/>
                  </a:lnTo>
                  <a:lnTo>
                    <a:pt x="128" y="47"/>
                  </a:lnTo>
                  <a:lnTo>
                    <a:pt x="125" y="47"/>
                  </a:lnTo>
                  <a:lnTo>
                    <a:pt x="125" y="45"/>
                  </a:lnTo>
                  <a:lnTo>
                    <a:pt x="132" y="32"/>
                  </a:lnTo>
                  <a:lnTo>
                    <a:pt x="132" y="30"/>
                  </a:lnTo>
                  <a:lnTo>
                    <a:pt x="129" y="32"/>
                  </a:lnTo>
                  <a:lnTo>
                    <a:pt x="129" y="29"/>
                  </a:lnTo>
                  <a:lnTo>
                    <a:pt x="126" y="29"/>
                  </a:lnTo>
                  <a:lnTo>
                    <a:pt x="125" y="29"/>
                  </a:lnTo>
                  <a:lnTo>
                    <a:pt x="124" y="28"/>
                  </a:lnTo>
                  <a:lnTo>
                    <a:pt x="121" y="28"/>
                  </a:lnTo>
                  <a:lnTo>
                    <a:pt x="117" y="29"/>
                  </a:lnTo>
                  <a:lnTo>
                    <a:pt x="114" y="28"/>
                  </a:lnTo>
                  <a:lnTo>
                    <a:pt x="111" y="26"/>
                  </a:lnTo>
                  <a:lnTo>
                    <a:pt x="107" y="29"/>
                  </a:lnTo>
                  <a:lnTo>
                    <a:pt x="106" y="29"/>
                  </a:lnTo>
                  <a:lnTo>
                    <a:pt x="103" y="29"/>
                  </a:lnTo>
                  <a:lnTo>
                    <a:pt x="102" y="29"/>
                  </a:lnTo>
                  <a:lnTo>
                    <a:pt x="99" y="30"/>
                  </a:lnTo>
                  <a:lnTo>
                    <a:pt x="96" y="29"/>
                  </a:lnTo>
                  <a:lnTo>
                    <a:pt x="96" y="28"/>
                  </a:lnTo>
                  <a:lnTo>
                    <a:pt x="98" y="26"/>
                  </a:lnTo>
                  <a:lnTo>
                    <a:pt x="96" y="24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0"/>
                  </a:lnTo>
                  <a:lnTo>
                    <a:pt x="91" y="15"/>
                  </a:lnTo>
                  <a:lnTo>
                    <a:pt x="86" y="14"/>
                  </a:lnTo>
                  <a:lnTo>
                    <a:pt x="84" y="14"/>
                  </a:lnTo>
                  <a:lnTo>
                    <a:pt x="81" y="10"/>
                  </a:lnTo>
                  <a:lnTo>
                    <a:pt x="81" y="7"/>
                  </a:lnTo>
                  <a:lnTo>
                    <a:pt x="79" y="5"/>
                  </a:lnTo>
                  <a:lnTo>
                    <a:pt x="79" y="3"/>
                  </a:lnTo>
                  <a:lnTo>
                    <a:pt x="76" y="3"/>
                  </a:lnTo>
                  <a:lnTo>
                    <a:pt x="72" y="2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69" y="3"/>
                  </a:lnTo>
                  <a:lnTo>
                    <a:pt x="72" y="9"/>
                  </a:lnTo>
                  <a:lnTo>
                    <a:pt x="72" y="10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69" y="14"/>
                  </a:lnTo>
                  <a:lnTo>
                    <a:pt x="67" y="22"/>
                  </a:lnTo>
                  <a:lnTo>
                    <a:pt x="58" y="29"/>
                  </a:lnTo>
                  <a:lnTo>
                    <a:pt x="53" y="33"/>
                  </a:lnTo>
                  <a:lnTo>
                    <a:pt x="41" y="37"/>
                  </a:lnTo>
                  <a:lnTo>
                    <a:pt x="39" y="39"/>
                  </a:lnTo>
                  <a:lnTo>
                    <a:pt x="30" y="58"/>
                  </a:lnTo>
                  <a:lnTo>
                    <a:pt x="28" y="59"/>
                  </a:lnTo>
                  <a:lnTo>
                    <a:pt x="26" y="59"/>
                  </a:lnTo>
                  <a:lnTo>
                    <a:pt x="23" y="55"/>
                  </a:lnTo>
                  <a:lnTo>
                    <a:pt x="20" y="53"/>
                  </a:lnTo>
                  <a:lnTo>
                    <a:pt x="18" y="53"/>
                  </a:lnTo>
                  <a:lnTo>
                    <a:pt x="16" y="51"/>
                  </a:lnTo>
                  <a:lnTo>
                    <a:pt x="14" y="52"/>
                  </a:lnTo>
                  <a:lnTo>
                    <a:pt x="11" y="52"/>
                  </a:lnTo>
                  <a:lnTo>
                    <a:pt x="11" y="49"/>
                  </a:lnTo>
                  <a:lnTo>
                    <a:pt x="14" y="48"/>
                  </a:lnTo>
                  <a:lnTo>
                    <a:pt x="15" y="47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7" y="45"/>
                  </a:lnTo>
                  <a:lnTo>
                    <a:pt x="5" y="48"/>
                  </a:lnTo>
                  <a:lnTo>
                    <a:pt x="1" y="51"/>
                  </a:lnTo>
                  <a:lnTo>
                    <a:pt x="0" y="55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1" y="59"/>
                  </a:lnTo>
                  <a:lnTo>
                    <a:pt x="1" y="60"/>
                  </a:lnTo>
                  <a:lnTo>
                    <a:pt x="0" y="62"/>
                  </a:lnTo>
                  <a:lnTo>
                    <a:pt x="0" y="63"/>
                  </a:lnTo>
                  <a:lnTo>
                    <a:pt x="3" y="66"/>
                  </a:lnTo>
                  <a:lnTo>
                    <a:pt x="4" y="68"/>
                  </a:lnTo>
                  <a:lnTo>
                    <a:pt x="4" y="71"/>
                  </a:lnTo>
                  <a:lnTo>
                    <a:pt x="3" y="71"/>
                  </a:lnTo>
                  <a:lnTo>
                    <a:pt x="0" y="71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4" y="77"/>
                  </a:lnTo>
                  <a:lnTo>
                    <a:pt x="8" y="79"/>
                  </a:lnTo>
                  <a:lnTo>
                    <a:pt x="11" y="79"/>
                  </a:lnTo>
                  <a:lnTo>
                    <a:pt x="16" y="83"/>
                  </a:lnTo>
                  <a:lnTo>
                    <a:pt x="18" y="83"/>
                  </a:lnTo>
                  <a:lnTo>
                    <a:pt x="19" y="85"/>
                  </a:lnTo>
                  <a:lnTo>
                    <a:pt x="22" y="89"/>
                  </a:lnTo>
                  <a:lnTo>
                    <a:pt x="22" y="93"/>
                  </a:lnTo>
                  <a:lnTo>
                    <a:pt x="23" y="94"/>
                  </a:lnTo>
                  <a:lnTo>
                    <a:pt x="27" y="97"/>
                  </a:lnTo>
                  <a:lnTo>
                    <a:pt x="30" y="101"/>
                  </a:lnTo>
                  <a:lnTo>
                    <a:pt x="30" y="104"/>
                  </a:lnTo>
                  <a:lnTo>
                    <a:pt x="31" y="107"/>
                  </a:lnTo>
                  <a:lnTo>
                    <a:pt x="33" y="111"/>
                  </a:lnTo>
                  <a:lnTo>
                    <a:pt x="34" y="112"/>
                  </a:lnTo>
                  <a:lnTo>
                    <a:pt x="35" y="113"/>
                  </a:lnTo>
                  <a:lnTo>
                    <a:pt x="38" y="117"/>
                  </a:lnTo>
                  <a:lnTo>
                    <a:pt x="38" y="120"/>
                  </a:lnTo>
                  <a:lnTo>
                    <a:pt x="38" y="121"/>
                  </a:lnTo>
                  <a:lnTo>
                    <a:pt x="39" y="126"/>
                  </a:lnTo>
                  <a:lnTo>
                    <a:pt x="43" y="130"/>
                  </a:lnTo>
                  <a:lnTo>
                    <a:pt x="45" y="132"/>
                  </a:lnTo>
                  <a:lnTo>
                    <a:pt x="43" y="134"/>
                  </a:lnTo>
                  <a:lnTo>
                    <a:pt x="45" y="136"/>
                  </a:lnTo>
                  <a:lnTo>
                    <a:pt x="46" y="136"/>
                  </a:lnTo>
                  <a:lnTo>
                    <a:pt x="50" y="140"/>
                  </a:lnTo>
                  <a:lnTo>
                    <a:pt x="50" y="142"/>
                  </a:lnTo>
                  <a:lnTo>
                    <a:pt x="52" y="146"/>
                  </a:lnTo>
                  <a:lnTo>
                    <a:pt x="53" y="147"/>
                  </a:lnTo>
                  <a:lnTo>
                    <a:pt x="56" y="147"/>
                  </a:lnTo>
                  <a:lnTo>
                    <a:pt x="56" y="150"/>
                  </a:lnTo>
                  <a:lnTo>
                    <a:pt x="60" y="155"/>
                  </a:lnTo>
                  <a:lnTo>
                    <a:pt x="60" y="158"/>
                  </a:lnTo>
                  <a:lnTo>
                    <a:pt x="64" y="164"/>
                  </a:lnTo>
                  <a:lnTo>
                    <a:pt x="64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8"/>
                  </a:lnTo>
                  <a:lnTo>
                    <a:pt x="62" y="169"/>
                  </a:lnTo>
                  <a:lnTo>
                    <a:pt x="62" y="170"/>
                  </a:lnTo>
                  <a:lnTo>
                    <a:pt x="64" y="170"/>
                  </a:lnTo>
                  <a:lnTo>
                    <a:pt x="65" y="172"/>
                  </a:lnTo>
                  <a:lnTo>
                    <a:pt x="65" y="173"/>
                  </a:lnTo>
                  <a:lnTo>
                    <a:pt x="65" y="174"/>
                  </a:lnTo>
                  <a:lnTo>
                    <a:pt x="69" y="177"/>
                  </a:lnTo>
                  <a:lnTo>
                    <a:pt x="72" y="179"/>
                  </a:lnTo>
                  <a:lnTo>
                    <a:pt x="73" y="181"/>
                  </a:lnTo>
                  <a:lnTo>
                    <a:pt x="75" y="183"/>
                  </a:lnTo>
                  <a:lnTo>
                    <a:pt x="77" y="183"/>
                  </a:lnTo>
                  <a:lnTo>
                    <a:pt x="77" y="184"/>
                  </a:lnTo>
                  <a:lnTo>
                    <a:pt x="79" y="187"/>
                  </a:lnTo>
                  <a:lnTo>
                    <a:pt x="80" y="187"/>
                  </a:lnTo>
                  <a:lnTo>
                    <a:pt x="83" y="187"/>
                  </a:lnTo>
                  <a:lnTo>
                    <a:pt x="84" y="185"/>
                  </a:lnTo>
                  <a:lnTo>
                    <a:pt x="84" y="188"/>
                  </a:lnTo>
                  <a:lnTo>
                    <a:pt x="86" y="189"/>
                  </a:lnTo>
                  <a:lnTo>
                    <a:pt x="90" y="192"/>
                  </a:lnTo>
                  <a:lnTo>
                    <a:pt x="91" y="194"/>
                  </a:lnTo>
                  <a:lnTo>
                    <a:pt x="92" y="195"/>
                  </a:lnTo>
                  <a:lnTo>
                    <a:pt x="94" y="196"/>
                  </a:lnTo>
                  <a:lnTo>
                    <a:pt x="96" y="198"/>
                  </a:lnTo>
                  <a:lnTo>
                    <a:pt x="98" y="198"/>
                  </a:lnTo>
                  <a:lnTo>
                    <a:pt x="99" y="198"/>
                  </a:lnTo>
                  <a:lnTo>
                    <a:pt x="103" y="200"/>
                  </a:lnTo>
                  <a:lnTo>
                    <a:pt x="107" y="202"/>
                  </a:lnTo>
                  <a:lnTo>
                    <a:pt x="109" y="202"/>
                  </a:lnTo>
                  <a:lnTo>
                    <a:pt x="110" y="202"/>
                  </a:lnTo>
                  <a:lnTo>
                    <a:pt x="111" y="203"/>
                  </a:lnTo>
                  <a:lnTo>
                    <a:pt x="114" y="206"/>
                  </a:lnTo>
                  <a:lnTo>
                    <a:pt x="115" y="207"/>
                  </a:lnTo>
                  <a:lnTo>
                    <a:pt x="118" y="210"/>
                  </a:lnTo>
                  <a:lnTo>
                    <a:pt x="120" y="210"/>
                  </a:lnTo>
                  <a:lnTo>
                    <a:pt x="121" y="211"/>
                  </a:lnTo>
                  <a:lnTo>
                    <a:pt x="121" y="213"/>
                  </a:lnTo>
                  <a:lnTo>
                    <a:pt x="121" y="214"/>
                  </a:lnTo>
                  <a:lnTo>
                    <a:pt x="124" y="215"/>
                  </a:lnTo>
                  <a:lnTo>
                    <a:pt x="126" y="217"/>
                  </a:lnTo>
                  <a:lnTo>
                    <a:pt x="129" y="219"/>
                  </a:lnTo>
                  <a:lnTo>
                    <a:pt x="132" y="222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7" y="222"/>
                  </a:lnTo>
                  <a:lnTo>
                    <a:pt x="140" y="221"/>
                  </a:lnTo>
                  <a:lnTo>
                    <a:pt x="141" y="221"/>
                  </a:lnTo>
                  <a:lnTo>
                    <a:pt x="144" y="219"/>
                  </a:lnTo>
                  <a:lnTo>
                    <a:pt x="144" y="217"/>
                  </a:lnTo>
                  <a:lnTo>
                    <a:pt x="143" y="215"/>
                  </a:lnTo>
                  <a:lnTo>
                    <a:pt x="143" y="213"/>
                  </a:lnTo>
                  <a:lnTo>
                    <a:pt x="144" y="211"/>
                  </a:lnTo>
                  <a:lnTo>
                    <a:pt x="147" y="211"/>
                  </a:lnTo>
                  <a:lnTo>
                    <a:pt x="145" y="210"/>
                  </a:lnTo>
                  <a:lnTo>
                    <a:pt x="144" y="210"/>
                  </a:lnTo>
                  <a:lnTo>
                    <a:pt x="144" y="208"/>
                  </a:lnTo>
                  <a:lnTo>
                    <a:pt x="145" y="204"/>
                  </a:lnTo>
                  <a:lnTo>
                    <a:pt x="148" y="203"/>
                  </a:lnTo>
                  <a:lnTo>
                    <a:pt x="149" y="200"/>
                  </a:lnTo>
                  <a:lnTo>
                    <a:pt x="151" y="198"/>
                  </a:lnTo>
                  <a:lnTo>
                    <a:pt x="147" y="189"/>
                  </a:lnTo>
                  <a:lnTo>
                    <a:pt x="148" y="188"/>
                  </a:lnTo>
                  <a:lnTo>
                    <a:pt x="148" y="185"/>
                  </a:lnTo>
                  <a:lnTo>
                    <a:pt x="147" y="183"/>
                  </a:lnTo>
                  <a:lnTo>
                    <a:pt x="147" y="181"/>
                  </a:lnTo>
                  <a:lnTo>
                    <a:pt x="148" y="179"/>
                  </a:lnTo>
                  <a:lnTo>
                    <a:pt x="149" y="174"/>
                  </a:lnTo>
                  <a:lnTo>
                    <a:pt x="148" y="168"/>
                  </a:lnTo>
                  <a:lnTo>
                    <a:pt x="148" y="164"/>
                  </a:lnTo>
                  <a:lnTo>
                    <a:pt x="149" y="161"/>
                  </a:lnTo>
                  <a:lnTo>
                    <a:pt x="149" y="153"/>
                  </a:lnTo>
                  <a:lnTo>
                    <a:pt x="151" y="149"/>
                  </a:lnTo>
                  <a:lnTo>
                    <a:pt x="151" y="147"/>
                  </a:lnTo>
                  <a:lnTo>
                    <a:pt x="140" y="13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60" name="Freeform 161"/>
            <p:cNvSpPr>
              <a:spLocks/>
            </p:cNvSpPr>
            <p:nvPr/>
          </p:nvSpPr>
          <p:spPr bwMode="auto">
            <a:xfrm>
              <a:off x="1165" y="2119"/>
              <a:ext cx="145" cy="163"/>
            </a:xfrm>
            <a:custGeom>
              <a:avLst/>
              <a:gdLst>
                <a:gd name="T0" fmla="*/ 140 w 145"/>
                <a:gd name="T1" fmla="*/ 120 h 163"/>
                <a:gd name="T2" fmla="*/ 140 w 145"/>
                <a:gd name="T3" fmla="*/ 91 h 163"/>
                <a:gd name="T4" fmla="*/ 133 w 145"/>
                <a:gd name="T5" fmla="*/ 78 h 163"/>
                <a:gd name="T6" fmla="*/ 109 w 145"/>
                <a:gd name="T7" fmla="*/ 65 h 163"/>
                <a:gd name="T8" fmla="*/ 109 w 145"/>
                <a:gd name="T9" fmla="*/ 53 h 163"/>
                <a:gd name="T10" fmla="*/ 97 w 145"/>
                <a:gd name="T11" fmla="*/ 49 h 163"/>
                <a:gd name="T12" fmla="*/ 91 w 145"/>
                <a:gd name="T13" fmla="*/ 42 h 163"/>
                <a:gd name="T14" fmla="*/ 80 w 145"/>
                <a:gd name="T15" fmla="*/ 39 h 163"/>
                <a:gd name="T16" fmla="*/ 69 w 145"/>
                <a:gd name="T17" fmla="*/ 33 h 163"/>
                <a:gd name="T18" fmla="*/ 61 w 145"/>
                <a:gd name="T19" fmla="*/ 33 h 163"/>
                <a:gd name="T20" fmla="*/ 53 w 145"/>
                <a:gd name="T21" fmla="*/ 24 h 163"/>
                <a:gd name="T22" fmla="*/ 50 w 145"/>
                <a:gd name="T23" fmla="*/ 16 h 163"/>
                <a:gd name="T24" fmla="*/ 49 w 145"/>
                <a:gd name="T25" fmla="*/ 4 h 163"/>
                <a:gd name="T26" fmla="*/ 45 w 145"/>
                <a:gd name="T27" fmla="*/ 1 h 163"/>
                <a:gd name="T28" fmla="*/ 37 w 145"/>
                <a:gd name="T29" fmla="*/ 1 h 163"/>
                <a:gd name="T30" fmla="*/ 24 w 145"/>
                <a:gd name="T31" fmla="*/ 11 h 163"/>
                <a:gd name="T32" fmla="*/ 16 w 145"/>
                <a:gd name="T33" fmla="*/ 15 h 163"/>
                <a:gd name="T34" fmla="*/ 7 w 145"/>
                <a:gd name="T35" fmla="*/ 16 h 163"/>
                <a:gd name="T36" fmla="*/ 11 w 145"/>
                <a:gd name="T37" fmla="*/ 33 h 163"/>
                <a:gd name="T38" fmla="*/ 8 w 145"/>
                <a:gd name="T39" fmla="*/ 48 h 163"/>
                <a:gd name="T40" fmla="*/ 8 w 145"/>
                <a:gd name="T41" fmla="*/ 63 h 163"/>
                <a:gd name="T42" fmla="*/ 8 w 145"/>
                <a:gd name="T43" fmla="*/ 69 h 163"/>
                <a:gd name="T44" fmla="*/ 11 w 145"/>
                <a:gd name="T45" fmla="*/ 82 h 163"/>
                <a:gd name="T46" fmla="*/ 5 w 145"/>
                <a:gd name="T47" fmla="*/ 88 h 163"/>
                <a:gd name="T48" fmla="*/ 5 w 145"/>
                <a:gd name="T49" fmla="*/ 94 h 163"/>
                <a:gd name="T50" fmla="*/ 7 w 145"/>
                <a:gd name="T51" fmla="*/ 99 h 163"/>
                <a:gd name="T52" fmla="*/ 11 w 145"/>
                <a:gd name="T53" fmla="*/ 105 h 163"/>
                <a:gd name="T54" fmla="*/ 11 w 145"/>
                <a:gd name="T55" fmla="*/ 111 h 163"/>
                <a:gd name="T56" fmla="*/ 19 w 145"/>
                <a:gd name="T57" fmla="*/ 121 h 163"/>
                <a:gd name="T58" fmla="*/ 16 w 145"/>
                <a:gd name="T59" fmla="*/ 132 h 163"/>
                <a:gd name="T60" fmla="*/ 31 w 145"/>
                <a:gd name="T61" fmla="*/ 163 h 163"/>
                <a:gd name="T62" fmla="*/ 38 w 145"/>
                <a:gd name="T63" fmla="*/ 162 h 163"/>
                <a:gd name="T64" fmla="*/ 41 w 145"/>
                <a:gd name="T65" fmla="*/ 155 h 163"/>
                <a:gd name="T66" fmla="*/ 52 w 145"/>
                <a:gd name="T67" fmla="*/ 152 h 163"/>
                <a:gd name="T68" fmla="*/ 60 w 145"/>
                <a:gd name="T69" fmla="*/ 152 h 163"/>
                <a:gd name="T70" fmla="*/ 67 w 145"/>
                <a:gd name="T71" fmla="*/ 155 h 163"/>
                <a:gd name="T72" fmla="*/ 71 w 145"/>
                <a:gd name="T73" fmla="*/ 159 h 163"/>
                <a:gd name="T74" fmla="*/ 71 w 145"/>
                <a:gd name="T75" fmla="*/ 152 h 163"/>
                <a:gd name="T76" fmla="*/ 86 w 145"/>
                <a:gd name="T77" fmla="*/ 151 h 163"/>
                <a:gd name="T78" fmla="*/ 92 w 145"/>
                <a:gd name="T79" fmla="*/ 141 h 163"/>
                <a:gd name="T80" fmla="*/ 91 w 145"/>
                <a:gd name="T81" fmla="*/ 133 h 163"/>
                <a:gd name="T82" fmla="*/ 97 w 145"/>
                <a:gd name="T83" fmla="*/ 122 h 163"/>
                <a:gd name="T84" fmla="*/ 128 w 145"/>
                <a:gd name="T85" fmla="*/ 116 h 163"/>
                <a:gd name="T86" fmla="*/ 139 w 145"/>
                <a:gd name="T87" fmla="*/ 124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163">
                  <a:moveTo>
                    <a:pt x="139" y="124"/>
                  </a:moveTo>
                  <a:lnTo>
                    <a:pt x="140" y="121"/>
                  </a:lnTo>
                  <a:lnTo>
                    <a:pt x="140" y="120"/>
                  </a:lnTo>
                  <a:lnTo>
                    <a:pt x="145" y="109"/>
                  </a:lnTo>
                  <a:lnTo>
                    <a:pt x="145" y="102"/>
                  </a:lnTo>
                  <a:lnTo>
                    <a:pt x="140" y="91"/>
                  </a:lnTo>
                  <a:lnTo>
                    <a:pt x="133" y="90"/>
                  </a:lnTo>
                  <a:lnTo>
                    <a:pt x="133" y="86"/>
                  </a:lnTo>
                  <a:lnTo>
                    <a:pt x="133" y="78"/>
                  </a:lnTo>
                  <a:lnTo>
                    <a:pt x="113" y="78"/>
                  </a:lnTo>
                  <a:lnTo>
                    <a:pt x="113" y="72"/>
                  </a:lnTo>
                  <a:lnTo>
                    <a:pt x="109" y="65"/>
                  </a:lnTo>
                  <a:lnTo>
                    <a:pt x="110" y="63"/>
                  </a:lnTo>
                  <a:lnTo>
                    <a:pt x="109" y="58"/>
                  </a:lnTo>
                  <a:lnTo>
                    <a:pt x="109" y="53"/>
                  </a:lnTo>
                  <a:lnTo>
                    <a:pt x="109" y="50"/>
                  </a:lnTo>
                  <a:lnTo>
                    <a:pt x="103" y="48"/>
                  </a:lnTo>
                  <a:lnTo>
                    <a:pt x="97" y="49"/>
                  </a:lnTo>
                  <a:lnTo>
                    <a:pt x="94" y="46"/>
                  </a:lnTo>
                  <a:lnTo>
                    <a:pt x="91" y="46"/>
                  </a:lnTo>
                  <a:lnTo>
                    <a:pt x="91" y="42"/>
                  </a:lnTo>
                  <a:lnTo>
                    <a:pt x="87" y="41"/>
                  </a:lnTo>
                  <a:lnTo>
                    <a:pt x="83" y="39"/>
                  </a:lnTo>
                  <a:lnTo>
                    <a:pt x="80" y="39"/>
                  </a:lnTo>
                  <a:lnTo>
                    <a:pt x="76" y="35"/>
                  </a:lnTo>
                  <a:lnTo>
                    <a:pt x="73" y="37"/>
                  </a:lnTo>
                  <a:lnTo>
                    <a:pt x="69" y="33"/>
                  </a:lnTo>
                  <a:lnTo>
                    <a:pt x="64" y="34"/>
                  </a:lnTo>
                  <a:lnTo>
                    <a:pt x="63" y="34"/>
                  </a:lnTo>
                  <a:lnTo>
                    <a:pt x="61" y="33"/>
                  </a:lnTo>
                  <a:lnTo>
                    <a:pt x="57" y="30"/>
                  </a:lnTo>
                  <a:lnTo>
                    <a:pt x="54" y="29"/>
                  </a:lnTo>
                  <a:lnTo>
                    <a:pt x="53" y="24"/>
                  </a:lnTo>
                  <a:lnTo>
                    <a:pt x="50" y="23"/>
                  </a:lnTo>
                  <a:lnTo>
                    <a:pt x="49" y="19"/>
                  </a:lnTo>
                  <a:lnTo>
                    <a:pt x="50" y="16"/>
                  </a:lnTo>
                  <a:lnTo>
                    <a:pt x="48" y="11"/>
                  </a:lnTo>
                  <a:lnTo>
                    <a:pt x="50" y="8"/>
                  </a:lnTo>
                  <a:lnTo>
                    <a:pt x="49" y="4"/>
                  </a:lnTo>
                  <a:lnTo>
                    <a:pt x="49" y="1"/>
                  </a:lnTo>
                  <a:lnTo>
                    <a:pt x="48" y="0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7" y="1"/>
                  </a:lnTo>
                  <a:lnTo>
                    <a:pt x="33" y="3"/>
                  </a:lnTo>
                  <a:lnTo>
                    <a:pt x="27" y="5"/>
                  </a:lnTo>
                  <a:lnTo>
                    <a:pt x="24" y="11"/>
                  </a:lnTo>
                  <a:lnTo>
                    <a:pt x="22" y="12"/>
                  </a:lnTo>
                  <a:lnTo>
                    <a:pt x="19" y="12"/>
                  </a:lnTo>
                  <a:lnTo>
                    <a:pt x="16" y="15"/>
                  </a:lnTo>
                  <a:lnTo>
                    <a:pt x="14" y="15"/>
                  </a:lnTo>
                  <a:lnTo>
                    <a:pt x="11" y="1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11" y="31"/>
                  </a:lnTo>
                  <a:lnTo>
                    <a:pt x="11" y="33"/>
                  </a:lnTo>
                  <a:lnTo>
                    <a:pt x="9" y="37"/>
                  </a:lnTo>
                  <a:lnTo>
                    <a:pt x="9" y="45"/>
                  </a:lnTo>
                  <a:lnTo>
                    <a:pt x="8" y="48"/>
                  </a:lnTo>
                  <a:lnTo>
                    <a:pt x="8" y="52"/>
                  </a:lnTo>
                  <a:lnTo>
                    <a:pt x="9" y="58"/>
                  </a:lnTo>
                  <a:lnTo>
                    <a:pt x="8" y="63"/>
                  </a:lnTo>
                  <a:lnTo>
                    <a:pt x="7" y="65"/>
                  </a:lnTo>
                  <a:lnTo>
                    <a:pt x="7" y="67"/>
                  </a:lnTo>
                  <a:lnTo>
                    <a:pt x="8" y="69"/>
                  </a:lnTo>
                  <a:lnTo>
                    <a:pt x="8" y="72"/>
                  </a:lnTo>
                  <a:lnTo>
                    <a:pt x="7" y="73"/>
                  </a:lnTo>
                  <a:lnTo>
                    <a:pt x="11" y="82"/>
                  </a:lnTo>
                  <a:lnTo>
                    <a:pt x="9" y="84"/>
                  </a:lnTo>
                  <a:lnTo>
                    <a:pt x="8" y="87"/>
                  </a:lnTo>
                  <a:lnTo>
                    <a:pt x="5" y="88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5" y="94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9"/>
                  </a:lnTo>
                  <a:lnTo>
                    <a:pt x="9" y="101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11" y="106"/>
                  </a:lnTo>
                  <a:lnTo>
                    <a:pt x="11" y="107"/>
                  </a:lnTo>
                  <a:lnTo>
                    <a:pt x="11" y="111"/>
                  </a:lnTo>
                  <a:lnTo>
                    <a:pt x="14" y="114"/>
                  </a:lnTo>
                  <a:lnTo>
                    <a:pt x="19" y="118"/>
                  </a:lnTo>
                  <a:lnTo>
                    <a:pt x="19" y="121"/>
                  </a:lnTo>
                  <a:lnTo>
                    <a:pt x="18" y="124"/>
                  </a:lnTo>
                  <a:lnTo>
                    <a:pt x="19" y="126"/>
                  </a:lnTo>
                  <a:lnTo>
                    <a:pt x="16" y="132"/>
                  </a:lnTo>
                  <a:lnTo>
                    <a:pt x="18" y="135"/>
                  </a:lnTo>
                  <a:lnTo>
                    <a:pt x="23" y="140"/>
                  </a:lnTo>
                  <a:lnTo>
                    <a:pt x="31" y="163"/>
                  </a:lnTo>
                  <a:lnTo>
                    <a:pt x="35" y="163"/>
                  </a:lnTo>
                  <a:lnTo>
                    <a:pt x="35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9" y="159"/>
                  </a:lnTo>
                  <a:lnTo>
                    <a:pt x="41" y="155"/>
                  </a:lnTo>
                  <a:lnTo>
                    <a:pt x="46" y="151"/>
                  </a:lnTo>
                  <a:lnTo>
                    <a:pt x="49" y="150"/>
                  </a:lnTo>
                  <a:lnTo>
                    <a:pt x="52" y="152"/>
                  </a:lnTo>
                  <a:lnTo>
                    <a:pt x="54" y="152"/>
                  </a:lnTo>
                  <a:lnTo>
                    <a:pt x="57" y="151"/>
                  </a:lnTo>
                  <a:lnTo>
                    <a:pt x="60" y="152"/>
                  </a:lnTo>
                  <a:lnTo>
                    <a:pt x="64" y="151"/>
                  </a:lnTo>
                  <a:lnTo>
                    <a:pt x="67" y="151"/>
                  </a:lnTo>
                  <a:lnTo>
                    <a:pt x="67" y="155"/>
                  </a:lnTo>
                  <a:lnTo>
                    <a:pt x="68" y="159"/>
                  </a:lnTo>
                  <a:lnTo>
                    <a:pt x="69" y="160"/>
                  </a:lnTo>
                  <a:lnTo>
                    <a:pt x="71" y="159"/>
                  </a:lnTo>
                  <a:lnTo>
                    <a:pt x="69" y="158"/>
                  </a:lnTo>
                  <a:lnTo>
                    <a:pt x="71" y="155"/>
                  </a:lnTo>
                  <a:lnTo>
                    <a:pt x="71" y="152"/>
                  </a:lnTo>
                  <a:lnTo>
                    <a:pt x="73" y="150"/>
                  </a:lnTo>
                  <a:lnTo>
                    <a:pt x="80" y="150"/>
                  </a:lnTo>
                  <a:lnTo>
                    <a:pt x="86" y="151"/>
                  </a:lnTo>
                  <a:lnTo>
                    <a:pt x="88" y="152"/>
                  </a:lnTo>
                  <a:lnTo>
                    <a:pt x="88" y="148"/>
                  </a:lnTo>
                  <a:lnTo>
                    <a:pt x="92" y="141"/>
                  </a:lnTo>
                  <a:lnTo>
                    <a:pt x="92" y="139"/>
                  </a:lnTo>
                  <a:lnTo>
                    <a:pt x="92" y="136"/>
                  </a:lnTo>
                  <a:lnTo>
                    <a:pt x="91" y="133"/>
                  </a:lnTo>
                  <a:lnTo>
                    <a:pt x="94" y="128"/>
                  </a:lnTo>
                  <a:lnTo>
                    <a:pt x="97" y="124"/>
                  </a:lnTo>
                  <a:lnTo>
                    <a:pt x="97" y="122"/>
                  </a:lnTo>
                  <a:lnTo>
                    <a:pt x="99" y="120"/>
                  </a:lnTo>
                  <a:lnTo>
                    <a:pt x="114" y="116"/>
                  </a:lnTo>
                  <a:lnTo>
                    <a:pt x="128" y="116"/>
                  </a:lnTo>
                  <a:lnTo>
                    <a:pt x="136" y="122"/>
                  </a:lnTo>
                  <a:lnTo>
                    <a:pt x="137" y="122"/>
                  </a:lnTo>
                  <a:lnTo>
                    <a:pt x="139" y="12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61" name="Freeform 162"/>
            <p:cNvSpPr>
              <a:spLocks/>
            </p:cNvSpPr>
            <p:nvPr/>
          </p:nvSpPr>
          <p:spPr bwMode="auto">
            <a:xfrm>
              <a:off x="1253" y="2235"/>
              <a:ext cx="101" cy="106"/>
            </a:xfrm>
            <a:custGeom>
              <a:avLst/>
              <a:gdLst>
                <a:gd name="T0" fmla="*/ 0 w 101"/>
                <a:gd name="T1" fmla="*/ 32 h 106"/>
                <a:gd name="T2" fmla="*/ 4 w 101"/>
                <a:gd name="T3" fmla="*/ 23 h 106"/>
                <a:gd name="T4" fmla="*/ 3 w 101"/>
                <a:gd name="T5" fmla="*/ 17 h 106"/>
                <a:gd name="T6" fmla="*/ 9 w 101"/>
                <a:gd name="T7" fmla="*/ 8 h 106"/>
                <a:gd name="T8" fmla="*/ 11 w 101"/>
                <a:gd name="T9" fmla="*/ 4 h 106"/>
                <a:gd name="T10" fmla="*/ 40 w 101"/>
                <a:gd name="T11" fmla="*/ 0 h 106"/>
                <a:gd name="T12" fmla="*/ 49 w 101"/>
                <a:gd name="T13" fmla="*/ 6 h 106"/>
                <a:gd name="T14" fmla="*/ 52 w 101"/>
                <a:gd name="T15" fmla="*/ 12 h 106"/>
                <a:gd name="T16" fmla="*/ 55 w 101"/>
                <a:gd name="T17" fmla="*/ 17 h 106"/>
                <a:gd name="T18" fmla="*/ 56 w 101"/>
                <a:gd name="T19" fmla="*/ 28 h 106"/>
                <a:gd name="T20" fmla="*/ 56 w 101"/>
                <a:gd name="T21" fmla="*/ 34 h 106"/>
                <a:gd name="T22" fmla="*/ 60 w 101"/>
                <a:gd name="T23" fmla="*/ 35 h 106"/>
                <a:gd name="T24" fmla="*/ 68 w 101"/>
                <a:gd name="T25" fmla="*/ 36 h 106"/>
                <a:gd name="T26" fmla="*/ 76 w 101"/>
                <a:gd name="T27" fmla="*/ 35 h 106"/>
                <a:gd name="T28" fmla="*/ 82 w 101"/>
                <a:gd name="T29" fmla="*/ 38 h 106"/>
                <a:gd name="T30" fmla="*/ 86 w 101"/>
                <a:gd name="T31" fmla="*/ 53 h 106"/>
                <a:gd name="T32" fmla="*/ 90 w 101"/>
                <a:gd name="T33" fmla="*/ 58 h 106"/>
                <a:gd name="T34" fmla="*/ 97 w 101"/>
                <a:gd name="T35" fmla="*/ 57 h 106"/>
                <a:gd name="T36" fmla="*/ 101 w 101"/>
                <a:gd name="T37" fmla="*/ 58 h 106"/>
                <a:gd name="T38" fmla="*/ 100 w 101"/>
                <a:gd name="T39" fmla="*/ 72 h 106"/>
                <a:gd name="T40" fmla="*/ 98 w 101"/>
                <a:gd name="T41" fmla="*/ 73 h 106"/>
                <a:gd name="T42" fmla="*/ 98 w 101"/>
                <a:gd name="T43" fmla="*/ 76 h 106"/>
                <a:gd name="T44" fmla="*/ 97 w 101"/>
                <a:gd name="T45" fmla="*/ 77 h 106"/>
                <a:gd name="T46" fmla="*/ 97 w 101"/>
                <a:gd name="T47" fmla="*/ 82 h 106"/>
                <a:gd name="T48" fmla="*/ 96 w 101"/>
                <a:gd name="T49" fmla="*/ 88 h 106"/>
                <a:gd name="T50" fmla="*/ 93 w 101"/>
                <a:gd name="T51" fmla="*/ 93 h 106"/>
                <a:gd name="T52" fmla="*/ 86 w 101"/>
                <a:gd name="T53" fmla="*/ 100 h 106"/>
                <a:gd name="T54" fmla="*/ 82 w 101"/>
                <a:gd name="T55" fmla="*/ 102 h 106"/>
                <a:gd name="T56" fmla="*/ 78 w 101"/>
                <a:gd name="T57" fmla="*/ 106 h 106"/>
                <a:gd name="T58" fmla="*/ 75 w 101"/>
                <a:gd name="T59" fmla="*/ 104 h 106"/>
                <a:gd name="T60" fmla="*/ 68 w 101"/>
                <a:gd name="T61" fmla="*/ 103 h 106"/>
                <a:gd name="T62" fmla="*/ 52 w 101"/>
                <a:gd name="T63" fmla="*/ 102 h 106"/>
                <a:gd name="T64" fmla="*/ 51 w 101"/>
                <a:gd name="T65" fmla="*/ 99 h 106"/>
                <a:gd name="T66" fmla="*/ 56 w 101"/>
                <a:gd name="T67" fmla="*/ 91 h 106"/>
                <a:gd name="T68" fmla="*/ 57 w 101"/>
                <a:gd name="T69" fmla="*/ 87 h 106"/>
                <a:gd name="T70" fmla="*/ 62 w 101"/>
                <a:gd name="T71" fmla="*/ 82 h 106"/>
                <a:gd name="T72" fmla="*/ 60 w 101"/>
                <a:gd name="T73" fmla="*/ 77 h 106"/>
                <a:gd name="T74" fmla="*/ 55 w 101"/>
                <a:gd name="T75" fmla="*/ 72 h 106"/>
                <a:gd name="T76" fmla="*/ 42 w 101"/>
                <a:gd name="T77" fmla="*/ 68 h 106"/>
                <a:gd name="T78" fmla="*/ 34 w 101"/>
                <a:gd name="T79" fmla="*/ 62 h 106"/>
                <a:gd name="T80" fmla="*/ 23 w 101"/>
                <a:gd name="T81" fmla="*/ 58 h 106"/>
                <a:gd name="T82" fmla="*/ 18 w 101"/>
                <a:gd name="T83" fmla="*/ 53 h 106"/>
                <a:gd name="T84" fmla="*/ 9 w 101"/>
                <a:gd name="T85" fmla="*/ 46 h 106"/>
                <a:gd name="T86" fmla="*/ 3 w 101"/>
                <a:gd name="T87" fmla="*/ 39 h 106"/>
                <a:gd name="T88" fmla="*/ 0 w 101"/>
                <a:gd name="T89" fmla="*/ 3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1" h="106">
                  <a:moveTo>
                    <a:pt x="0" y="36"/>
                  </a:moveTo>
                  <a:lnTo>
                    <a:pt x="0" y="32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4" y="20"/>
                  </a:lnTo>
                  <a:lnTo>
                    <a:pt x="3" y="17"/>
                  </a:lnTo>
                  <a:lnTo>
                    <a:pt x="6" y="12"/>
                  </a:lnTo>
                  <a:lnTo>
                    <a:pt x="9" y="8"/>
                  </a:lnTo>
                  <a:lnTo>
                    <a:pt x="9" y="6"/>
                  </a:lnTo>
                  <a:lnTo>
                    <a:pt x="11" y="4"/>
                  </a:lnTo>
                  <a:lnTo>
                    <a:pt x="26" y="0"/>
                  </a:lnTo>
                  <a:lnTo>
                    <a:pt x="40" y="0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52" y="9"/>
                  </a:lnTo>
                  <a:lnTo>
                    <a:pt x="52" y="12"/>
                  </a:lnTo>
                  <a:lnTo>
                    <a:pt x="55" y="13"/>
                  </a:lnTo>
                  <a:lnTo>
                    <a:pt x="55" y="17"/>
                  </a:lnTo>
                  <a:lnTo>
                    <a:pt x="56" y="20"/>
                  </a:lnTo>
                  <a:lnTo>
                    <a:pt x="56" y="28"/>
                  </a:lnTo>
                  <a:lnTo>
                    <a:pt x="56" y="31"/>
                  </a:lnTo>
                  <a:lnTo>
                    <a:pt x="56" y="34"/>
                  </a:lnTo>
                  <a:lnTo>
                    <a:pt x="56" y="36"/>
                  </a:lnTo>
                  <a:lnTo>
                    <a:pt x="60" y="35"/>
                  </a:lnTo>
                  <a:lnTo>
                    <a:pt x="63" y="36"/>
                  </a:lnTo>
                  <a:lnTo>
                    <a:pt x="68" y="36"/>
                  </a:lnTo>
                  <a:lnTo>
                    <a:pt x="71" y="38"/>
                  </a:lnTo>
                  <a:lnTo>
                    <a:pt x="76" y="35"/>
                  </a:lnTo>
                  <a:lnTo>
                    <a:pt x="79" y="36"/>
                  </a:lnTo>
                  <a:lnTo>
                    <a:pt x="82" y="38"/>
                  </a:lnTo>
                  <a:lnTo>
                    <a:pt x="83" y="40"/>
                  </a:lnTo>
                  <a:lnTo>
                    <a:pt x="86" y="53"/>
                  </a:lnTo>
                  <a:lnTo>
                    <a:pt x="87" y="58"/>
                  </a:lnTo>
                  <a:lnTo>
                    <a:pt x="90" y="58"/>
                  </a:lnTo>
                  <a:lnTo>
                    <a:pt x="94" y="55"/>
                  </a:lnTo>
                  <a:lnTo>
                    <a:pt x="97" y="57"/>
                  </a:lnTo>
                  <a:lnTo>
                    <a:pt x="98" y="58"/>
                  </a:lnTo>
                  <a:lnTo>
                    <a:pt x="101" y="58"/>
                  </a:lnTo>
                  <a:lnTo>
                    <a:pt x="100" y="61"/>
                  </a:lnTo>
                  <a:lnTo>
                    <a:pt x="100" y="72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98" y="74"/>
                  </a:lnTo>
                  <a:lnTo>
                    <a:pt x="98" y="76"/>
                  </a:lnTo>
                  <a:lnTo>
                    <a:pt x="98" y="77"/>
                  </a:lnTo>
                  <a:lnTo>
                    <a:pt x="97" y="77"/>
                  </a:lnTo>
                  <a:lnTo>
                    <a:pt x="97" y="81"/>
                  </a:lnTo>
                  <a:lnTo>
                    <a:pt x="97" y="82"/>
                  </a:lnTo>
                  <a:lnTo>
                    <a:pt x="97" y="87"/>
                  </a:lnTo>
                  <a:lnTo>
                    <a:pt x="96" y="88"/>
                  </a:lnTo>
                  <a:lnTo>
                    <a:pt x="93" y="91"/>
                  </a:lnTo>
                  <a:lnTo>
                    <a:pt x="93" y="93"/>
                  </a:lnTo>
                  <a:lnTo>
                    <a:pt x="87" y="97"/>
                  </a:lnTo>
                  <a:lnTo>
                    <a:pt x="86" y="100"/>
                  </a:lnTo>
                  <a:lnTo>
                    <a:pt x="85" y="103"/>
                  </a:lnTo>
                  <a:lnTo>
                    <a:pt x="82" y="102"/>
                  </a:lnTo>
                  <a:lnTo>
                    <a:pt x="81" y="103"/>
                  </a:lnTo>
                  <a:lnTo>
                    <a:pt x="78" y="106"/>
                  </a:lnTo>
                  <a:lnTo>
                    <a:pt x="76" y="104"/>
                  </a:lnTo>
                  <a:lnTo>
                    <a:pt x="75" y="104"/>
                  </a:lnTo>
                  <a:lnTo>
                    <a:pt x="72" y="106"/>
                  </a:lnTo>
                  <a:lnTo>
                    <a:pt x="68" y="103"/>
                  </a:lnTo>
                  <a:lnTo>
                    <a:pt x="62" y="100"/>
                  </a:lnTo>
                  <a:lnTo>
                    <a:pt x="52" y="102"/>
                  </a:lnTo>
                  <a:lnTo>
                    <a:pt x="51" y="102"/>
                  </a:lnTo>
                  <a:lnTo>
                    <a:pt x="51" y="99"/>
                  </a:lnTo>
                  <a:lnTo>
                    <a:pt x="55" y="96"/>
                  </a:lnTo>
                  <a:lnTo>
                    <a:pt x="56" y="91"/>
                  </a:lnTo>
                  <a:lnTo>
                    <a:pt x="56" y="88"/>
                  </a:lnTo>
                  <a:lnTo>
                    <a:pt x="57" y="87"/>
                  </a:lnTo>
                  <a:lnTo>
                    <a:pt x="59" y="85"/>
                  </a:lnTo>
                  <a:lnTo>
                    <a:pt x="62" y="82"/>
                  </a:lnTo>
                  <a:lnTo>
                    <a:pt x="62" y="80"/>
                  </a:lnTo>
                  <a:lnTo>
                    <a:pt x="60" y="77"/>
                  </a:lnTo>
                  <a:lnTo>
                    <a:pt x="57" y="74"/>
                  </a:lnTo>
                  <a:lnTo>
                    <a:pt x="55" y="72"/>
                  </a:lnTo>
                  <a:lnTo>
                    <a:pt x="47" y="70"/>
                  </a:lnTo>
                  <a:lnTo>
                    <a:pt x="42" y="68"/>
                  </a:lnTo>
                  <a:lnTo>
                    <a:pt x="37" y="63"/>
                  </a:lnTo>
                  <a:lnTo>
                    <a:pt x="34" y="62"/>
                  </a:lnTo>
                  <a:lnTo>
                    <a:pt x="30" y="61"/>
                  </a:lnTo>
                  <a:lnTo>
                    <a:pt x="23" y="58"/>
                  </a:lnTo>
                  <a:lnTo>
                    <a:pt x="21" y="55"/>
                  </a:lnTo>
                  <a:lnTo>
                    <a:pt x="18" y="53"/>
                  </a:lnTo>
                  <a:lnTo>
                    <a:pt x="15" y="53"/>
                  </a:lnTo>
                  <a:lnTo>
                    <a:pt x="9" y="46"/>
                  </a:lnTo>
                  <a:lnTo>
                    <a:pt x="6" y="40"/>
                  </a:lnTo>
                  <a:lnTo>
                    <a:pt x="3" y="39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62" name="Freeform 163"/>
            <p:cNvSpPr>
              <a:spLocks/>
            </p:cNvSpPr>
            <p:nvPr/>
          </p:nvSpPr>
          <p:spPr bwMode="auto">
            <a:xfrm>
              <a:off x="1315" y="2372"/>
              <a:ext cx="59" cy="68"/>
            </a:xfrm>
            <a:custGeom>
              <a:avLst/>
              <a:gdLst>
                <a:gd name="T0" fmla="*/ 8 w 59"/>
                <a:gd name="T1" fmla="*/ 1 h 68"/>
                <a:gd name="T2" fmla="*/ 14 w 59"/>
                <a:gd name="T3" fmla="*/ 0 h 68"/>
                <a:gd name="T4" fmla="*/ 20 w 59"/>
                <a:gd name="T5" fmla="*/ 5 h 68"/>
                <a:gd name="T6" fmla="*/ 24 w 59"/>
                <a:gd name="T7" fmla="*/ 9 h 68"/>
                <a:gd name="T8" fmla="*/ 28 w 59"/>
                <a:gd name="T9" fmla="*/ 13 h 68"/>
                <a:gd name="T10" fmla="*/ 31 w 59"/>
                <a:gd name="T11" fmla="*/ 12 h 68"/>
                <a:gd name="T12" fmla="*/ 36 w 59"/>
                <a:gd name="T13" fmla="*/ 18 h 68"/>
                <a:gd name="T14" fmla="*/ 43 w 59"/>
                <a:gd name="T15" fmla="*/ 20 h 68"/>
                <a:gd name="T16" fmla="*/ 44 w 59"/>
                <a:gd name="T17" fmla="*/ 23 h 68"/>
                <a:gd name="T18" fmla="*/ 53 w 59"/>
                <a:gd name="T19" fmla="*/ 28 h 68"/>
                <a:gd name="T20" fmla="*/ 58 w 59"/>
                <a:gd name="T21" fmla="*/ 35 h 68"/>
                <a:gd name="T22" fmla="*/ 55 w 59"/>
                <a:gd name="T23" fmla="*/ 42 h 68"/>
                <a:gd name="T24" fmla="*/ 57 w 59"/>
                <a:gd name="T25" fmla="*/ 46 h 68"/>
                <a:gd name="T26" fmla="*/ 58 w 59"/>
                <a:gd name="T27" fmla="*/ 49 h 68"/>
                <a:gd name="T28" fmla="*/ 58 w 59"/>
                <a:gd name="T29" fmla="*/ 50 h 68"/>
                <a:gd name="T30" fmla="*/ 55 w 59"/>
                <a:gd name="T31" fmla="*/ 56 h 68"/>
                <a:gd name="T32" fmla="*/ 53 w 59"/>
                <a:gd name="T33" fmla="*/ 58 h 68"/>
                <a:gd name="T34" fmla="*/ 53 w 59"/>
                <a:gd name="T35" fmla="*/ 61 h 68"/>
                <a:gd name="T36" fmla="*/ 44 w 59"/>
                <a:gd name="T37" fmla="*/ 65 h 68"/>
                <a:gd name="T38" fmla="*/ 43 w 59"/>
                <a:gd name="T39" fmla="*/ 65 h 68"/>
                <a:gd name="T40" fmla="*/ 42 w 59"/>
                <a:gd name="T41" fmla="*/ 68 h 68"/>
                <a:gd name="T42" fmla="*/ 39 w 59"/>
                <a:gd name="T43" fmla="*/ 66 h 68"/>
                <a:gd name="T44" fmla="*/ 36 w 59"/>
                <a:gd name="T45" fmla="*/ 66 h 68"/>
                <a:gd name="T46" fmla="*/ 31 w 59"/>
                <a:gd name="T47" fmla="*/ 65 h 68"/>
                <a:gd name="T48" fmla="*/ 25 w 59"/>
                <a:gd name="T49" fmla="*/ 66 h 68"/>
                <a:gd name="T50" fmla="*/ 25 w 59"/>
                <a:gd name="T51" fmla="*/ 65 h 68"/>
                <a:gd name="T52" fmla="*/ 23 w 59"/>
                <a:gd name="T53" fmla="*/ 64 h 68"/>
                <a:gd name="T54" fmla="*/ 19 w 59"/>
                <a:gd name="T55" fmla="*/ 62 h 68"/>
                <a:gd name="T56" fmla="*/ 10 w 59"/>
                <a:gd name="T57" fmla="*/ 62 h 68"/>
                <a:gd name="T58" fmla="*/ 5 w 59"/>
                <a:gd name="T59" fmla="*/ 58 h 68"/>
                <a:gd name="T60" fmla="*/ 1 w 59"/>
                <a:gd name="T61" fmla="*/ 54 h 68"/>
                <a:gd name="T62" fmla="*/ 0 w 59"/>
                <a:gd name="T63" fmla="*/ 45 h 68"/>
                <a:gd name="T64" fmla="*/ 0 w 59"/>
                <a:gd name="T65" fmla="*/ 43 h 68"/>
                <a:gd name="T66" fmla="*/ 2 w 59"/>
                <a:gd name="T67" fmla="*/ 39 h 68"/>
                <a:gd name="T68" fmla="*/ 1 w 59"/>
                <a:gd name="T69" fmla="*/ 31 h 68"/>
                <a:gd name="T70" fmla="*/ 0 w 59"/>
                <a:gd name="T71" fmla="*/ 26 h 68"/>
                <a:gd name="T72" fmla="*/ 1 w 59"/>
                <a:gd name="T73" fmla="*/ 22 h 68"/>
                <a:gd name="T74" fmla="*/ 2 w 59"/>
                <a:gd name="T75" fmla="*/ 15 h 68"/>
                <a:gd name="T76" fmla="*/ 2 w 59"/>
                <a:gd name="T77" fmla="*/ 11 h 68"/>
                <a:gd name="T78" fmla="*/ 4 w 59"/>
                <a:gd name="T79" fmla="*/ 4 h 68"/>
                <a:gd name="T80" fmla="*/ 5 w 59"/>
                <a:gd name="T81" fmla="*/ 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9" h="68">
                  <a:moveTo>
                    <a:pt x="5" y="1"/>
                  </a:moveTo>
                  <a:lnTo>
                    <a:pt x="8" y="1"/>
                  </a:lnTo>
                  <a:lnTo>
                    <a:pt x="9" y="1"/>
                  </a:lnTo>
                  <a:lnTo>
                    <a:pt x="14" y="0"/>
                  </a:lnTo>
                  <a:lnTo>
                    <a:pt x="17" y="1"/>
                  </a:lnTo>
                  <a:lnTo>
                    <a:pt x="20" y="5"/>
                  </a:lnTo>
                  <a:lnTo>
                    <a:pt x="23" y="7"/>
                  </a:lnTo>
                  <a:lnTo>
                    <a:pt x="24" y="9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4" y="16"/>
                  </a:lnTo>
                  <a:lnTo>
                    <a:pt x="36" y="18"/>
                  </a:lnTo>
                  <a:lnTo>
                    <a:pt x="40" y="18"/>
                  </a:lnTo>
                  <a:lnTo>
                    <a:pt x="43" y="20"/>
                  </a:lnTo>
                  <a:lnTo>
                    <a:pt x="43" y="24"/>
                  </a:lnTo>
                  <a:lnTo>
                    <a:pt x="44" y="23"/>
                  </a:lnTo>
                  <a:lnTo>
                    <a:pt x="50" y="26"/>
                  </a:lnTo>
                  <a:lnTo>
                    <a:pt x="53" y="28"/>
                  </a:lnTo>
                  <a:lnTo>
                    <a:pt x="55" y="34"/>
                  </a:lnTo>
                  <a:lnTo>
                    <a:pt x="58" y="35"/>
                  </a:lnTo>
                  <a:lnTo>
                    <a:pt x="57" y="38"/>
                  </a:lnTo>
                  <a:lnTo>
                    <a:pt x="55" y="42"/>
                  </a:lnTo>
                  <a:lnTo>
                    <a:pt x="57" y="45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8" y="50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4" y="57"/>
                  </a:lnTo>
                  <a:lnTo>
                    <a:pt x="53" y="58"/>
                  </a:lnTo>
                  <a:lnTo>
                    <a:pt x="53" y="60"/>
                  </a:lnTo>
                  <a:lnTo>
                    <a:pt x="53" y="61"/>
                  </a:lnTo>
                  <a:lnTo>
                    <a:pt x="50" y="64"/>
                  </a:lnTo>
                  <a:lnTo>
                    <a:pt x="44" y="65"/>
                  </a:lnTo>
                  <a:lnTo>
                    <a:pt x="44" y="65"/>
                  </a:lnTo>
                  <a:lnTo>
                    <a:pt x="43" y="65"/>
                  </a:lnTo>
                  <a:lnTo>
                    <a:pt x="43" y="66"/>
                  </a:lnTo>
                  <a:lnTo>
                    <a:pt x="42" y="68"/>
                  </a:lnTo>
                  <a:lnTo>
                    <a:pt x="40" y="66"/>
                  </a:lnTo>
                  <a:lnTo>
                    <a:pt x="39" y="66"/>
                  </a:lnTo>
                  <a:lnTo>
                    <a:pt x="38" y="66"/>
                  </a:lnTo>
                  <a:lnTo>
                    <a:pt x="36" y="66"/>
                  </a:lnTo>
                  <a:lnTo>
                    <a:pt x="34" y="65"/>
                  </a:lnTo>
                  <a:lnTo>
                    <a:pt x="31" y="65"/>
                  </a:lnTo>
                  <a:lnTo>
                    <a:pt x="28" y="68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5"/>
                  </a:lnTo>
                  <a:lnTo>
                    <a:pt x="25" y="64"/>
                  </a:lnTo>
                  <a:lnTo>
                    <a:pt x="23" y="64"/>
                  </a:lnTo>
                  <a:lnTo>
                    <a:pt x="21" y="64"/>
                  </a:lnTo>
                  <a:lnTo>
                    <a:pt x="19" y="62"/>
                  </a:lnTo>
                  <a:lnTo>
                    <a:pt x="16" y="62"/>
                  </a:lnTo>
                  <a:lnTo>
                    <a:pt x="10" y="62"/>
                  </a:lnTo>
                  <a:lnTo>
                    <a:pt x="9" y="62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1" y="54"/>
                  </a:lnTo>
                  <a:lnTo>
                    <a:pt x="0" y="49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2"/>
                  </a:lnTo>
                  <a:lnTo>
                    <a:pt x="2" y="39"/>
                  </a:lnTo>
                  <a:lnTo>
                    <a:pt x="1" y="37"/>
                  </a:lnTo>
                  <a:lnTo>
                    <a:pt x="1" y="31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1" y="22"/>
                  </a:lnTo>
                  <a:lnTo>
                    <a:pt x="2" y="19"/>
                  </a:lnTo>
                  <a:lnTo>
                    <a:pt x="2" y="15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7"/>
                  </a:lnTo>
                  <a:lnTo>
                    <a:pt x="4" y="4"/>
                  </a:lnTo>
                  <a:lnTo>
                    <a:pt x="5" y="1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63" name="Freeform 164"/>
            <p:cNvSpPr>
              <a:spLocks noEditPoints="1"/>
            </p:cNvSpPr>
            <p:nvPr/>
          </p:nvSpPr>
          <p:spPr bwMode="auto">
            <a:xfrm>
              <a:off x="1173" y="2264"/>
              <a:ext cx="188" cy="485"/>
            </a:xfrm>
            <a:custGeom>
              <a:avLst/>
              <a:gdLst>
                <a:gd name="T0" fmla="*/ 49 w 188"/>
                <a:gd name="T1" fmla="*/ 1 h 485"/>
                <a:gd name="T2" fmla="*/ 61 w 188"/>
                <a:gd name="T3" fmla="*/ 8 h 485"/>
                <a:gd name="T4" fmla="*/ 86 w 188"/>
                <a:gd name="T5" fmla="*/ 6 h 485"/>
                <a:gd name="T6" fmla="*/ 117 w 188"/>
                <a:gd name="T7" fmla="*/ 29 h 485"/>
                <a:gd name="T8" fmla="*/ 139 w 188"/>
                <a:gd name="T9" fmla="*/ 51 h 485"/>
                <a:gd name="T10" fmla="*/ 142 w 188"/>
                <a:gd name="T11" fmla="*/ 66 h 485"/>
                <a:gd name="T12" fmla="*/ 165 w 188"/>
                <a:gd name="T13" fmla="*/ 69 h 485"/>
                <a:gd name="T14" fmla="*/ 177 w 188"/>
                <a:gd name="T15" fmla="*/ 47 h 485"/>
                <a:gd name="T16" fmla="*/ 188 w 188"/>
                <a:gd name="T17" fmla="*/ 62 h 485"/>
                <a:gd name="T18" fmla="*/ 174 w 188"/>
                <a:gd name="T19" fmla="*/ 73 h 485"/>
                <a:gd name="T20" fmla="*/ 159 w 188"/>
                <a:gd name="T21" fmla="*/ 87 h 485"/>
                <a:gd name="T22" fmla="*/ 148 w 188"/>
                <a:gd name="T23" fmla="*/ 103 h 485"/>
                <a:gd name="T24" fmla="*/ 143 w 188"/>
                <a:gd name="T25" fmla="*/ 125 h 485"/>
                <a:gd name="T26" fmla="*/ 142 w 188"/>
                <a:gd name="T27" fmla="*/ 146 h 485"/>
                <a:gd name="T28" fmla="*/ 143 w 188"/>
                <a:gd name="T29" fmla="*/ 161 h 485"/>
                <a:gd name="T30" fmla="*/ 156 w 188"/>
                <a:gd name="T31" fmla="*/ 184 h 485"/>
                <a:gd name="T32" fmla="*/ 167 w 188"/>
                <a:gd name="T33" fmla="*/ 197 h 485"/>
                <a:gd name="T34" fmla="*/ 161 w 188"/>
                <a:gd name="T35" fmla="*/ 213 h 485"/>
                <a:gd name="T36" fmla="*/ 127 w 188"/>
                <a:gd name="T37" fmla="*/ 227 h 485"/>
                <a:gd name="T38" fmla="*/ 108 w 188"/>
                <a:gd name="T39" fmla="*/ 224 h 485"/>
                <a:gd name="T40" fmla="*/ 112 w 188"/>
                <a:gd name="T41" fmla="*/ 237 h 485"/>
                <a:gd name="T42" fmla="*/ 112 w 188"/>
                <a:gd name="T43" fmla="*/ 248 h 485"/>
                <a:gd name="T44" fmla="*/ 98 w 188"/>
                <a:gd name="T45" fmla="*/ 261 h 485"/>
                <a:gd name="T46" fmla="*/ 79 w 188"/>
                <a:gd name="T47" fmla="*/ 256 h 485"/>
                <a:gd name="T48" fmla="*/ 90 w 188"/>
                <a:gd name="T49" fmla="*/ 277 h 485"/>
                <a:gd name="T50" fmla="*/ 93 w 188"/>
                <a:gd name="T51" fmla="*/ 274 h 485"/>
                <a:gd name="T52" fmla="*/ 101 w 188"/>
                <a:gd name="T53" fmla="*/ 282 h 485"/>
                <a:gd name="T54" fmla="*/ 87 w 188"/>
                <a:gd name="T55" fmla="*/ 282 h 485"/>
                <a:gd name="T56" fmla="*/ 86 w 188"/>
                <a:gd name="T57" fmla="*/ 293 h 485"/>
                <a:gd name="T58" fmla="*/ 83 w 188"/>
                <a:gd name="T59" fmla="*/ 307 h 485"/>
                <a:gd name="T60" fmla="*/ 84 w 188"/>
                <a:gd name="T61" fmla="*/ 319 h 485"/>
                <a:gd name="T62" fmla="*/ 69 w 188"/>
                <a:gd name="T63" fmla="*/ 327 h 485"/>
                <a:gd name="T64" fmla="*/ 67 w 188"/>
                <a:gd name="T65" fmla="*/ 343 h 485"/>
                <a:gd name="T66" fmla="*/ 87 w 188"/>
                <a:gd name="T67" fmla="*/ 353 h 485"/>
                <a:gd name="T68" fmla="*/ 90 w 188"/>
                <a:gd name="T69" fmla="*/ 365 h 485"/>
                <a:gd name="T70" fmla="*/ 82 w 188"/>
                <a:gd name="T71" fmla="*/ 376 h 485"/>
                <a:gd name="T72" fmla="*/ 74 w 188"/>
                <a:gd name="T73" fmla="*/ 390 h 485"/>
                <a:gd name="T74" fmla="*/ 67 w 188"/>
                <a:gd name="T75" fmla="*/ 399 h 485"/>
                <a:gd name="T76" fmla="*/ 63 w 188"/>
                <a:gd name="T77" fmla="*/ 414 h 485"/>
                <a:gd name="T78" fmla="*/ 68 w 188"/>
                <a:gd name="T79" fmla="*/ 429 h 485"/>
                <a:gd name="T80" fmla="*/ 69 w 188"/>
                <a:gd name="T81" fmla="*/ 435 h 485"/>
                <a:gd name="T82" fmla="*/ 33 w 188"/>
                <a:gd name="T83" fmla="*/ 425 h 485"/>
                <a:gd name="T84" fmla="*/ 14 w 188"/>
                <a:gd name="T85" fmla="*/ 406 h 485"/>
                <a:gd name="T86" fmla="*/ 21 w 188"/>
                <a:gd name="T87" fmla="*/ 363 h 485"/>
                <a:gd name="T88" fmla="*/ 19 w 188"/>
                <a:gd name="T89" fmla="*/ 333 h 485"/>
                <a:gd name="T90" fmla="*/ 12 w 188"/>
                <a:gd name="T91" fmla="*/ 318 h 485"/>
                <a:gd name="T92" fmla="*/ 11 w 188"/>
                <a:gd name="T93" fmla="*/ 301 h 485"/>
                <a:gd name="T94" fmla="*/ 7 w 188"/>
                <a:gd name="T95" fmla="*/ 274 h 485"/>
                <a:gd name="T96" fmla="*/ 7 w 188"/>
                <a:gd name="T97" fmla="*/ 231 h 485"/>
                <a:gd name="T98" fmla="*/ 11 w 188"/>
                <a:gd name="T99" fmla="*/ 190 h 485"/>
                <a:gd name="T100" fmla="*/ 12 w 188"/>
                <a:gd name="T101" fmla="*/ 160 h 485"/>
                <a:gd name="T102" fmla="*/ 0 w 188"/>
                <a:gd name="T103" fmla="*/ 125 h 485"/>
                <a:gd name="T104" fmla="*/ 6 w 188"/>
                <a:gd name="T105" fmla="*/ 92 h 485"/>
                <a:gd name="T106" fmla="*/ 18 w 188"/>
                <a:gd name="T107" fmla="*/ 62 h 485"/>
                <a:gd name="T108" fmla="*/ 16 w 188"/>
                <a:gd name="T109" fmla="*/ 43 h 485"/>
                <a:gd name="T110" fmla="*/ 74 w 188"/>
                <a:gd name="T111" fmla="*/ 441 h 485"/>
                <a:gd name="T112" fmla="*/ 74 w 188"/>
                <a:gd name="T113" fmla="*/ 441 h 485"/>
                <a:gd name="T114" fmla="*/ 91 w 188"/>
                <a:gd name="T115" fmla="*/ 466 h 485"/>
                <a:gd name="T116" fmla="*/ 117 w 188"/>
                <a:gd name="T117" fmla="*/ 475 h 485"/>
                <a:gd name="T118" fmla="*/ 108 w 188"/>
                <a:gd name="T119" fmla="*/ 485 h 485"/>
                <a:gd name="T120" fmla="*/ 83 w 188"/>
                <a:gd name="T121" fmla="*/ 479 h 485"/>
                <a:gd name="T122" fmla="*/ 82 w 188"/>
                <a:gd name="T123" fmla="*/ 478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8" h="485">
                  <a:moveTo>
                    <a:pt x="30" y="12"/>
                  </a:moveTo>
                  <a:lnTo>
                    <a:pt x="31" y="9"/>
                  </a:lnTo>
                  <a:lnTo>
                    <a:pt x="33" y="5"/>
                  </a:lnTo>
                  <a:lnTo>
                    <a:pt x="38" y="1"/>
                  </a:lnTo>
                  <a:lnTo>
                    <a:pt x="41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9" y="1"/>
                  </a:lnTo>
                  <a:lnTo>
                    <a:pt x="52" y="2"/>
                  </a:lnTo>
                  <a:lnTo>
                    <a:pt x="56" y="1"/>
                  </a:lnTo>
                  <a:lnTo>
                    <a:pt x="59" y="1"/>
                  </a:lnTo>
                  <a:lnTo>
                    <a:pt x="59" y="5"/>
                  </a:lnTo>
                  <a:lnTo>
                    <a:pt x="60" y="9"/>
                  </a:lnTo>
                  <a:lnTo>
                    <a:pt x="61" y="10"/>
                  </a:lnTo>
                  <a:lnTo>
                    <a:pt x="63" y="9"/>
                  </a:lnTo>
                  <a:lnTo>
                    <a:pt x="61" y="8"/>
                  </a:lnTo>
                  <a:lnTo>
                    <a:pt x="63" y="5"/>
                  </a:lnTo>
                  <a:lnTo>
                    <a:pt x="63" y="2"/>
                  </a:lnTo>
                  <a:lnTo>
                    <a:pt x="65" y="0"/>
                  </a:lnTo>
                  <a:lnTo>
                    <a:pt x="72" y="0"/>
                  </a:lnTo>
                  <a:lnTo>
                    <a:pt x="78" y="1"/>
                  </a:lnTo>
                  <a:lnTo>
                    <a:pt x="80" y="2"/>
                  </a:lnTo>
                  <a:lnTo>
                    <a:pt x="83" y="5"/>
                  </a:lnTo>
                  <a:lnTo>
                    <a:pt x="86" y="6"/>
                  </a:lnTo>
                  <a:lnTo>
                    <a:pt x="89" y="12"/>
                  </a:lnTo>
                  <a:lnTo>
                    <a:pt x="95" y="19"/>
                  </a:lnTo>
                  <a:lnTo>
                    <a:pt x="98" y="19"/>
                  </a:lnTo>
                  <a:lnTo>
                    <a:pt x="101" y="21"/>
                  </a:lnTo>
                  <a:lnTo>
                    <a:pt x="103" y="24"/>
                  </a:lnTo>
                  <a:lnTo>
                    <a:pt x="110" y="27"/>
                  </a:lnTo>
                  <a:lnTo>
                    <a:pt x="114" y="28"/>
                  </a:lnTo>
                  <a:lnTo>
                    <a:pt x="117" y="29"/>
                  </a:lnTo>
                  <a:lnTo>
                    <a:pt x="122" y="34"/>
                  </a:lnTo>
                  <a:lnTo>
                    <a:pt x="127" y="36"/>
                  </a:lnTo>
                  <a:lnTo>
                    <a:pt x="135" y="38"/>
                  </a:lnTo>
                  <a:lnTo>
                    <a:pt x="137" y="40"/>
                  </a:lnTo>
                  <a:lnTo>
                    <a:pt x="140" y="43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39" y="51"/>
                  </a:lnTo>
                  <a:lnTo>
                    <a:pt x="137" y="53"/>
                  </a:lnTo>
                  <a:lnTo>
                    <a:pt x="136" y="54"/>
                  </a:lnTo>
                  <a:lnTo>
                    <a:pt x="136" y="57"/>
                  </a:lnTo>
                  <a:lnTo>
                    <a:pt x="135" y="62"/>
                  </a:lnTo>
                  <a:lnTo>
                    <a:pt x="131" y="65"/>
                  </a:lnTo>
                  <a:lnTo>
                    <a:pt x="131" y="68"/>
                  </a:lnTo>
                  <a:lnTo>
                    <a:pt x="132" y="68"/>
                  </a:lnTo>
                  <a:lnTo>
                    <a:pt x="142" y="66"/>
                  </a:lnTo>
                  <a:lnTo>
                    <a:pt x="148" y="69"/>
                  </a:lnTo>
                  <a:lnTo>
                    <a:pt x="152" y="72"/>
                  </a:lnTo>
                  <a:lnTo>
                    <a:pt x="155" y="70"/>
                  </a:lnTo>
                  <a:lnTo>
                    <a:pt x="156" y="70"/>
                  </a:lnTo>
                  <a:lnTo>
                    <a:pt x="158" y="72"/>
                  </a:lnTo>
                  <a:lnTo>
                    <a:pt x="161" y="69"/>
                  </a:lnTo>
                  <a:lnTo>
                    <a:pt x="162" y="68"/>
                  </a:lnTo>
                  <a:lnTo>
                    <a:pt x="165" y="69"/>
                  </a:lnTo>
                  <a:lnTo>
                    <a:pt x="166" y="66"/>
                  </a:lnTo>
                  <a:lnTo>
                    <a:pt x="167" y="63"/>
                  </a:lnTo>
                  <a:lnTo>
                    <a:pt x="173" y="59"/>
                  </a:lnTo>
                  <a:lnTo>
                    <a:pt x="173" y="57"/>
                  </a:lnTo>
                  <a:lnTo>
                    <a:pt x="176" y="54"/>
                  </a:lnTo>
                  <a:lnTo>
                    <a:pt x="177" y="53"/>
                  </a:lnTo>
                  <a:lnTo>
                    <a:pt x="177" y="48"/>
                  </a:lnTo>
                  <a:lnTo>
                    <a:pt x="177" y="47"/>
                  </a:lnTo>
                  <a:lnTo>
                    <a:pt x="177" y="43"/>
                  </a:lnTo>
                  <a:lnTo>
                    <a:pt x="180" y="42"/>
                  </a:lnTo>
                  <a:lnTo>
                    <a:pt x="185" y="43"/>
                  </a:lnTo>
                  <a:lnTo>
                    <a:pt x="185" y="44"/>
                  </a:lnTo>
                  <a:lnTo>
                    <a:pt x="188" y="50"/>
                  </a:lnTo>
                  <a:lnTo>
                    <a:pt x="188" y="54"/>
                  </a:lnTo>
                  <a:lnTo>
                    <a:pt x="188" y="58"/>
                  </a:lnTo>
                  <a:lnTo>
                    <a:pt x="188" y="62"/>
                  </a:lnTo>
                  <a:lnTo>
                    <a:pt x="188" y="65"/>
                  </a:lnTo>
                  <a:lnTo>
                    <a:pt x="185" y="65"/>
                  </a:lnTo>
                  <a:lnTo>
                    <a:pt x="182" y="66"/>
                  </a:lnTo>
                  <a:lnTo>
                    <a:pt x="182" y="66"/>
                  </a:lnTo>
                  <a:lnTo>
                    <a:pt x="181" y="68"/>
                  </a:lnTo>
                  <a:lnTo>
                    <a:pt x="180" y="68"/>
                  </a:lnTo>
                  <a:lnTo>
                    <a:pt x="174" y="70"/>
                  </a:lnTo>
                  <a:lnTo>
                    <a:pt x="174" y="73"/>
                  </a:lnTo>
                  <a:lnTo>
                    <a:pt x="171" y="73"/>
                  </a:lnTo>
                  <a:lnTo>
                    <a:pt x="167" y="77"/>
                  </a:lnTo>
                  <a:lnTo>
                    <a:pt x="166" y="77"/>
                  </a:lnTo>
                  <a:lnTo>
                    <a:pt x="166" y="80"/>
                  </a:lnTo>
                  <a:lnTo>
                    <a:pt x="165" y="80"/>
                  </a:lnTo>
                  <a:lnTo>
                    <a:pt x="163" y="80"/>
                  </a:lnTo>
                  <a:lnTo>
                    <a:pt x="159" y="85"/>
                  </a:lnTo>
                  <a:lnTo>
                    <a:pt x="159" y="87"/>
                  </a:lnTo>
                  <a:lnTo>
                    <a:pt x="159" y="89"/>
                  </a:lnTo>
                  <a:lnTo>
                    <a:pt x="156" y="89"/>
                  </a:lnTo>
                  <a:lnTo>
                    <a:pt x="156" y="91"/>
                  </a:lnTo>
                  <a:lnTo>
                    <a:pt x="154" y="95"/>
                  </a:lnTo>
                  <a:lnTo>
                    <a:pt x="152" y="97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48" y="103"/>
                  </a:lnTo>
                  <a:lnTo>
                    <a:pt x="147" y="104"/>
                  </a:lnTo>
                  <a:lnTo>
                    <a:pt x="146" y="107"/>
                  </a:lnTo>
                  <a:lnTo>
                    <a:pt x="144" y="110"/>
                  </a:lnTo>
                  <a:lnTo>
                    <a:pt x="144" y="114"/>
                  </a:lnTo>
                  <a:lnTo>
                    <a:pt x="144" y="115"/>
                  </a:lnTo>
                  <a:lnTo>
                    <a:pt x="144" y="118"/>
                  </a:lnTo>
                  <a:lnTo>
                    <a:pt x="144" y="122"/>
                  </a:lnTo>
                  <a:lnTo>
                    <a:pt x="143" y="125"/>
                  </a:lnTo>
                  <a:lnTo>
                    <a:pt x="144" y="126"/>
                  </a:lnTo>
                  <a:lnTo>
                    <a:pt x="142" y="129"/>
                  </a:lnTo>
                  <a:lnTo>
                    <a:pt x="143" y="133"/>
                  </a:lnTo>
                  <a:lnTo>
                    <a:pt x="143" y="134"/>
                  </a:lnTo>
                  <a:lnTo>
                    <a:pt x="143" y="140"/>
                  </a:lnTo>
                  <a:lnTo>
                    <a:pt x="144" y="142"/>
                  </a:lnTo>
                  <a:lnTo>
                    <a:pt x="143" y="145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0" y="152"/>
                  </a:lnTo>
                  <a:lnTo>
                    <a:pt x="142" y="156"/>
                  </a:lnTo>
                  <a:lnTo>
                    <a:pt x="142" y="157"/>
                  </a:lnTo>
                  <a:lnTo>
                    <a:pt x="143" y="159"/>
                  </a:lnTo>
                  <a:lnTo>
                    <a:pt x="143" y="161"/>
                  </a:lnTo>
                  <a:lnTo>
                    <a:pt x="142" y="161"/>
                  </a:lnTo>
                  <a:lnTo>
                    <a:pt x="143" y="164"/>
                  </a:lnTo>
                  <a:lnTo>
                    <a:pt x="148" y="168"/>
                  </a:lnTo>
                  <a:lnTo>
                    <a:pt x="152" y="169"/>
                  </a:lnTo>
                  <a:lnTo>
                    <a:pt x="159" y="175"/>
                  </a:lnTo>
                  <a:lnTo>
                    <a:pt x="161" y="176"/>
                  </a:lnTo>
                  <a:lnTo>
                    <a:pt x="161" y="179"/>
                  </a:lnTo>
                  <a:lnTo>
                    <a:pt x="156" y="184"/>
                  </a:lnTo>
                  <a:lnTo>
                    <a:pt x="156" y="186"/>
                  </a:lnTo>
                  <a:lnTo>
                    <a:pt x="159" y="190"/>
                  </a:lnTo>
                  <a:lnTo>
                    <a:pt x="162" y="191"/>
                  </a:lnTo>
                  <a:lnTo>
                    <a:pt x="165" y="191"/>
                  </a:lnTo>
                  <a:lnTo>
                    <a:pt x="166" y="190"/>
                  </a:lnTo>
                  <a:lnTo>
                    <a:pt x="166" y="190"/>
                  </a:lnTo>
                  <a:lnTo>
                    <a:pt x="167" y="191"/>
                  </a:lnTo>
                  <a:lnTo>
                    <a:pt x="167" y="197"/>
                  </a:lnTo>
                  <a:lnTo>
                    <a:pt x="166" y="199"/>
                  </a:lnTo>
                  <a:lnTo>
                    <a:pt x="165" y="202"/>
                  </a:lnTo>
                  <a:lnTo>
                    <a:pt x="163" y="206"/>
                  </a:lnTo>
                  <a:lnTo>
                    <a:pt x="162" y="208"/>
                  </a:lnTo>
                  <a:lnTo>
                    <a:pt x="162" y="206"/>
                  </a:lnTo>
                  <a:lnTo>
                    <a:pt x="162" y="208"/>
                  </a:lnTo>
                  <a:lnTo>
                    <a:pt x="161" y="210"/>
                  </a:lnTo>
                  <a:lnTo>
                    <a:pt x="161" y="213"/>
                  </a:lnTo>
                  <a:lnTo>
                    <a:pt x="159" y="216"/>
                  </a:lnTo>
                  <a:lnTo>
                    <a:pt x="154" y="220"/>
                  </a:lnTo>
                  <a:lnTo>
                    <a:pt x="148" y="221"/>
                  </a:lnTo>
                  <a:lnTo>
                    <a:pt x="147" y="220"/>
                  </a:lnTo>
                  <a:lnTo>
                    <a:pt x="147" y="221"/>
                  </a:lnTo>
                  <a:lnTo>
                    <a:pt x="140" y="225"/>
                  </a:lnTo>
                  <a:lnTo>
                    <a:pt x="132" y="227"/>
                  </a:lnTo>
                  <a:lnTo>
                    <a:pt x="127" y="227"/>
                  </a:lnTo>
                  <a:lnTo>
                    <a:pt x="122" y="227"/>
                  </a:lnTo>
                  <a:lnTo>
                    <a:pt x="120" y="227"/>
                  </a:lnTo>
                  <a:lnTo>
                    <a:pt x="117" y="227"/>
                  </a:lnTo>
                  <a:lnTo>
                    <a:pt x="114" y="225"/>
                  </a:lnTo>
                  <a:lnTo>
                    <a:pt x="112" y="224"/>
                  </a:lnTo>
                  <a:lnTo>
                    <a:pt x="110" y="224"/>
                  </a:lnTo>
                  <a:lnTo>
                    <a:pt x="109" y="222"/>
                  </a:lnTo>
                  <a:lnTo>
                    <a:pt x="108" y="224"/>
                  </a:lnTo>
                  <a:lnTo>
                    <a:pt x="108" y="225"/>
                  </a:lnTo>
                  <a:lnTo>
                    <a:pt x="109" y="227"/>
                  </a:lnTo>
                  <a:lnTo>
                    <a:pt x="109" y="231"/>
                  </a:lnTo>
                  <a:lnTo>
                    <a:pt x="110" y="232"/>
                  </a:lnTo>
                  <a:lnTo>
                    <a:pt x="109" y="233"/>
                  </a:lnTo>
                  <a:lnTo>
                    <a:pt x="112" y="235"/>
                  </a:lnTo>
                  <a:lnTo>
                    <a:pt x="112" y="236"/>
                  </a:lnTo>
                  <a:lnTo>
                    <a:pt x="112" y="237"/>
                  </a:lnTo>
                  <a:lnTo>
                    <a:pt x="110" y="237"/>
                  </a:lnTo>
                  <a:lnTo>
                    <a:pt x="110" y="239"/>
                  </a:lnTo>
                  <a:lnTo>
                    <a:pt x="109" y="240"/>
                  </a:lnTo>
                  <a:lnTo>
                    <a:pt x="109" y="242"/>
                  </a:lnTo>
                  <a:lnTo>
                    <a:pt x="108" y="243"/>
                  </a:lnTo>
                  <a:lnTo>
                    <a:pt x="108" y="246"/>
                  </a:lnTo>
                  <a:lnTo>
                    <a:pt x="110" y="248"/>
                  </a:lnTo>
                  <a:lnTo>
                    <a:pt x="112" y="248"/>
                  </a:lnTo>
                  <a:lnTo>
                    <a:pt x="110" y="251"/>
                  </a:lnTo>
                  <a:lnTo>
                    <a:pt x="110" y="252"/>
                  </a:lnTo>
                  <a:lnTo>
                    <a:pt x="110" y="254"/>
                  </a:lnTo>
                  <a:lnTo>
                    <a:pt x="110" y="255"/>
                  </a:lnTo>
                  <a:lnTo>
                    <a:pt x="108" y="258"/>
                  </a:lnTo>
                  <a:lnTo>
                    <a:pt x="108" y="258"/>
                  </a:lnTo>
                  <a:lnTo>
                    <a:pt x="103" y="261"/>
                  </a:lnTo>
                  <a:lnTo>
                    <a:pt x="98" y="261"/>
                  </a:lnTo>
                  <a:lnTo>
                    <a:pt x="94" y="261"/>
                  </a:lnTo>
                  <a:lnTo>
                    <a:pt x="90" y="256"/>
                  </a:lnTo>
                  <a:lnTo>
                    <a:pt x="86" y="255"/>
                  </a:lnTo>
                  <a:lnTo>
                    <a:pt x="83" y="255"/>
                  </a:lnTo>
                  <a:lnTo>
                    <a:pt x="82" y="255"/>
                  </a:lnTo>
                  <a:lnTo>
                    <a:pt x="83" y="254"/>
                  </a:lnTo>
                  <a:lnTo>
                    <a:pt x="80" y="254"/>
                  </a:lnTo>
                  <a:lnTo>
                    <a:pt x="79" y="256"/>
                  </a:lnTo>
                  <a:lnTo>
                    <a:pt x="79" y="261"/>
                  </a:lnTo>
                  <a:lnTo>
                    <a:pt x="82" y="263"/>
                  </a:lnTo>
                  <a:lnTo>
                    <a:pt x="82" y="267"/>
                  </a:lnTo>
                  <a:lnTo>
                    <a:pt x="82" y="273"/>
                  </a:lnTo>
                  <a:lnTo>
                    <a:pt x="83" y="274"/>
                  </a:lnTo>
                  <a:lnTo>
                    <a:pt x="86" y="276"/>
                  </a:lnTo>
                  <a:lnTo>
                    <a:pt x="89" y="276"/>
                  </a:lnTo>
                  <a:lnTo>
                    <a:pt x="90" y="277"/>
                  </a:lnTo>
                  <a:lnTo>
                    <a:pt x="89" y="277"/>
                  </a:lnTo>
                  <a:lnTo>
                    <a:pt x="87" y="278"/>
                  </a:lnTo>
                  <a:lnTo>
                    <a:pt x="90" y="280"/>
                  </a:lnTo>
                  <a:lnTo>
                    <a:pt x="94" y="278"/>
                  </a:lnTo>
                  <a:lnTo>
                    <a:pt x="94" y="277"/>
                  </a:lnTo>
                  <a:lnTo>
                    <a:pt x="91" y="276"/>
                  </a:lnTo>
                  <a:lnTo>
                    <a:pt x="91" y="276"/>
                  </a:lnTo>
                  <a:lnTo>
                    <a:pt x="93" y="274"/>
                  </a:lnTo>
                  <a:lnTo>
                    <a:pt x="94" y="274"/>
                  </a:lnTo>
                  <a:lnTo>
                    <a:pt x="97" y="273"/>
                  </a:lnTo>
                  <a:lnTo>
                    <a:pt x="98" y="273"/>
                  </a:lnTo>
                  <a:lnTo>
                    <a:pt x="99" y="276"/>
                  </a:lnTo>
                  <a:lnTo>
                    <a:pt x="99" y="278"/>
                  </a:lnTo>
                  <a:lnTo>
                    <a:pt x="98" y="278"/>
                  </a:lnTo>
                  <a:lnTo>
                    <a:pt x="99" y="281"/>
                  </a:lnTo>
                  <a:lnTo>
                    <a:pt x="101" y="282"/>
                  </a:lnTo>
                  <a:lnTo>
                    <a:pt x="99" y="285"/>
                  </a:lnTo>
                  <a:lnTo>
                    <a:pt x="95" y="288"/>
                  </a:lnTo>
                  <a:lnTo>
                    <a:pt x="94" y="288"/>
                  </a:lnTo>
                  <a:lnTo>
                    <a:pt x="93" y="285"/>
                  </a:lnTo>
                  <a:lnTo>
                    <a:pt x="94" y="284"/>
                  </a:lnTo>
                  <a:lnTo>
                    <a:pt x="94" y="282"/>
                  </a:lnTo>
                  <a:lnTo>
                    <a:pt x="90" y="281"/>
                  </a:lnTo>
                  <a:lnTo>
                    <a:pt x="87" y="282"/>
                  </a:lnTo>
                  <a:lnTo>
                    <a:pt x="86" y="284"/>
                  </a:lnTo>
                  <a:lnTo>
                    <a:pt x="84" y="285"/>
                  </a:lnTo>
                  <a:lnTo>
                    <a:pt x="86" y="286"/>
                  </a:lnTo>
                  <a:lnTo>
                    <a:pt x="89" y="286"/>
                  </a:lnTo>
                  <a:lnTo>
                    <a:pt x="91" y="288"/>
                  </a:lnTo>
                  <a:lnTo>
                    <a:pt x="91" y="289"/>
                  </a:lnTo>
                  <a:lnTo>
                    <a:pt x="89" y="292"/>
                  </a:lnTo>
                  <a:lnTo>
                    <a:pt x="86" y="293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84" y="297"/>
                  </a:lnTo>
                  <a:lnTo>
                    <a:pt x="82" y="300"/>
                  </a:lnTo>
                  <a:lnTo>
                    <a:pt x="83" y="303"/>
                  </a:lnTo>
                  <a:lnTo>
                    <a:pt x="84" y="304"/>
                  </a:lnTo>
                  <a:lnTo>
                    <a:pt x="84" y="305"/>
                  </a:lnTo>
                  <a:lnTo>
                    <a:pt x="83" y="307"/>
                  </a:lnTo>
                  <a:lnTo>
                    <a:pt x="86" y="309"/>
                  </a:lnTo>
                  <a:lnTo>
                    <a:pt x="86" y="311"/>
                  </a:lnTo>
                  <a:lnTo>
                    <a:pt x="84" y="312"/>
                  </a:lnTo>
                  <a:lnTo>
                    <a:pt x="86" y="314"/>
                  </a:lnTo>
                  <a:lnTo>
                    <a:pt x="83" y="315"/>
                  </a:lnTo>
                  <a:lnTo>
                    <a:pt x="82" y="316"/>
                  </a:lnTo>
                  <a:lnTo>
                    <a:pt x="82" y="318"/>
                  </a:lnTo>
                  <a:lnTo>
                    <a:pt x="84" y="319"/>
                  </a:lnTo>
                  <a:lnTo>
                    <a:pt x="84" y="320"/>
                  </a:lnTo>
                  <a:lnTo>
                    <a:pt x="84" y="320"/>
                  </a:lnTo>
                  <a:lnTo>
                    <a:pt x="82" y="322"/>
                  </a:lnTo>
                  <a:lnTo>
                    <a:pt x="79" y="322"/>
                  </a:lnTo>
                  <a:lnTo>
                    <a:pt x="76" y="322"/>
                  </a:lnTo>
                  <a:lnTo>
                    <a:pt x="74" y="324"/>
                  </a:lnTo>
                  <a:lnTo>
                    <a:pt x="71" y="324"/>
                  </a:lnTo>
                  <a:lnTo>
                    <a:pt x="69" y="327"/>
                  </a:lnTo>
                  <a:lnTo>
                    <a:pt x="67" y="327"/>
                  </a:lnTo>
                  <a:lnTo>
                    <a:pt x="67" y="330"/>
                  </a:lnTo>
                  <a:lnTo>
                    <a:pt x="65" y="331"/>
                  </a:lnTo>
                  <a:lnTo>
                    <a:pt x="63" y="334"/>
                  </a:lnTo>
                  <a:lnTo>
                    <a:pt x="63" y="335"/>
                  </a:lnTo>
                  <a:lnTo>
                    <a:pt x="64" y="337"/>
                  </a:lnTo>
                  <a:lnTo>
                    <a:pt x="64" y="339"/>
                  </a:lnTo>
                  <a:lnTo>
                    <a:pt x="67" y="343"/>
                  </a:lnTo>
                  <a:lnTo>
                    <a:pt x="69" y="346"/>
                  </a:lnTo>
                  <a:lnTo>
                    <a:pt x="71" y="346"/>
                  </a:lnTo>
                  <a:lnTo>
                    <a:pt x="74" y="349"/>
                  </a:lnTo>
                  <a:lnTo>
                    <a:pt x="79" y="353"/>
                  </a:lnTo>
                  <a:lnTo>
                    <a:pt x="83" y="353"/>
                  </a:lnTo>
                  <a:lnTo>
                    <a:pt x="84" y="353"/>
                  </a:lnTo>
                  <a:lnTo>
                    <a:pt x="86" y="353"/>
                  </a:lnTo>
                  <a:lnTo>
                    <a:pt x="87" y="353"/>
                  </a:lnTo>
                  <a:lnTo>
                    <a:pt x="89" y="354"/>
                  </a:lnTo>
                  <a:lnTo>
                    <a:pt x="87" y="356"/>
                  </a:lnTo>
                  <a:lnTo>
                    <a:pt x="87" y="357"/>
                  </a:lnTo>
                  <a:lnTo>
                    <a:pt x="89" y="360"/>
                  </a:lnTo>
                  <a:lnTo>
                    <a:pt x="89" y="361"/>
                  </a:lnTo>
                  <a:lnTo>
                    <a:pt x="87" y="363"/>
                  </a:lnTo>
                  <a:lnTo>
                    <a:pt x="89" y="363"/>
                  </a:lnTo>
                  <a:lnTo>
                    <a:pt x="90" y="365"/>
                  </a:lnTo>
                  <a:lnTo>
                    <a:pt x="89" y="367"/>
                  </a:lnTo>
                  <a:lnTo>
                    <a:pt x="89" y="368"/>
                  </a:lnTo>
                  <a:lnTo>
                    <a:pt x="89" y="368"/>
                  </a:lnTo>
                  <a:lnTo>
                    <a:pt x="87" y="371"/>
                  </a:lnTo>
                  <a:lnTo>
                    <a:pt x="86" y="372"/>
                  </a:lnTo>
                  <a:lnTo>
                    <a:pt x="84" y="373"/>
                  </a:lnTo>
                  <a:lnTo>
                    <a:pt x="83" y="373"/>
                  </a:lnTo>
                  <a:lnTo>
                    <a:pt x="82" y="376"/>
                  </a:lnTo>
                  <a:lnTo>
                    <a:pt x="80" y="379"/>
                  </a:lnTo>
                  <a:lnTo>
                    <a:pt x="79" y="379"/>
                  </a:lnTo>
                  <a:lnTo>
                    <a:pt x="76" y="382"/>
                  </a:lnTo>
                  <a:lnTo>
                    <a:pt x="75" y="384"/>
                  </a:lnTo>
                  <a:lnTo>
                    <a:pt x="75" y="387"/>
                  </a:lnTo>
                  <a:lnTo>
                    <a:pt x="72" y="388"/>
                  </a:lnTo>
                  <a:lnTo>
                    <a:pt x="72" y="390"/>
                  </a:lnTo>
                  <a:lnTo>
                    <a:pt x="74" y="390"/>
                  </a:lnTo>
                  <a:lnTo>
                    <a:pt x="75" y="390"/>
                  </a:lnTo>
                  <a:lnTo>
                    <a:pt x="76" y="394"/>
                  </a:lnTo>
                  <a:lnTo>
                    <a:pt x="75" y="395"/>
                  </a:lnTo>
                  <a:lnTo>
                    <a:pt x="74" y="398"/>
                  </a:lnTo>
                  <a:lnTo>
                    <a:pt x="72" y="399"/>
                  </a:lnTo>
                  <a:lnTo>
                    <a:pt x="71" y="402"/>
                  </a:lnTo>
                  <a:lnTo>
                    <a:pt x="68" y="401"/>
                  </a:lnTo>
                  <a:lnTo>
                    <a:pt x="67" y="399"/>
                  </a:lnTo>
                  <a:lnTo>
                    <a:pt x="65" y="398"/>
                  </a:lnTo>
                  <a:lnTo>
                    <a:pt x="67" y="399"/>
                  </a:lnTo>
                  <a:lnTo>
                    <a:pt x="67" y="402"/>
                  </a:lnTo>
                  <a:lnTo>
                    <a:pt x="67" y="403"/>
                  </a:lnTo>
                  <a:lnTo>
                    <a:pt x="67" y="405"/>
                  </a:lnTo>
                  <a:lnTo>
                    <a:pt x="64" y="407"/>
                  </a:lnTo>
                  <a:lnTo>
                    <a:pt x="63" y="411"/>
                  </a:lnTo>
                  <a:lnTo>
                    <a:pt x="63" y="414"/>
                  </a:lnTo>
                  <a:lnTo>
                    <a:pt x="65" y="418"/>
                  </a:lnTo>
                  <a:lnTo>
                    <a:pt x="67" y="424"/>
                  </a:lnTo>
                  <a:lnTo>
                    <a:pt x="67" y="425"/>
                  </a:lnTo>
                  <a:lnTo>
                    <a:pt x="67" y="425"/>
                  </a:lnTo>
                  <a:lnTo>
                    <a:pt x="67" y="426"/>
                  </a:lnTo>
                  <a:lnTo>
                    <a:pt x="65" y="428"/>
                  </a:lnTo>
                  <a:lnTo>
                    <a:pt x="67" y="429"/>
                  </a:lnTo>
                  <a:lnTo>
                    <a:pt x="68" y="429"/>
                  </a:lnTo>
                  <a:lnTo>
                    <a:pt x="69" y="430"/>
                  </a:lnTo>
                  <a:lnTo>
                    <a:pt x="71" y="433"/>
                  </a:lnTo>
                  <a:lnTo>
                    <a:pt x="74" y="436"/>
                  </a:lnTo>
                  <a:lnTo>
                    <a:pt x="76" y="437"/>
                  </a:lnTo>
                  <a:lnTo>
                    <a:pt x="76" y="440"/>
                  </a:lnTo>
                  <a:lnTo>
                    <a:pt x="76" y="439"/>
                  </a:lnTo>
                  <a:lnTo>
                    <a:pt x="74" y="439"/>
                  </a:lnTo>
                  <a:lnTo>
                    <a:pt x="69" y="435"/>
                  </a:lnTo>
                  <a:lnTo>
                    <a:pt x="67" y="435"/>
                  </a:lnTo>
                  <a:lnTo>
                    <a:pt x="67" y="433"/>
                  </a:lnTo>
                  <a:lnTo>
                    <a:pt x="52" y="433"/>
                  </a:lnTo>
                  <a:lnTo>
                    <a:pt x="44" y="435"/>
                  </a:lnTo>
                  <a:lnTo>
                    <a:pt x="41" y="435"/>
                  </a:lnTo>
                  <a:lnTo>
                    <a:pt x="35" y="433"/>
                  </a:lnTo>
                  <a:lnTo>
                    <a:pt x="34" y="429"/>
                  </a:lnTo>
                  <a:lnTo>
                    <a:pt x="33" y="425"/>
                  </a:lnTo>
                  <a:lnTo>
                    <a:pt x="30" y="422"/>
                  </a:lnTo>
                  <a:lnTo>
                    <a:pt x="29" y="416"/>
                  </a:lnTo>
                  <a:lnTo>
                    <a:pt x="29" y="413"/>
                  </a:lnTo>
                  <a:lnTo>
                    <a:pt x="26" y="413"/>
                  </a:lnTo>
                  <a:lnTo>
                    <a:pt x="23" y="414"/>
                  </a:lnTo>
                  <a:lnTo>
                    <a:pt x="21" y="417"/>
                  </a:lnTo>
                  <a:lnTo>
                    <a:pt x="18" y="417"/>
                  </a:lnTo>
                  <a:lnTo>
                    <a:pt x="14" y="406"/>
                  </a:lnTo>
                  <a:lnTo>
                    <a:pt x="12" y="403"/>
                  </a:lnTo>
                  <a:lnTo>
                    <a:pt x="14" y="392"/>
                  </a:lnTo>
                  <a:lnTo>
                    <a:pt x="16" y="388"/>
                  </a:lnTo>
                  <a:lnTo>
                    <a:pt x="21" y="384"/>
                  </a:lnTo>
                  <a:lnTo>
                    <a:pt x="22" y="379"/>
                  </a:lnTo>
                  <a:lnTo>
                    <a:pt x="21" y="372"/>
                  </a:lnTo>
                  <a:lnTo>
                    <a:pt x="19" y="368"/>
                  </a:lnTo>
                  <a:lnTo>
                    <a:pt x="21" y="363"/>
                  </a:lnTo>
                  <a:lnTo>
                    <a:pt x="22" y="360"/>
                  </a:lnTo>
                  <a:lnTo>
                    <a:pt x="21" y="354"/>
                  </a:lnTo>
                  <a:lnTo>
                    <a:pt x="21" y="352"/>
                  </a:lnTo>
                  <a:lnTo>
                    <a:pt x="22" y="349"/>
                  </a:lnTo>
                  <a:lnTo>
                    <a:pt x="21" y="345"/>
                  </a:lnTo>
                  <a:lnTo>
                    <a:pt x="21" y="338"/>
                  </a:lnTo>
                  <a:lnTo>
                    <a:pt x="19" y="335"/>
                  </a:lnTo>
                  <a:lnTo>
                    <a:pt x="19" y="333"/>
                  </a:lnTo>
                  <a:lnTo>
                    <a:pt x="22" y="330"/>
                  </a:lnTo>
                  <a:lnTo>
                    <a:pt x="22" y="327"/>
                  </a:lnTo>
                  <a:lnTo>
                    <a:pt x="19" y="323"/>
                  </a:lnTo>
                  <a:lnTo>
                    <a:pt x="15" y="320"/>
                  </a:lnTo>
                  <a:lnTo>
                    <a:pt x="14" y="320"/>
                  </a:lnTo>
                  <a:lnTo>
                    <a:pt x="12" y="320"/>
                  </a:lnTo>
                  <a:lnTo>
                    <a:pt x="11" y="319"/>
                  </a:lnTo>
                  <a:lnTo>
                    <a:pt x="12" y="318"/>
                  </a:lnTo>
                  <a:lnTo>
                    <a:pt x="16" y="318"/>
                  </a:lnTo>
                  <a:lnTo>
                    <a:pt x="19" y="315"/>
                  </a:lnTo>
                  <a:lnTo>
                    <a:pt x="19" y="312"/>
                  </a:lnTo>
                  <a:lnTo>
                    <a:pt x="18" y="311"/>
                  </a:lnTo>
                  <a:lnTo>
                    <a:pt x="16" y="312"/>
                  </a:lnTo>
                  <a:lnTo>
                    <a:pt x="14" y="312"/>
                  </a:lnTo>
                  <a:lnTo>
                    <a:pt x="12" y="307"/>
                  </a:lnTo>
                  <a:lnTo>
                    <a:pt x="11" y="301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7" y="293"/>
                  </a:lnTo>
                  <a:lnTo>
                    <a:pt x="6" y="289"/>
                  </a:lnTo>
                  <a:lnTo>
                    <a:pt x="6" y="281"/>
                  </a:lnTo>
                  <a:lnTo>
                    <a:pt x="8" y="280"/>
                  </a:lnTo>
                  <a:lnTo>
                    <a:pt x="8" y="276"/>
                  </a:lnTo>
                  <a:lnTo>
                    <a:pt x="7" y="274"/>
                  </a:lnTo>
                  <a:lnTo>
                    <a:pt x="6" y="273"/>
                  </a:lnTo>
                  <a:lnTo>
                    <a:pt x="4" y="267"/>
                  </a:lnTo>
                  <a:lnTo>
                    <a:pt x="4" y="259"/>
                  </a:lnTo>
                  <a:lnTo>
                    <a:pt x="4" y="251"/>
                  </a:lnTo>
                  <a:lnTo>
                    <a:pt x="3" y="247"/>
                  </a:lnTo>
                  <a:lnTo>
                    <a:pt x="1" y="243"/>
                  </a:lnTo>
                  <a:lnTo>
                    <a:pt x="6" y="237"/>
                  </a:lnTo>
                  <a:lnTo>
                    <a:pt x="7" y="231"/>
                  </a:lnTo>
                  <a:lnTo>
                    <a:pt x="10" y="229"/>
                  </a:lnTo>
                  <a:lnTo>
                    <a:pt x="11" y="227"/>
                  </a:lnTo>
                  <a:lnTo>
                    <a:pt x="4" y="213"/>
                  </a:lnTo>
                  <a:lnTo>
                    <a:pt x="6" y="209"/>
                  </a:lnTo>
                  <a:lnTo>
                    <a:pt x="6" y="205"/>
                  </a:lnTo>
                  <a:lnTo>
                    <a:pt x="6" y="198"/>
                  </a:lnTo>
                  <a:lnTo>
                    <a:pt x="8" y="193"/>
                  </a:lnTo>
                  <a:lnTo>
                    <a:pt x="11" y="190"/>
                  </a:lnTo>
                  <a:lnTo>
                    <a:pt x="10" y="186"/>
                  </a:lnTo>
                  <a:lnTo>
                    <a:pt x="8" y="182"/>
                  </a:lnTo>
                  <a:lnTo>
                    <a:pt x="6" y="180"/>
                  </a:lnTo>
                  <a:lnTo>
                    <a:pt x="8" y="176"/>
                  </a:lnTo>
                  <a:lnTo>
                    <a:pt x="8" y="171"/>
                  </a:lnTo>
                  <a:lnTo>
                    <a:pt x="10" y="167"/>
                  </a:lnTo>
                  <a:lnTo>
                    <a:pt x="12" y="165"/>
                  </a:lnTo>
                  <a:lnTo>
                    <a:pt x="12" y="160"/>
                  </a:lnTo>
                  <a:lnTo>
                    <a:pt x="12" y="152"/>
                  </a:lnTo>
                  <a:lnTo>
                    <a:pt x="10" y="150"/>
                  </a:lnTo>
                  <a:lnTo>
                    <a:pt x="8" y="144"/>
                  </a:lnTo>
                  <a:lnTo>
                    <a:pt x="7" y="140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1" y="130"/>
                  </a:lnTo>
                  <a:lnTo>
                    <a:pt x="0" y="125"/>
                  </a:lnTo>
                  <a:lnTo>
                    <a:pt x="1" y="121"/>
                  </a:lnTo>
                  <a:lnTo>
                    <a:pt x="4" y="118"/>
                  </a:lnTo>
                  <a:lnTo>
                    <a:pt x="4" y="112"/>
                  </a:lnTo>
                  <a:lnTo>
                    <a:pt x="7" y="110"/>
                  </a:lnTo>
                  <a:lnTo>
                    <a:pt x="7" y="106"/>
                  </a:lnTo>
                  <a:lnTo>
                    <a:pt x="4" y="102"/>
                  </a:lnTo>
                  <a:lnTo>
                    <a:pt x="4" y="93"/>
                  </a:lnTo>
                  <a:lnTo>
                    <a:pt x="6" y="92"/>
                  </a:lnTo>
                  <a:lnTo>
                    <a:pt x="7" y="84"/>
                  </a:lnTo>
                  <a:lnTo>
                    <a:pt x="8" y="81"/>
                  </a:lnTo>
                  <a:lnTo>
                    <a:pt x="12" y="73"/>
                  </a:lnTo>
                  <a:lnTo>
                    <a:pt x="15" y="70"/>
                  </a:lnTo>
                  <a:lnTo>
                    <a:pt x="18" y="69"/>
                  </a:lnTo>
                  <a:lnTo>
                    <a:pt x="19" y="66"/>
                  </a:lnTo>
                  <a:lnTo>
                    <a:pt x="18" y="65"/>
                  </a:lnTo>
                  <a:lnTo>
                    <a:pt x="18" y="62"/>
                  </a:lnTo>
                  <a:lnTo>
                    <a:pt x="16" y="61"/>
                  </a:lnTo>
                  <a:lnTo>
                    <a:pt x="15" y="59"/>
                  </a:lnTo>
                  <a:lnTo>
                    <a:pt x="16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5" y="48"/>
                  </a:lnTo>
                  <a:lnTo>
                    <a:pt x="15" y="44"/>
                  </a:lnTo>
                  <a:lnTo>
                    <a:pt x="16" y="43"/>
                  </a:lnTo>
                  <a:lnTo>
                    <a:pt x="15" y="40"/>
                  </a:lnTo>
                  <a:lnTo>
                    <a:pt x="14" y="38"/>
                  </a:lnTo>
                  <a:lnTo>
                    <a:pt x="14" y="35"/>
                  </a:lnTo>
                  <a:lnTo>
                    <a:pt x="29" y="28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30" y="12"/>
                  </a:lnTo>
                  <a:close/>
                  <a:moveTo>
                    <a:pt x="74" y="441"/>
                  </a:moveTo>
                  <a:lnTo>
                    <a:pt x="74" y="441"/>
                  </a:lnTo>
                  <a:lnTo>
                    <a:pt x="75" y="444"/>
                  </a:lnTo>
                  <a:lnTo>
                    <a:pt x="79" y="448"/>
                  </a:lnTo>
                  <a:lnTo>
                    <a:pt x="80" y="454"/>
                  </a:lnTo>
                  <a:lnTo>
                    <a:pt x="79" y="452"/>
                  </a:lnTo>
                  <a:lnTo>
                    <a:pt x="78" y="454"/>
                  </a:lnTo>
                  <a:lnTo>
                    <a:pt x="76" y="455"/>
                  </a:lnTo>
                  <a:lnTo>
                    <a:pt x="74" y="441"/>
                  </a:lnTo>
                  <a:lnTo>
                    <a:pt x="74" y="441"/>
                  </a:lnTo>
                  <a:close/>
                  <a:moveTo>
                    <a:pt x="76" y="456"/>
                  </a:moveTo>
                  <a:lnTo>
                    <a:pt x="79" y="456"/>
                  </a:lnTo>
                  <a:lnTo>
                    <a:pt x="82" y="456"/>
                  </a:lnTo>
                  <a:lnTo>
                    <a:pt x="83" y="459"/>
                  </a:lnTo>
                  <a:lnTo>
                    <a:pt x="84" y="462"/>
                  </a:lnTo>
                  <a:lnTo>
                    <a:pt x="89" y="463"/>
                  </a:lnTo>
                  <a:lnTo>
                    <a:pt x="91" y="466"/>
                  </a:lnTo>
                  <a:lnTo>
                    <a:pt x="91" y="469"/>
                  </a:lnTo>
                  <a:lnTo>
                    <a:pt x="94" y="469"/>
                  </a:lnTo>
                  <a:lnTo>
                    <a:pt x="102" y="471"/>
                  </a:lnTo>
                  <a:lnTo>
                    <a:pt x="103" y="473"/>
                  </a:lnTo>
                  <a:lnTo>
                    <a:pt x="108" y="474"/>
                  </a:lnTo>
                  <a:lnTo>
                    <a:pt x="110" y="477"/>
                  </a:lnTo>
                  <a:lnTo>
                    <a:pt x="113" y="477"/>
                  </a:lnTo>
                  <a:lnTo>
                    <a:pt x="117" y="475"/>
                  </a:lnTo>
                  <a:lnTo>
                    <a:pt x="118" y="477"/>
                  </a:lnTo>
                  <a:lnTo>
                    <a:pt x="120" y="478"/>
                  </a:lnTo>
                  <a:lnTo>
                    <a:pt x="116" y="481"/>
                  </a:lnTo>
                  <a:lnTo>
                    <a:pt x="116" y="479"/>
                  </a:lnTo>
                  <a:lnTo>
                    <a:pt x="113" y="481"/>
                  </a:lnTo>
                  <a:lnTo>
                    <a:pt x="112" y="482"/>
                  </a:lnTo>
                  <a:lnTo>
                    <a:pt x="110" y="485"/>
                  </a:lnTo>
                  <a:lnTo>
                    <a:pt x="108" y="485"/>
                  </a:lnTo>
                  <a:lnTo>
                    <a:pt x="105" y="483"/>
                  </a:lnTo>
                  <a:lnTo>
                    <a:pt x="102" y="482"/>
                  </a:lnTo>
                  <a:lnTo>
                    <a:pt x="97" y="482"/>
                  </a:lnTo>
                  <a:lnTo>
                    <a:pt x="94" y="482"/>
                  </a:lnTo>
                  <a:lnTo>
                    <a:pt x="89" y="482"/>
                  </a:lnTo>
                  <a:lnTo>
                    <a:pt x="84" y="483"/>
                  </a:lnTo>
                  <a:lnTo>
                    <a:pt x="84" y="483"/>
                  </a:lnTo>
                  <a:lnTo>
                    <a:pt x="83" y="479"/>
                  </a:lnTo>
                  <a:lnTo>
                    <a:pt x="89" y="478"/>
                  </a:lnTo>
                  <a:lnTo>
                    <a:pt x="91" y="478"/>
                  </a:lnTo>
                  <a:lnTo>
                    <a:pt x="94" y="477"/>
                  </a:lnTo>
                  <a:lnTo>
                    <a:pt x="94" y="477"/>
                  </a:lnTo>
                  <a:lnTo>
                    <a:pt x="90" y="477"/>
                  </a:lnTo>
                  <a:lnTo>
                    <a:pt x="87" y="477"/>
                  </a:lnTo>
                  <a:lnTo>
                    <a:pt x="83" y="478"/>
                  </a:lnTo>
                  <a:lnTo>
                    <a:pt x="82" y="478"/>
                  </a:lnTo>
                  <a:lnTo>
                    <a:pt x="76" y="45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  <p:sp>
          <p:nvSpPr>
            <p:cNvPr id="364" name="Freeform 165"/>
            <p:cNvSpPr>
              <a:spLocks noEditPoints="1"/>
            </p:cNvSpPr>
            <p:nvPr/>
          </p:nvSpPr>
          <p:spPr bwMode="auto">
            <a:xfrm>
              <a:off x="1147" y="2214"/>
              <a:ext cx="110" cy="548"/>
            </a:xfrm>
            <a:custGeom>
              <a:avLst/>
              <a:gdLst>
                <a:gd name="T0" fmla="*/ 87 w 110"/>
                <a:gd name="T1" fmla="*/ 529 h 548"/>
                <a:gd name="T2" fmla="*/ 85 w 110"/>
                <a:gd name="T3" fmla="*/ 532 h 548"/>
                <a:gd name="T4" fmla="*/ 81 w 110"/>
                <a:gd name="T5" fmla="*/ 537 h 548"/>
                <a:gd name="T6" fmla="*/ 89 w 110"/>
                <a:gd name="T7" fmla="*/ 545 h 548"/>
                <a:gd name="T8" fmla="*/ 90 w 110"/>
                <a:gd name="T9" fmla="*/ 541 h 548"/>
                <a:gd name="T10" fmla="*/ 94 w 110"/>
                <a:gd name="T11" fmla="*/ 528 h 548"/>
                <a:gd name="T12" fmla="*/ 89 w 110"/>
                <a:gd name="T13" fmla="*/ 517 h 548"/>
                <a:gd name="T14" fmla="*/ 89 w 110"/>
                <a:gd name="T15" fmla="*/ 505 h 548"/>
                <a:gd name="T16" fmla="*/ 108 w 110"/>
                <a:gd name="T17" fmla="*/ 533 h 548"/>
                <a:gd name="T18" fmla="*/ 56 w 110"/>
                <a:gd name="T19" fmla="*/ 477 h 548"/>
                <a:gd name="T20" fmla="*/ 48 w 110"/>
                <a:gd name="T21" fmla="*/ 434 h 548"/>
                <a:gd name="T22" fmla="*/ 48 w 110"/>
                <a:gd name="T23" fmla="*/ 385 h 548"/>
                <a:gd name="T24" fmla="*/ 42 w 110"/>
                <a:gd name="T25" fmla="*/ 367 h 548"/>
                <a:gd name="T26" fmla="*/ 32 w 110"/>
                <a:gd name="T27" fmla="*/ 328 h 548"/>
                <a:gd name="T28" fmla="*/ 32 w 110"/>
                <a:gd name="T29" fmla="*/ 260 h 548"/>
                <a:gd name="T30" fmla="*/ 38 w 110"/>
                <a:gd name="T31" fmla="*/ 207 h 548"/>
                <a:gd name="T32" fmla="*/ 33 w 110"/>
                <a:gd name="T33" fmla="*/ 161 h 548"/>
                <a:gd name="T34" fmla="*/ 42 w 110"/>
                <a:gd name="T35" fmla="*/ 116 h 548"/>
                <a:gd name="T36" fmla="*/ 57 w 110"/>
                <a:gd name="T37" fmla="*/ 70 h 548"/>
                <a:gd name="T38" fmla="*/ 32 w 110"/>
                <a:gd name="T39" fmla="*/ 19 h 548"/>
                <a:gd name="T40" fmla="*/ 22 w 110"/>
                <a:gd name="T41" fmla="*/ 6 h 548"/>
                <a:gd name="T42" fmla="*/ 15 w 110"/>
                <a:gd name="T43" fmla="*/ 37 h 548"/>
                <a:gd name="T44" fmla="*/ 14 w 110"/>
                <a:gd name="T45" fmla="*/ 76 h 548"/>
                <a:gd name="T46" fmla="*/ 18 w 110"/>
                <a:gd name="T47" fmla="*/ 114 h 548"/>
                <a:gd name="T48" fmla="*/ 11 w 110"/>
                <a:gd name="T49" fmla="*/ 148 h 548"/>
                <a:gd name="T50" fmla="*/ 14 w 110"/>
                <a:gd name="T51" fmla="*/ 181 h 548"/>
                <a:gd name="T52" fmla="*/ 18 w 110"/>
                <a:gd name="T53" fmla="*/ 211 h 548"/>
                <a:gd name="T54" fmla="*/ 11 w 110"/>
                <a:gd name="T55" fmla="*/ 235 h 548"/>
                <a:gd name="T56" fmla="*/ 6 w 110"/>
                <a:gd name="T57" fmla="*/ 257 h 548"/>
                <a:gd name="T58" fmla="*/ 6 w 110"/>
                <a:gd name="T59" fmla="*/ 277 h 548"/>
                <a:gd name="T60" fmla="*/ 6 w 110"/>
                <a:gd name="T61" fmla="*/ 303 h 548"/>
                <a:gd name="T62" fmla="*/ 13 w 110"/>
                <a:gd name="T63" fmla="*/ 329 h 548"/>
                <a:gd name="T64" fmla="*/ 25 w 110"/>
                <a:gd name="T65" fmla="*/ 333 h 548"/>
                <a:gd name="T66" fmla="*/ 26 w 110"/>
                <a:gd name="T67" fmla="*/ 341 h 548"/>
                <a:gd name="T68" fmla="*/ 25 w 110"/>
                <a:gd name="T69" fmla="*/ 362 h 548"/>
                <a:gd name="T70" fmla="*/ 25 w 110"/>
                <a:gd name="T71" fmla="*/ 379 h 548"/>
                <a:gd name="T72" fmla="*/ 21 w 110"/>
                <a:gd name="T73" fmla="*/ 403 h 548"/>
                <a:gd name="T74" fmla="*/ 17 w 110"/>
                <a:gd name="T75" fmla="*/ 396 h 548"/>
                <a:gd name="T76" fmla="*/ 8 w 110"/>
                <a:gd name="T77" fmla="*/ 398 h 548"/>
                <a:gd name="T78" fmla="*/ 6 w 110"/>
                <a:gd name="T79" fmla="*/ 404 h 548"/>
                <a:gd name="T80" fmla="*/ 21 w 110"/>
                <a:gd name="T81" fmla="*/ 412 h 548"/>
                <a:gd name="T82" fmla="*/ 21 w 110"/>
                <a:gd name="T83" fmla="*/ 423 h 548"/>
                <a:gd name="T84" fmla="*/ 22 w 110"/>
                <a:gd name="T85" fmla="*/ 426 h 548"/>
                <a:gd name="T86" fmla="*/ 25 w 110"/>
                <a:gd name="T87" fmla="*/ 438 h 548"/>
                <a:gd name="T88" fmla="*/ 32 w 110"/>
                <a:gd name="T89" fmla="*/ 449 h 548"/>
                <a:gd name="T90" fmla="*/ 27 w 110"/>
                <a:gd name="T91" fmla="*/ 464 h 548"/>
                <a:gd name="T92" fmla="*/ 34 w 110"/>
                <a:gd name="T93" fmla="*/ 477 h 548"/>
                <a:gd name="T94" fmla="*/ 38 w 110"/>
                <a:gd name="T95" fmla="*/ 485 h 548"/>
                <a:gd name="T96" fmla="*/ 49 w 110"/>
                <a:gd name="T97" fmla="*/ 492 h 548"/>
                <a:gd name="T98" fmla="*/ 53 w 110"/>
                <a:gd name="T99" fmla="*/ 484 h 548"/>
                <a:gd name="T100" fmla="*/ 56 w 110"/>
                <a:gd name="T101" fmla="*/ 495 h 548"/>
                <a:gd name="T102" fmla="*/ 44 w 110"/>
                <a:gd name="T103" fmla="*/ 496 h 548"/>
                <a:gd name="T104" fmla="*/ 51 w 110"/>
                <a:gd name="T105" fmla="*/ 506 h 548"/>
                <a:gd name="T106" fmla="*/ 55 w 110"/>
                <a:gd name="T107" fmla="*/ 503 h 548"/>
                <a:gd name="T108" fmla="*/ 71 w 110"/>
                <a:gd name="T109" fmla="*/ 500 h 548"/>
                <a:gd name="T110" fmla="*/ 57 w 110"/>
                <a:gd name="T111" fmla="*/ 510 h 548"/>
                <a:gd name="T112" fmla="*/ 66 w 110"/>
                <a:gd name="T113" fmla="*/ 513 h 548"/>
                <a:gd name="T114" fmla="*/ 74 w 110"/>
                <a:gd name="T115" fmla="*/ 509 h 548"/>
                <a:gd name="T116" fmla="*/ 68 w 110"/>
                <a:gd name="T117" fmla="*/ 515 h 548"/>
                <a:gd name="T118" fmla="*/ 79 w 110"/>
                <a:gd name="T119" fmla="*/ 517 h 548"/>
                <a:gd name="T120" fmla="*/ 90 w 110"/>
                <a:gd name="T121" fmla="*/ 494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0" h="548">
                  <a:moveTo>
                    <a:pt x="110" y="538"/>
                  </a:moveTo>
                  <a:lnTo>
                    <a:pt x="109" y="534"/>
                  </a:lnTo>
                  <a:lnTo>
                    <a:pt x="108" y="534"/>
                  </a:lnTo>
                  <a:lnTo>
                    <a:pt x="105" y="533"/>
                  </a:lnTo>
                  <a:lnTo>
                    <a:pt x="101" y="530"/>
                  </a:lnTo>
                  <a:lnTo>
                    <a:pt x="95" y="529"/>
                  </a:lnTo>
                  <a:lnTo>
                    <a:pt x="93" y="528"/>
                  </a:lnTo>
                  <a:lnTo>
                    <a:pt x="93" y="529"/>
                  </a:lnTo>
                  <a:lnTo>
                    <a:pt x="93" y="530"/>
                  </a:lnTo>
                  <a:lnTo>
                    <a:pt x="93" y="530"/>
                  </a:lnTo>
                  <a:lnTo>
                    <a:pt x="91" y="530"/>
                  </a:lnTo>
                  <a:lnTo>
                    <a:pt x="87" y="529"/>
                  </a:lnTo>
                  <a:lnTo>
                    <a:pt x="85" y="528"/>
                  </a:lnTo>
                  <a:lnTo>
                    <a:pt x="85" y="529"/>
                  </a:lnTo>
                  <a:lnTo>
                    <a:pt x="86" y="529"/>
                  </a:lnTo>
                  <a:lnTo>
                    <a:pt x="90" y="532"/>
                  </a:lnTo>
                  <a:lnTo>
                    <a:pt x="91" y="533"/>
                  </a:lnTo>
                  <a:lnTo>
                    <a:pt x="89" y="533"/>
                  </a:lnTo>
                  <a:lnTo>
                    <a:pt x="89" y="533"/>
                  </a:lnTo>
                  <a:lnTo>
                    <a:pt x="89" y="534"/>
                  </a:lnTo>
                  <a:lnTo>
                    <a:pt x="87" y="534"/>
                  </a:lnTo>
                  <a:lnTo>
                    <a:pt x="87" y="533"/>
                  </a:lnTo>
                  <a:lnTo>
                    <a:pt x="85" y="532"/>
                  </a:lnTo>
                  <a:lnTo>
                    <a:pt x="85" y="532"/>
                  </a:lnTo>
                  <a:lnTo>
                    <a:pt x="85" y="533"/>
                  </a:lnTo>
                  <a:lnTo>
                    <a:pt x="83" y="533"/>
                  </a:lnTo>
                  <a:lnTo>
                    <a:pt x="79" y="534"/>
                  </a:lnTo>
                  <a:lnTo>
                    <a:pt x="78" y="534"/>
                  </a:lnTo>
                  <a:lnTo>
                    <a:pt x="79" y="536"/>
                  </a:lnTo>
                  <a:lnTo>
                    <a:pt x="79" y="536"/>
                  </a:lnTo>
                  <a:lnTo>
                    <a:pt x="76" y="536"/>
                  </a:lnTo>
                  <a:lnTo>
                    <a:pt x="75" y="536"/>
                  </a:lnTo>
                  <a:lnTo>
                    <a:pt x="75" y="537"/>
                  </a:lnTo>
                  <a:lnTo>
                    <a:pt x="78" y="538"/>
                  </a:lnTo>
                  <a:lnTo>
                    <a:pt x="79" y="538"/>
                  </a:lnTo>
                  <a:lnTo>
                    <a:pt x="81" y="537"/>
                  </a:lnTo>
                  <a:lnTo>
                    <a:pt x="81" y="536"/>
                  </a:lnTo>
                  <a:lnTo>
                    <a:pt x="82" y="537"/>
                  </a:lnTo>
                  <a:lnTo>
                    <a:pt x="85" y="538"/>
                  </a:lnTo>
                  <a:lnTo>
                    <a:pt x="86" y="538"/>
                  </a:lnTo>
                  <a:lnTo>
                    <a:pt x="86" y="538"/>
                  </a:lnTo>
                  <a:lnTo>
                    <a:pt x="86" y="540"/>
                  </a:lnTo>
                  <a:lnTo>
                    <a:pt x="87" y="541"/>
                  </a:lnTo>
                  <a:lnTo>
                    <a:pt x="86" y="541"/>
                  </a:lnTo>
                  <a:lnTo>
                    <a:pt x="85" y="544"/>
                  </a:lnTo>
                  <a:lnTo>
                    <a:pt x="86" y="545"/>
                  </a:lnTo>
                  <a:lnTo>
                    <a:pt x="87" y="545"/>
                  </a:lnTo>
                  <a:lnTo>
                    <a:pt x="89" y="545"/>
                  </a:lnTo>
                  <a:lnTo>
                    <a:pt x="91" y="548"/>
                  </a:lnTo>
                  <a:lnTo>
                    <a:pt x="93" y="548"/>
                  </a:lnTo>
                  <a:lnTo>
                    <a:pt x="93" y="547"/>
                  </a:lnTo>
                  <a:lnTo>
                    <a:pt x="91" y="547"/>
                  </a:lnTo>
                  <a:lnTo>
                    <a:pt x="89" y="545"/>
                  </a:lnTo>
                  <a:lnTo>
                    <a:pt x="89" y="544"/>
                  </a:lnTo>
                  <a:lnTo>
                    <a:pt x="89" y="544"/>
                  </a:lnTo>
                  <a:lnTo>
                    <a:pt x="91" y="544"/>
                  </a:lnTo>
                  <a:lnTo>
                    <a:pt x="93" y="543"/>
                  </a:lnTo>
                  <a:lnTo>
                    <a:pt x="93" y="543"/>
                  </a:lnTo>
                  <a:lnTo>
                    <a:pt x="91" y="541"/>
                  </a:lnTo>
                  <a:lnTo>
                    <a:pt x="90" y="541"/>
                  </a:lnTo>
                  <a:lnTo>
                    <a:pt x="95" y="538"/>
                  </a:lnTo>
                  <a:lnTo>
                    <a:pt x="97" y="538"/>
                  </a:lnTo>
                  <a:lnTo>
                    <a:pt x="106" y="540"/>
                  </a:lnTo>
                  <a:lnTo>
                    <a:pt x="108" y="540"/>
                  </a:lnTo>
                  <a:lnTo>
                    <a:pt x="108" y="538"/>
                  </a:lnTo>
                  <a:lnTo>
                    <a:pt x="110" y="538"/>
                  </a:lnTo>
                  <a:lnTo>
                    <a:pt x="110" y="538"/>
                  </a:lnTo>
                  <a:close/>
                  <a:moveTo>
                    <a:pt x="108" y="533"/>
                  </a:moveTo>
                  <a:lnTo>
                    <a:pt x="105" y="532"/>
                  </a:lnTo>
                  <a:lnTo>
                    <a:pt x="100" y="528"/>
                  </a:lnTo>
                  <a:lnTo>
                    <a:pt x="95" y="526"/>
                  </a:lnTo>
                  <a:lnTo>
                    <a:pt x="94" y="528"/>
                  </a:lnTo>
                  <a:lnTo>
                    <a:pt x="91" y="525"/>
                  </a:lnTo>
                  <a:lnTo>
                    <a:pt x="90" y="524"/>
                  </a:lnTo>
                  <a:lnTo>
                    <a:pt x="89" y="522"/>
                  </a:lnTo>
                  <a:lnTo>
                    <a:pt x="89" y="521"/>
                  </a:lnTo>
                  <a:lnTo>
                    <a:pt x="93" y="519"/>
                  </a:lnTo>
                  <a:lnTo>
                    <a:pt x="93" y="518"/>
                  </a:lnTo>
                  <a:lnTo>
                    <a:pt x="95" y="518"/>
                  </a:lnTo>
                  <a:lnTo>
                    <a:pt x="97" y="515"/>
                  </a:lnTo>
                  <a:lnTo>
                    <a:pt x="97" y="513"/>
                  </a:lnTo>
                  <a:lnTo>
                    <a:pt x="94" y="513"/>
                  </a:lnTo>
                  <a:lnTo>
                    <a:pt x="90" y="515"/>
                  </a:lnTo>
                  <a:lnTo>
                    <a:pt x="89" y="517"/>
                  </a:lnTo>
                  <a:lnTo>
                    <a:pt x="87" y="517"/>
                  </a:lnTo>
                  <a:lnTo>
                    <a:pt x="85" y="514"/>
                  </a:lnTo>
                  <a:lnTo>
                    <a:pt x="85" y="511"/>
                  </a:lnTo>
                  <a:lnTo>
                    <a:pt x="85" y="510"/>
                  </a:lnTo>
                  <a:lnTo>
                    <a:pt x="86" y="507"/>
                  </a:lnTo>
                  <a:lnTo>
                    <a:pt x="86" y="506"/>
                  </a:lnTo>
                  <a:lnTo>
                    <a:pt x="85" y="506"/>
                  </a:lnTo>
                  <a:lnTo>
                    <a:pt x="83" y="506"/>
                  </a:lnTo>
                  <a:lnTo>
                    <a:pt x="85" y="503"/>
                  </a:lnTo>
                  <a:lnTo>
                    <a:pt x="86" y="503"/>
                  </a:lnTo>
                  <a:lnTo>
                    <a:pt x="89" y="505"/>
                  </a:lnTo>
                  <a:lnTo>
                    <a:pt x="89" y="505"/>
                  </a:lnTo>
                  <a:lnTo>
                    <a:pt x="91" y="502"/>
                  </a:lnTo>
                  <a:lnTo>
                    <a:pt x="91" y="500"/>
                  </a:lnTo>
                  <a:lnTo>
                    <a:pt x="91" y="499"/>
                  </a:lnTo>
                  <a:lnTo>
                    <a:pt x="91" y="496"/>
                  </a:lnTo>
                  <a:lnTo>
                    <a:pt x="93" y="498"/>
                  </a:lnTo>
                  <a:lnTo>
                    <a:pt x="95" y="499"/>
                  </a:lnTo>
                  <a:lnTo>
                    <a:pt x="97" y="498"/>
                  </a:lnTo>
                  <a:lnTo>
                    <a:pt x="100" y="496"/>
                  </a:lnTo>
                  <a:lnTo>
                    <a:pt x="102" y="510"/>
                  </a:lnTo>
                  <a:lnTo>
                    <a:pt x="102" y="511"/>
                  </a:lnTo>
                  <a:lnTo>
                    <a:pt x="102" y="511"/>
                  </a:lnTo>
                  <a:lnTo>
                    <a:pt x="108" y="533"/>
                  </a:lnTo>
                  <a:lnTo>
                    <a:pt x="108" y="533"/>
                  </a:lnTo>
                  <a:close/>
                  <a:moveTo>
                    <a:pt x="100" y="494"/>
                  </a:moveTo>
                  <a:lnTo>
                    <a:pt x="95" y="490"/>
                  </a:lnTo>
                  <a:lnTo>
                    <a:pt x="93" y="490"/>
                  </a:lnTo>
                  <a:lnTo>
                    <a:pt x="93" y="488"/>
                  </a:lnTo>
                  <a:lnTo>
                    <a:pt x="78" y="488"/>
                  </a:lnTo>
                  <a:lnTo>
                    <a:pt x="70" y="490"/>
                  </a:lnTo>
                  <a:lnTo>
                    <a:pt x="67" y="490"/>
                  </a:lnTo>
                  <a:lnTo>
                    <a:pt x="61" y="488"/>
                  </a:lnTo>
                  <a:lnTo>
                    <a:pt x="60" y="484"/>
                  </a:lnTo>
                  <a:lnTo>
                    <a:pt x="59" y="480"/>
                  </a:lnTo>
                  <a:lnTo>
                    <a:pt x="56" y="477"/>
                  </a:lnTo>
                  <a:lnTo>
                    <a:pt x="55" y="471"/>
                  </a:lnTo>
                  <a:lnTo>
                    <a:pt x="55" y="468"/>
                  </a:lnTo>
                  <a:lnTo>
                    <a:pt x="52" y="468"/>
                  </a:lnTo>
                  <a:lnTo>
                    <a:pt x="49" y="469"/>
                  </a:lnTo>
                  <a:lnTo>
                    <a:pt x="47" y="472"/>
                  </a:lnTo>
                  <a:lnTo>
                    <a:pt x="44" y="472"/>
                  </a:lnTo>
                  <a:lnTo>
                    <a:pt x="40" y="461"/>
                  </a:lnTo>
                  <a:lnTo>
                    <a:pt x="38" y="458"/>
                  </a:lnTo>
                  <a:lnTo>
                    <a:pt x="40" y="447"/>
                  </a:lnTo>
                  <a:lnTo>
                    <a:pt x="42" y="443"/>
                  </a:lnTo>
                  <a:lnTo>
                    <a:pt x="47" y="439"/>
                  </a:lnTo>
                  <a:lnTo>
                    <a:pt x="48" y="434"/>
                  </a:lnTo>
                  <a:lnTo>
                    <a:pt x="47" y="427"/>
                  </a:lnTo>
                  <a:lnTo>
                    <a:pt x="45" y="423"/>
                  </a:lnTo>
                  <a:lnTo>
                    <a:pt x="47" y="418"/>
                  </a:lnTo>
                  <a:lnTo>
                    <a:pt x="48" y="415"/>
                  </a:lnTo>
                  <a:lnTo>
                    <a:pt x="47" y="409"/>
                  </a:lnTo>
                  <a:lnTo>
                    <a:pt x="47" y="407"/>
                  </a:lnTo>
                  <a:lnTo>
                    <a:pt x="48" y="404"/>
                  </a:lnTo>
                  <a:lnTo>
                    <a:pt x="47" y="400"/>
                  </a:lnTo>
                  <a:lnTo>
                    <a:pt x="47" y="393"/>
                  </a:lnTo>
                  <a:lnTo>
                    <a:pt x="45" y="390"/>
                  </a:lnTo>
                  <a:lnTo>
                    <a:pt x="45" y="388"/>
                  </a:lnTo>
                  <a:lnTo>
                    <a:pt x="48" y="385"/>
                  </a:lnTo>
                  <a:lnTo>
                    <a:pt x="48" y="382"/>
                  </a:lnTo>
                  <a:lnTo>
                    <a:pt x="45" y="378"/>
                  </a:lnTo>
                  <a:lnTo>
                    <a:pt x="41" y="375"/>
                  </a:lnTo>
                  <a:lnTo>
                    <a:pt x="40" y="375"/>
                  </a:lnTo>
                  <a:lnTo>
                    <a:pt x="38" y="375"/>
                  </a:lnTo>
                  <a:lnTo>
                    <a:pt x="37" y="374"/>
                  </a:lnTo>
                  <a:lnTo>
                    <a:pt x="38" y="373"/>
                  </a:lnTo>
                  <a:lnTo>
                    <a:pt x="42" y="373"/>
                  </a:lnTo>
                  <a:lnTo>
                    <a:pt x="45" y="370"/>
                  </a:lnTo>
                  <a:lnTo>
                    <a:pt x="45" y="367"/>
                  </a:lnTo>
                  <a:lnTo>
                    <a:pt x="44" y="366"/>
                  </a:lnTo>
                  <a:lnTo>
                    <a:pt x="42" y="367"/>
                  </a:lnTo>
                  <a:lnTo>
                    <a:pt x="40" y="367"/>
                  </a:lnTo>
                  <a:lnTo>
                    <a:pt x="38" y="362"/>
                  </a:lnTo>
                  <a:lnTo>
                    <a:pt x="37" y="356"/>
                  </a:lnTo>
                  <a:lnTo>
                    <a:pt x="37" y="354"/>
                  </a:lnTo>
                  <a:lnTo>
                    <a:pt x="37" y="350"/>
                  </a:lnTo>
                  <a:lnTo>
                    <a:pt x="33" y="348"/>
                  </a:lnTo>
                  <a:lnTo>
                    <a:pt x="32" y="344"/>
                  </a:lnTo>
                  <a:lnTo>
                    <a:pt x="32" y="336"/>
                  </a:lnTo>
                  <a:lnTo>
                    <a:pt x="34" y="335"/>
                  </a:lnTo>
                  <a:lnTo>
                    <a:pt x="34" y="331"/>
                  </a:lnTo>
                  <a:lnTo>
                    <a:pt x="33" y="329"/>
                  </a:lnTo>
                  <a:lnTo>
                    <a:pt x="32" y="328"/>
                  </a:lnTo>
                  <a:lnTo>
                    <a:pt x="30" y="322"/>
                  </a:lnTo>
                  <a:lnTo>
                    <a:pt x="30" y="314"/>
                  </a:lnTo>
                  <a:lnTo>
                    <a:pt x="30" y="306"/>
                  </a:lnTo>
                  <a:lnTo>
                    <a:pt x="29" y="302"/>
                  </a:lnTo>
                  <a:lnTo>
                    <a:pt x="27" y="298"/>
                  </a:lnTo>
                  <a:lnTo>
                    <a:pt x="32" y="292"/>
                  </a:lnTo>
                  <a:lnTo>
                    <a:pt x="33" y="286"/>
                  </a:lnTo>
                  <a:lnTo>
                    <a:pt x="36" y="284"/>
                  </a:lnTo>
                  <a:lnTo>
                    <a:pt x="37" y="282"/>
                  </a:lnTo>
                  <a:lnTo>
                    <a:pt x="30" y="268"/>
                  </a:lnTo>
                  <a:lnTo>
                    <a:pt x="32" y="264"/>
                  </a:lnTo>
                  <a:lnTo>
                    <a:pt x="32" y="260"/>
                  </a:lnTo>
                  <a:lnTo>
                    <a:pt x="32" y="253"/>
                  </a:lnTo>
                  <a:lnTo>
                    <a:pt x="34" y="248"/>
                  </a:lnTo>
                  <a:lnTo>
                    <a:pt x="37" y="245"/>
                  </a:lnTo>
                  <a:lnTo>
                    <a:pt x="36" y="241"/>
                  </a:lnTo>
                  <a:lnTo>
                    <a:pt x="34" y="237"/>
                  </a:lnTo>
                  <a:lnTo>
                    <a:pt x="32" y="235"/>
                  </a:lnTo>
                  <a:lnTo>
                    <a:pt x="34" y="231"/>
                  </a:lnTo>
                  <a:lnTo>
                    <a:pt x="34" y="226"/>
                  </a:lnTo>
                  <a:lnTo>
                    <a:pt x="36" y="222"/>
                  </a:lnTo>
                  <a:lnTo>
                    <a:pt x="38" y="220"/>
                  </a:lnTo>
                  <a:lnTo>
                    <a:pt x="38" y="215"/>
                  </a:lnTo>
                  <a:lnTo>
                    <a:pt x="38" y="207"/>
                  </a:lnTo>
                  <a:lnTo>
                    <a:pt x="36" y="205"/>
                  </a:lnTo>
                  <a:lnTo>
                    <a:pt x="34" y="199"/>
                  </a:lnTo>
                  <a:lnTo>
                    <a:pt x="33" y="195"/>
                  </a:lnTo>
                  <a:lnTo>
                    <a:pt x="30" y="190"/>
                  </a:lnTo>
                  <a:lnTo>
                    <a:pt x="30" y="188"/>
                  </a:lnTo>
                  <a:lnTo>
                    <a:pt x="27" y="185"/>
                  </a:lnTo>
                  <a:lnTo>
                    <a:pt x="26" y="180"/>
                  </a:lnTo>
                  <a:lnTo>
                    <a:pt x="27" y="176"/>
                  </a:lnTo>
                  <a:lnTo>
                    <a:pt x="30" y="173"/>
                  </a:lnTo>
                  <a:lnTo>
                    <a:pt x="30" y="167"/>
                  </a:lnTo>
                  <a:lnTo>
                    <a:pt x="33" y="165"/>
                  </a:lnTo>
                  <a:lnTo>
                    <a:pt x="33" y="161"/>
                  </a:lnTo>
                  <a:lnTo>
                    <a:pt x="30" y="157"/>
                  </a:lnTo>
                  <a:lnTo>
                    <a:pt x="30" y="148"/>
                  </a:lnTo>
                  <a:lnTo>
                    <a:pt x="32" y="147"/>
                  </a:lnTo>
                  <a:lnTo>
                    <a:pt x="33" y="139"/>
                  </a:lnTo>
                  <a:lnTo>
                    <a:pt x="34" y="136"/>
                  </a:lnTo>
                  <a:lnTo>
                    <a:pt x="38" y="128"/>
                  </a:lnTo>
                  <a:lnTo>
                    <a:pt x="41" y="125"/>
                  </a:lnTo>
                  <a:lnTo>
                    <a:pt x="44" y="124"/>
                  </a:lnTo>
                  <a:lnTo>
                    <a:pt x="45" y="121"/>
                  </a:lnTo>
                  <a:lnTo>
                    <a:pt x="44" y="120"/>
                  </a:lnTo>
                  <a:lnTo>
                    <a:pt x="44" y="117"/>
                  </a:lnTo>
                  <a:lnTo>
                    <a:pt x="42" y="116"/>
                  </a:lnTo>
                  <a:lnTo>
                    <a:pt x="41" y="114"/>
                  </a:lnTo>
                  <a:lnTo>
                    <a:pt x="42" y="112"/>
                  </a:lnTo>
                  <a:lnTo>
                    <a:pt x="44" y="110"/>
                  </a:lnTo>
                  <a:lnTo>
                    <a:pt x="44" y="108"/>
                  </a:lnTo>
                  <a:lnTo>
                    <a:pt x="41" y="103"/>
                  </a:lnTo>
                  <a:lnTo>
                    <a:pt x="41" y="99"/>
                  </a:lnTo>
                  <a:lnTo>
                    <a:pt x="42" y="98"/>
                  </a:lnTo>
                  <a:lnTo>
                    <a:pt x="41" y="95"/>
                  </a:lnTo>
                  <a:lnTo>
                    <a:pt x="40" y="93"/>
                  </a:lnTo>
                  <a:lnTo>
                    <a:pt x="40" y="90"/>
                  </a:lnTo>
                  <a:lnTo>
                    <a:pt x="55" y="83"/>
                  </a:lnTo>
                  <a:lnTo>
                    <a:pt x="57" y="70"/>
                  </a:lnTo>
                  <a:lnTo>
                    <a:pt x="56" y="67"/>
                  </a:lnTo>
                  <a:lnTo>
                    <a:pt x="53" y="67"/>
                  </a:lnTo>
                  <a:lnTo>
                    <a:pt x="53" y="68"/>
                  </a:lnTo>
                  <a:lnTo>
                    <a:pt x="49" y="68"/>
                  </a:lnTo>
                  <a:lnTo>
                    <a:pt x="41" y="45"/>
                  </a:lnTo>
                  <a:lnTo>
                    <a:pt x="36" y="40"/>
                  </a:lnTo>
                  <a:lnTo>
                    <a:pt x="34" y="37"/>
                  </a:lnTo>
                  <a:lnTo>
                    <a:pt x="37" y="31"/>
                  </a:lnTo>
                  <a:lnTo>
                    <a:pt x="36" y="29"/>
                  </a:lnTo>
                  <a:lnTo>
                    <a:pt x="37" y="26"/>
                  </a:lnTo>
                  <a:lnTo>
                    <a:pt x="37" y="23"/>
                  </a:lnTo>
                  <a:lnTo>
                    <a:pt x="32" y="19"/>
                  </a:lnTo>
                  <a:lnTo>
                    <a:pt x="29" y="16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0"/>
                  </a:lnTo>
                  <a:lnTo>
                    <a:pt x="29" y="7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5" y="11"/>
                  </a:lnTo>
                  <a:lnTo>
                    <a:pt x="13" y="12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17" y="31"/>
                  </a:lnTo>
                  <a:lnTo>
                    <a:pt x="17" y="34"/>
                  </a:lnTo>
                  <a:lnTo>
                    <a:pt x="15" y="37"/>
                  </a:lnTo>
                  <a:lnTo>
                    <a:pt x="14" y="38"/>
                  </a:lnTo>
                  <a:lnTo>
                    <a:pt x="15" y="42"/>
                  </a:lnTo>
                  <a:lnTo>
                    <a:pt x="17" y="46"/>
                  </a:lnTo>
                  <a:lnTo>
                    <a:pt x="18" y="50"/>
                  </a:lnTo>
                  <a:lnTo>
                    <a:pt x="18" y="57"/>
                  </a:lnTo>
                  <a:lnTo>
                    <a:pt x="17" y="59"/>
                  </a:lnTo>
                  <a:lnTo>
                    <a:pt x="17" y="60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5" y="71"/>
                  </a:lnTo>
                  <a:lnTo>
                    <a:pt x="14" y="72"/>
                  </a:lnTo>
                  <a:lnTo>
                    <a:pt x="14" y="76"/>
                  </a:lnTo>
                  <a:lnTo>
                    <a:pt x="15" y="78"/>
                  </a:lnTo>
                  <a:lnTo>
                    <a:pt x="17" y="76"/>
                  </a:lnTo>
                  <a:lnTo>
                    <a:pt x="18" y="78"/>
                  </a:lnTo>
                  <a:lnTo>
                    <a:pt x="15" y="79"/>
                  </a:lnTo>
                  <a:lnTo>
                    <a:pt x="17" y="91"/>
                  </a:lnTo>
                  <a:lnTo>
                    <a:pt x="18" y="95"/>
                  </a:lnTo>
                  <a:lnTo>
                    <a:pt x="18" y="99"/>
                  </a:lnTo>
                  <a:lnTo>
                    <a:pt x="18" y="102"/>
                  </a:lnTo>
                  <a:lnTo>
                    <a:pt x="15" y="105"/>
                  </a:lnTo>
                  <a:lnTo>
                    <a:pt x="15" y="109"/>
                  </a:lnTo>
                  <a:lnTo>
                    <a:pt x="18" y="113"/>
                  </a:lnTo>
                  <a:lnTo>
                    <a:pt x="18" y="114"/>
                  </a:lnTo>
                  <a:lnTo>
                    <a:pt x="17" y="121"/>
                  </a:lnTo>
                  <a:lnTo>
                    <a:pt x="15" y="123"/>
                  </a:lnTo>
                  <a:lnTo>
                    <a:pt x="15" y="127"/>
                  </a:lnTo>
                  <a:lnTo>
                    <a:pt x="17" y="128"/>
                  </a:lnTo>
                  <a:lnTo>
                    <a:pt x="17" y="129"/>
                  </a:lnTo>
                  <a:lnTo>
                    <a:pt x="14" y="132"/>
                  </a:lnTo>
                  <a:lnTo>
                    <a:pt x="14" y="135"/>
                  </a:lnTo>
                  <a:lnTo>
                    <a:pt x="13" y="137"/>
                  </a:lnTo>
                  <a:lnTo>
                    <a:pt x="14" y="142"/>
                  </a:lnTo>
                  <a:lnTo>
                    <a:pt x="14" y="143"/>
                  </a:lnTo>
                  <a:lnTo>
                    <a:pt x="11" y="147"/>
                  </a:lnTo>
                  <a:lnTo>
                    <a:pt x="11" y="148"/>
                  </a:lnTo>
                  <a:lnTo>
                    <a:pt x="14" y="152"/>
                  </a:lnTo>
                  <a:lnTo>
                    <a:pt x="14" y="155"/>
                  </a:lnTo>
                  <a:lnTo>
                    <a:pt x="15" y="158"/>
                  </a:lnTo>
                  <a:lnTo>
                    <a:pt x="14" y="159"/>
                  </a:lnTo>
                  <a:lnTo>
                    <a:pt x="13" y="162"/>
                  </a:lnTo>
                  <a:lnTo>
                    <a:pt x="14" y="163"/>
                  </a:lnTo>
                  <a:lnTo>
                    <a:pt x="13" y="166"/>
                  </a:lnTo>
                  <a:lnTo>
                    <a:pt x="11" y="166"/>
                  </a:lnTo>
                  <a:lnTo>
                    <a:pt x="11" y="169"/>
                  </a:lnTo>
                  <a:lnTo>
                    <a:pt x="11" y="171"/>
                  </a:lnTo>
                  <a:lnTo>
                    <a:pt x="11" y="174"/>
                  </a:lnTo>
                  <a:lnTo>
                    <a:pt x="14" y="181"/>
                  </a:lnTo>
                  <a:lnTo>
                    <a:pt x="14" y="185"/>
                  </a:lnTo>
                  <a:lnTo>
                    <a:pt x="13" y="186"/>
                  </a:lnTo>
                  <a:lnTo>
                    <a:pt x="14" y="188"/>
                  </a:lnTo>
                  <a:lnTo>
                    <a:pt x="15" y="192"/>
                  </a:lnTo>
                  <a:lnTo>
                    <a:pt x="17" y="196"/>
                  </a:lnTo>
                  <a:lnTo>
                    <a:pt x="15" y="199"/>
                  </a:lnTo>
                  <a:lnTo>
                    <a:pt x="15" y="200"/>
                  </a:lnTo>
                  <a:lnTo>
                    <a:pt x="17" y="203"/>
                  </a:lnTo>
                  <a:lnTo>
                    <a:pt x="15" y="204"/>
                  </a:lnTo>
                  <a:lnTo>
                    <a:pt x="15" y="205"/>
                  </a:lnTo>
                  <a:lnTo>
                    <a:pt x="15" y="207"/>
                  </a:lnTo>
                  <a:lnTo>
                    <a:pt x="18" y="211"/>
                  </a:lnTo>
                  <a:lnTo>
                    <a:pt x="18" y="212"/>
                  </a:lnTo>
                  <a:lnTo>
                    <a:pt x="18" y="215"/>
                  </a:lnTo>
                  <a:lnTo>
                    <a:pt x="15" y="216"/>
                  </a:lnTo>
                  <a:lnTo>
                    <a:pt x="14" y="219"/>
                  </a:lnTo>
                  <a:lnTo>
                    <a:pt x="14" y="220"/>
                  </a:lnTo>
                  <a:lnTo>
                    <a:pt x="15" y="222"/>
                  </a:lnTo>
                  <a:lnTo>
                    <a:pt x="14" y="224"/>
                  </a:lnTo>
                  <a:lnTo>
                    <a:pt x="13" y="226"/>
                  </a:lnTo>
                  <a:lnTo>
                    <a:pt x="13" y="227"/>
                  </a:lnTo>
                  <a:lnTo>
                    <a:pt x="13" y="231"/>
                  </a:lnTo>
                  <a:lnTo>
                    <a:pt x="11" y="233"/>
                  </a:lnTo>
                  <a:lnTo>
                    <a:pt x="11" y="235"/>
                  </a:lnTo>
                  <a:lnTo>
                    <a:pt x="11" y="237"/>
                  </a:lnTo>
                  <a:lnTo>
                    <a:pt x="11" y="239"/>
                  </a:lnTo>
                  <a:lnTo>
                    <a:pt x="10" y="241"/>
                  </a:lnTo>
                  <a:lnTo>
                    <a:pt x="10" y="242"/>
                  </a:lnTo>
                  <a:lnTo>
                    <a:pt x="10" y="244"/>
                  </a:lnTo>
                  <a:lnTo>
                    <a:pt x="8" y="245"/>
                  </a:lnTo>
                  <a:lnTo>
                    <a:pt x="8" y="249"/>
                  </a:lnTo>
                  <a:lnTo>
                    <a:pt x="8" y="250"/>
                  </a:lnTo>
                  <a:lnTo>
                    <a:pt x="7" y="252"/>
                  </a:lnTo>
                  <a:lnTo>
                    <a:pt x="7" y="253"/>
                  </a:lnTo>
                  <a:lnTo>
                    <a:pt x="6" y="256"/>
                  </a:lnTo>
                  <a:lnTo>
                    <a:pt x="6" y="257"/>
                  </a:lnTo>
                  <a:lnTo>
                    <a:pt x="7" y="258"/>
                  </a:lnTo>
                  <a:lnTo>
                    <a:pt x="7" y="261"/>
                  </a:lnTo>
                  <a:lnTo>
                    <a:pt x="6" y="263"/>
                  </a:lnTo>
                  <a:lnTo>
                    <a:pt x="4" y="263"/>
                  </a:lnTo>
                  <a:lnTo>
                    <a:pt x="3" y="263"/>
                  </a:lnTo>
                  <a:lnTo>
                    <a:pt x="2" y="263"/>
                  </a:lnTo>
                  <a:lnTo>
                    <a:pt x="0" y="264"/>
                  </a:lnTo>
                  <a:lnTo>
                    <a:pt x="2" y="267"/>
                  </a:lnTo>
                  <a:lnTo>
                    <a:pt x="2" y="269"/>
                  </a:lnTo>
                  <a:lnTo>
                    <a:pt x="3" y="272"/>
                  </a:lnTo>
                  <a:lnTo>
                    <a:pt x="6" y="275"/>
                  </a:lnTo>
                  <a:lnTo>
                    <a:pt x="6" y="277"/>
                  </a:lnTo>
                  <a:lnTo>
                    <a:pt x="6" y="280"/>
                  </a:lnTo>
                  <a:lnTo>
                    <a:pt x="8" y="286"/>
                  </a:lnTo>
                  <a:lnTo>
                    <a:pt x="10" y="288"/>
                  </a:lnTo>
                  <a:lnTo>
                    <a:pt x="11" y="290"/>
                  </a:lnTo>
                  <a:lnTo>
                    <a:pt x="11" y="294"/>
                  </a:lnTo>
                  <a:lnTo>
                    <a:pt x="10" y="298"/>
                  </a:lnTo>
                  <a:lnTo>
                    <a:pt x="8" y="299"/>
                  </a:lnTo>
                  <a:lnTo>
                    <a:pt x="10" y="301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6" y="303"/>
                  </a:lnTo>
                  <a:lnTo>
                    <a:pt x="7" y="306"/>
                  </a:lnTo>
                  <a:lnTo>
                    <a:pt x="8" y="307"/>
                  </a:lnTo>
                  <a:lnTo>
                    <a:pt x="7" y="313"/>
                  </a:lnTo>
                  <a:lnTo>
                    <a:pt x="7" y="314"/>
                  </a:lnTo>
                  <a:lnTo>
                    <a:pt x="6" y="316"/>
                  </a:lnTo>
                  <a:lnTo>
                    <a:pt x="7" y="317"/>
                  </a:lnTo>
                  <a:lnTo>
                    <a:pt x="7" y="318"/>
                  </a:lnTo>
                  <a:lnTo>
                    <a:pt x="7" y="320"/>
                  </a:lnTo>
                  <a:lnTo>
                    <a:pt x="7" y="321"/>
                  </a:lnTo>
                  <a:lnTo>
                    <a:pt x="11" y="326"/>
                  </a:lnTo>
                  <a:lnTo>
                    <a:pt x="13" y="326"/>
                  </a:lnTo>
                  <a:lnTo>
                    <a:pt x="13" y="329"/>
                  </a:lnTo>
                  <a:lnTo>
                    <a:pt x="17" y="331"/>
                  </a:lnTo>
                  <a:lnTo>
                    <a:pt x="19" y="329"/>
                  </a:lnTo>
                  <a:lnTo>
                    <a:pt x="19" y="326"/>
                  </a:lnTo>
                  <a:lnTo>
                    <a:pt x="21" y="325"/>
                  </a:lnTo>
                  <a:lnTo>
                    <a:pt x="22" y="325"/>
                  </a:lnTo>
                  <a:lnTo>
                    <a:pt x="25" y="328"/>
                  </a:lnTo>
                  <a:lnTo>
                    <a:pt x="25" y="328"/>
                  </a:lnTo>
                  <a:lnTo>
                    <a:pt x="26" y="326"/>
                  </a:lnTo>
                  <a:lnTo>
                    <a:pt x="25" y="329"/>
                  </a:lnTo>
                  <a:lnTo>
                    <a:pt x="23" y="331"/>
                  </a:lnTo>
                  <a:lnTo>
                    <a:pt x="23" y="332"/>
                  </a:lnTo>
                  <a:lnTo>
                    <a:pt x="25" y="333"/>
                  </a:lnTo>
                  <a:lnTo>
                    <a:pt x="26" y="332"/>
                  </a:lnTo>
                  <a:lnTo>
                    <a:pt x="26" y="335"/>
                  </a:lnTo>
                  <a:lnTo>
                    <a:pt x="26" y="339"/>
                  </a:lnTo>
                  <a:lnTo>
                    <a:pt x="27" y="340"/>
                  </a:lnTo>
                  <a:lnTo>
                    <a:pt x="27" y="340"/>
                  </a:lnTo>
                  <a:lnTo>
                    <a:pt x="26" y="339"/>
                  </a:lnTo>
                  <a:lnTo>
                    <a:pt x="25" y="337"/>
                  </a:lnTo>
                  <a:lnTo>
                    <a:pt x="23" y="336"/>
                  </a:lnTo>
                  <a:lnTo>
                    <a:pt x="23" y="337"/>
                  </a:lnTo>
                  <a:lnTo>
                    <a:pt x="23" y="339"/>
                  </a:lnTo>
                  <a:lnTo>
                    <a:pt x="26" y="340"/>
                  </a:lnTo>
                  <a:lnTo>
                    <a:pt x="26" y="341"/>
                  </a:lnTo>
                  <a:lnTo>
                    <a:pt x="25" y="343"/>
                  </a:lnTo>
                  <a:lnTo>
                    <a:pt x="23" y="343"/>
                  </a:lnTo>
                  <a:lnTo>
                    <a:pt x="23" y="345"/>
                  </a:lnTo>
                  <a:lnTo>
                    <a:pt x="26" y="348"/>
                  </a:lnTo>
                  <a:lnTo>
                    <a:pt x="23" y="350"/>
                  </a:lnTo>
                  <a:lnTo>
                    <a:pt x="23" y="351"/>
                  </a:lnTo>
                  <a:lnTo>
                    <a:pt x="25" y="352"/>
                  </a:lnTo>
                  <a:lnTo>
                    <a:pt x="22" y="354"/>
                  </a:lnTo>
                  <a:lnTo>
                    <a:pt x="22" y="355"/>
                  </a:lnTo>
                  <a:lnTo>
                    <a:pt x="25" y="358"/>
                  </a:lnTo>
                  <a:lnTo>
                    <a:pt x="25" y="359"/>
                  </a:lnTo>
                  <a:lnTo>
                    <a:pt x="25" y="362"/>
                  </a:lnTo>
                  <a:lnTo>
                    <a:pt x="22" y="363"/>
                  </a:lnTo>
                  <a:lnTo>
                    <a:pt x="22" y="364"/>
                  </a:lnTo>
                  <a:lnTo>
                    <a:pt x="23" y="366"/>
                  </a:lnTo>
                  <a:lnTo>
                    <a:pt x="26" y="366"/>
                  </a:lnTo>
                  <a:lnTo>
                    <a:pt x="27" y="367"/>
                  </a:lnTo>
                  <a:lnTo>
                    <a:pt x="27" y="370"/>
                  </a:lnTo>
                  <a:lnTo>
                    <a:pt x="30" y="370"/>
                  </a:lnTo>
                  <a:lnTo>
                    <a:pt x="30" y="371"/>
                  </a:lnTo>
                  <a:lnTo>
                    <a:pt x="30" y="375"/>
                  </a:lnTo>
                  <a:lnTo>
                    <a:pt x="29" y="378"/>
                  </a:lnTo>
                  <a:lnTo>
                    <a:pt x="26" y="379"/>
                  </a:lnTo>
                  <a:lnTo>
                    <a:pt x="25" y="379"/>
                  </a:lnTo>
                  <a:lnTo>
                    <a:pt x="25" y="382"/>
                  </a:lnTo>
                  <a:lnTo>
                    <a:pt x="25" y="385"/>
                  </a:lnTo>
                  <a:lnTo>
                    <a:pt x="25" y="385"/>
                  </a:lnTo>
                  <a:lnTo>
                    <a:pt x="25" y="386"/>
                  </a:lnTo>
                  <a:lnTo>
                    <a:pt x="25" y="388"/>
                  </a:lnTo>
                  <a:lnTo>
                    <a:pt x="23" y="389"/>
                  </a:lnTo>
                  <a:lnTo>
                    <a:pt x="22" y="393"/>
                  </a:lnTo>
                  <a:lnTo>
                    <a:pt x="22" y="396"/>
                  </a:lnTo>
                  <a:lnTo>
                    <a:pt x="23" y="396"/>
                  </a:lnTo>
                  <a:lnTo>
                    <a:pt x="23" y="397"/>
                  </a:lnTo>
                  <a:lnTo>
                    <a:pt x="22" y="403"/>
                  </a:lnTo>
                  <a:lnTo>
                    <a:pt x="21" y="403"/>
                  </a:lnTo>
                  <a:lnTo>
                    <a:pt x="21" y="405"/>
                  </a:lnTo>
                  <a:lnTo>
                    <a:pt x="19" y="404"/>
                  </a:lnTo>
                  <a:lnTo>
                    <a:pt x="21" y="403"/>
                  </a:lnTo>
                  <a:lnTo>
                    <a:pt x="21" y="398"/>
                  </a:lnTo>
                  <a:lnTo>
                    <a:pt x="21" y="397"/>
                  </a:lnTo>
                  <a:lnTo>
                    <a:pt x="22" y="396"/>
                  </a:lnTo>
                  <a:lnTo>
                    <a:pt x="21" y="396"/>
                  </a:lnTo>
                  <a:lnTo>
                    <a:pt x="18" y="397"/>
                  </a:lnTo>
                  <a:lnTo>
                    <a:pt x="15" y="398"/>
                  </a:lnTo>
                  <a:lnTo>
                    <a:pt x="14" y="398"/>
                  </a:lnTo>
                  <a:lnTo>
                    <a:pt x="14" y="397"/>
                  </a:lnTo>
                  <a:lnTo>
                    <a:pt x="17" y="396"/>
                  </a:lnTo>
                  <a:lnTo>
                    <a:pt x="18" y="394"/>
                  </a:lnTo>
                  <a:lnTo>
                    <a:pt x="18" y="392"/>
                  </a:lnTo>
                  <a:lnTo>
                    <a:pt x="17" y="392"/>
                  </a:lnTo>
                  <a:lnTo>
                    <a:pt x="14" y="392"/>
                  </a:lnTo>
                  <a:lnTo>
                    <a:pt x="10" y="392"/>
                  </a:lnTo>
                  <a:lnTo>
                    <a:pt x="8" y="392"/>
                  </a:lnTo>
                  <a:lnTo>
                    <a:pt x="7" y="392"/>
                  </a:lnTo>
                  <a:lnTo>
                    <a:pt x="7" y="393"/>
                  </a:lnTo>
                  <a:lnTo>
                    <a:pt x="8" y="396"/>
                  </a:lnTo>
                  <a:lnTo>
                    <a:pt x="8" y="396"/>
                  </a:lnTo>
                  <a:lnTo>
                    <a:pt x="10" y="398"/>
                  </a:lnTo>
                  <a:lnTo>
                    <a:pt x="8" y="398"/>
                  </a:lnTo>
                  <a:lnTo>
                    <a:pt x="7" y="400"/>
                  </a:lnTo>
                  <a:lnTo>
                    <a:pt x="6" y="401"/>
                  </a:lnTo>
                  <a:lnTo>
                    <a:pt x="4" y="404"/>
                  </a:lnTo>
                  <a:lnTo>
                    <a:pt x="2" y="405"/>
                  </a:lnTo>
                  <a:lnTo>
                    <a:pt x="2" y="407"/>
                  </a:lnTo>
                  <a:lnTo>
                    <a:pt x="4" y="411"/>
                  </a:lnTo>
                  <a:lnTo>
                    <a:pt x="7" y="411"/>
                  </a:lnTo>
                  <a:lnTo>
                    <a:pt x="8" y="409"/>
                  </a:lnTo>
                  <a:lnTo>
                    <a:pt x="7" y="408"/>
                  </a:lnTo>
                  <a:lnTo>
                    <a:pt x="6" y="408"/>
                  </a:lnTo>
                  <a:lnTo>
                    <a:pt x="6" y="407"/>
                  </a:lnTo>
                  <a:lnTo>
                    <a:pt x="6" y="404"/>
                  </a:lnTo>
                  <a:lnTo>
                    <a:pt x="10" y="404"/>
                  </a:lnTo>
                  <a:lnTo>
                    <a:pt x="10" y="403"/>
                  </a:lnTo>
                  <a:lnTo>
                    <a:pt x="10" y="405"/>
                  </a:lnTo>
                  <a:lnTo>
                    <a:pt x="13" y="408"/>
                  </a:lnTo>
                  <a:lnTo>
                    <a:pt x="15" y="407"/>
                  </a:lnTo>
                  <a:lnTo>
                    <a:pt x="17" y="407"/>
                  </a:lnTo>
                  <a:lnTo>
                    <a:pt x="18" y="407"/>
                  </a:lnTo>
                  <a:lnTo>
                    <a:pt x="18" y="408"/>
                  </a:lnTo>
                  <a:lnTo>
                    <a:pt x="22" y="409"/>
                  </a:lnTo>
                  <a:lnTo>
                    <a:pt x="23" y="411"/>
                  </a:lnTo>
                  <a:lnTo>
                    <a:pt x="22" y="411"/>
                  </a:lnTo>
                  <a:lnTo>
                    <a:pt x="21" y="412"/>
                  </a:lnTo>
                  <a:lnTo>
                    <a:pt x="22" y="413"/>
                  </a:lnTo>
                  <a:lnTo>
                    <a:pt x="21" y="415"/>
                  </a:lnTo>
                  <a:lnTo>
                    <a:pt x="19" y="416"/>
                  </a:lnTo>
                  <a:lnTo>
                    <a:pt x="21" y="418"/>
                  </a:lnTo>
                  <a:lnTo>
                    <a:pt x="22" y="419"/>
                  </a:lnTo>
                  <a:lnTo>
                    <a:pt x="22" y="420"/>
                  </a:lnTo>
                  <a:lnTo>
                    <a:pt x="21" y="419"/>
                  </a:lnTo>
                  <a:lnTo>
                    <a:pt x="19" y="418"/>
                  </a:lnTo>
                  <a:lnTo>
                    <a:pt x="18" y="418"/>
                  </a:lnTo>
                  <a:lnTo>
                    <a:pt x="18" y="420"/>
                  </a:lnTo>
                  <a:lnTo>
                    <a:pt x="19" y="422"/>
                  </a:lnTo>
                  <a:lnTo>
                    <a:pt x="21" y="423"/>
                  </a:lnTo>
                  <a:lnTo>
                    <a:pt x="23" y="423"/>
                  </a:lnTo>
                  <a:lnTo>
                    <a:pt x="27" y="422"/>
                  </a:lnTo>
                  <a:lnTo>
                    <a:pt x="27" y="423"/>
                  </a:lnTo>
                  <a:lnTo>
                    <a:pt x="29" y="423"/>
                  </a:lnTo>
                  <a:lnTo>
                    <a:pt x="32" y="422"/>
                  </a:lnTo>
                  <a:lnTo>
                    <a:pt x="30" y="423"/>
                  </a:lnTo>
                  <a:lnTo>
                    <a:pt x="30" y="424"/>
                  </a:lnTo>
                  <a:lnTo>
                    <a:pt x="30" y="424"/>
                  </a:lnTo>
                  <a:lnTo>
                    <a:pt x="27" y="426"/>
                  </a:lnTo>
                  <a:lnTo>
                    <a:pt x="27" y="426"/>
                  </a:lnTo>
                  <a:lnTo>
                    <a:pt x="26" y="424"/>
                  </a:lnTo>
                  <a:lnTo>
                    <a:pt x="22" y="426"/>
                  </a:lnTo>
                  <a:lnTo>
                    <a:pt x="21" y="427"/>
                  </a:lnTo>
                  <a:lnTo>
                    <a:pt x="22" y="428"/>
                  </a:lnTo>
                  <a:lnTo>
                    <a:pt x="23" y="430"/>
                  </a:lnTo>
                  <a:lnTo>
                    <a:pt x="25" y="432"/>
                  </a:lnTo>
                  <a:lnTo>
                    <a:pt x="26" y="432"/>
                  </a:lnTo>
                  <a:lnTo>
                    <a:pt x="29" y="431"/>
                  </a:lnTo>
                  <a:lnTo>
                    <a:pt x="27" y="432"/>
                  </a:lnTo>
                  <a:lnTo>
                    <a:pt x="26" y="434"/>
                  </a:lnTo>
                  <a:lnTo>
                    <a:pt x="26" y="435"/>
                  </a:lnTo>
                  <a:lnTo>
                    <a:pt x="26" y="437"/>
                  </a:lnTo>
                  <a:lnTo>
                    <a:pt x="26" y="438"/>
                  </a:lnTo>
                  <a:lnTo>
                    <a:pt x="25" y="438"/>
                  </a:lnTo>
                  <a:lnTo>
                    <a:pt x="25" y="439"/>
                  </a:lnTo>
                  <a:lnTo>
                    <a:pt x="26" y="445"/>
                  </a:lnTo>
                  <a:lnTo>
                    <a:pt x="27" y="446"/>
                  </a:lnTo>
                  <a:lnTo>
                    <a:pt x="27" y="449"/>
                  </a:lnTo>
                  <a:lnTo>
                    <a:pt x="29" y="451"/>
                  </a:lnTo>
                  <a:lnTo>
                    <a:pt x="30" y="453"/>
                  </a:lnTo>
                  <a:lnTo>
                    <a:pt x="30" y="449"/>
                  </a:lnTo>
                  <a:lnTo>
                    <a:pt x="32" y="445"/>
                  </a:lnTo>
                  <a:lnTo>
                    <a:pt x="33" y="443"/>
                  </a:lnTo>
                  <a:lnTo>
                    <a:pt x="33" y="445"/>
                  </a:lnTo>
                  <a:lnTo>
                    <a:pt x="33" y="445"/>
                  </a:lnTo>
                  <a:lnTo>
                    <a:pt x="32" y="449"/>
                  </a:lnTo>
                  <a:lnTo>
                    <a:pt x="32" y="450"/>
                  </a:lnTo>
                  <a:lnTo>
                    <a:pt x="33" y="451"/>
                  </a:lnTo>
                  <a:lnTo>
                    <a:pt x="34" y="451"/>
                  </a:lnTo>
                  <a:lnTo>
                    <a:pt x="34" y="451"/>
                  </a:lnTo>
                  <a:lnTo>
                    <a:pt x="32" y="453"/>
                  </a:lnTo>
                  <a:lnTo>
                    <a:pt x="29" y="454"/>
                  </a:lnTo>
                  <a:lnTo>
                    <a:pt x="30" y="456"/>
                  </a:lnTo>
                  <a:lnTo>
                    <a:pt x="29" y="458"/>
                  </a:lnTo>
                  <a:lnTo>
                    <a:pt x="29" y="460"/>
                  </a:lnTo>
                  <a:lnTo>
                    <a:pt x="27" y="461"/>
                  </a:lnTo>
                  <a:lnTo>
                    <a:pt x="27" y="462"/>
                  </a:lnTo>
                  <a:lnTo>
                    <a:pt x="27" y="464"/>
                  </a:lnTo>
                  <a:lnTo>
                    <a:pt x="30" y="466"/>
                  </a:lnTo>
                  <a:lnTo>
                    <a:pt x="34" y="468"/>
                  </a:lnTo>
                  <a:lnTo>
                    <a:pt x="37" y="469"/>
                  </a:lnTo>
                  <a:lnTo>
                    <a:pt x="36" y="469"/>
                  </a:lnTo>
                  <a:lnTo>
                    <a:pt x="36" y="471"/>
                  </a:lnTo>
                  <a:lnTo>
                    <a:pt x="36" y="472"/>
                  </a:lnTo>
                  <a:lnTo>
                    <a:pt x="37" y="473"/>
                  </a:lnTo>
                  <a:lnTo>
                    <a:pt x="38" y="471"/>
                  </a:lnTo>
                  <a:lnTo>
                    <a:pt x="38" y="473"/>
                  </a:lnTo>
                  <a:lnTo>
                    <a:pt x="38" y="475"/>
                  </a:lnTo>
                  <a:lnTo>
                    <a:pt x="36" y="475"/>
                  </a:lnTo>
                  <a:lnTo>
                    <a:pt x="34" y="477"/>
                  </a:lnTo>
                  <a:lnTo>
                    <a:pt x="36" y="477"/>
                  </a:lnTo>
                  <a:lnTo>
                    <a:pt x="38" y="477"/>
                  </a:lnTo>
                  <a:lnTo>
                    <a:pt x="38" y="479"/>
                  </a:lnTo>
                  <a:lnTo>
                    <a:pt x="40" y="481"/>
                  </a:lnTo>
                  <a:lnTo>
                    <a:pt x="41" y="481"/>
                  </a:lnTo>
                  <a:lnTo>
                    <a:pt x="42" y="480"/>
                  </a:lnTo>
                  <a:lnTo>
                    <a:pt x="41" y="483"/>
                  </a:lnTo>
                  <a:lnTo>
                    <a:pt x="42" y="484"/>
                  </a:lnTo>
                  <a:lnTo>
                    <a:pt x="41" y="484"/>
                  </a:lnTo>
                  <a:lnTo>
                    <a:pt x="40" y="484"/>
                  </a:lnTo>
                  <a:lnTo>
                    <a:pt x="40" y="484"/>
                  </a:lnTo>
                  <a:lnTo>
                    <a:pt x="38" y="485"/>
                  </a:lnTo>
                  <a:lnTo>
                    <a:pt x="41" y="488"/>
                  </a:lnTo>
                  <a:lnTo>
                    <a:pt x="41" y="488"/>
                  </a:lnTo>
                  <a:lnTo>
                    <a:pt x="42" y="491"/>
                  </a:lnTo>
                  <a:lnTo>
                    <a:pt x="44" y="492"/>
                  </a:lnTo>
                  <a:lnTo>
                    <a:pt x="45" y="494"/>
                  </a:lnTo>
                  <a:lnTo>
                    <a:pt x="47" y="494"/>
                  </a:lnTo>
                  <a:lnTo>
                    <a:pt x="45" y="490"/>
                  </a:lnTo>
                  <a:lnTo>
                    <a:pt x="47" y="488"/>
                  </a:lnTo>
                  <a:lnTo>
                    <a:pt x="45" y="487"/>
                  </a:lnTo>
                  <a:lnTo>
                    <a:pt x="48" y="488"/>
                  </a:lnTo>
                  <a:lnTo>
                    <a:pt x="48" y="490"/>
                  </a:lnTo>
                  <a:lnTo>
                    <a:pt x="49" y="492"/>
                  </a:lnTo>
                  <a:lnTo>
                    <a:pt x="51" y="490"/>
                  </a:lnTo>
                  <a:lnTo>
                    <a:pt x="52" y="488"/>
                  </a:lnTo>
                  <a:lnTo>
                    <a:pt x="52" y="487"/>
                  </a:lnTo>
                  <a:lnTo>
                    <a:pt x="51" y="487"/>
                  </a:lnTo>
                  <a:lnTo>
                    <a:pt x="48" y="485"/>
                  </a:lnTo>
                  <a:lnTo>
                    <a:pt x="48" y="485"/>
                  </a:lnTo>
                  <a:lnTo>
                    <a:pt x="49" y="485"/>
                  </a:lnTo>
                  <a:lnTo>
                    <a:pt x="53" y="485"/>
                  </a:lnTo>
                  <a:lnTo>
                    <a:pt x="53" y="487"/>
                  </a:lnTo>
                  <a:lnTo>
                    <a:pt x="56" y="487"/>
                  </a:lnTo>
                  <a:lnTo>
                    <a:pt x="55" y="485"/>
                  </a:lnTo>
                  <a:lnTo>
                    <a:pt x="53" y="484"/>
                  </a:lnTo>
                  <a:lnTo>
                    <a:pt x="49" y="484"/>
                  </a:lnTo>
                  <a:lnTo>
                    <a:pt x="48" y="483"/>
                  </a:lnTo>
                  <a:lnTo>
                    <a:pt x="49" y="481"/>
                  </a:lnTo>
                  <a:lnTo>
                    <a:pt x="53" y="483"/>
                  </a:lnTo>
                  <a:lnTo>
                    <a:pt x="57" y="485"/>
                  </a:lnTo>
                  <a:lnTo>
                    <a:pt x="57" y="488"/>
                  </a:lnTo>
                  <a:lnTo>
                    <a:pt x="56" y="490"/>
                  </a:lnTo>
                  <a:lnTo>
                    <a:pt x="56" y="492"/>
                  </a:lnTo>
                  <a:lnTo>
                    <a:pt x="57" y="495"/>
                  </a:lnTo>
                  <a:lnTo>
                    <a:pt x="57" y="496"/>
                  </a:lnTo>
                  <a:lnTo>
                    <a:pt x="56" y="498"/>
                  </a:lnTo>
                  <a:lnTo>
                    <a:pt x="56" y="495"/>
                  </a:lnTo>
                  <a:lnTo>
                    <a:pt x="55" y="491"/>
                  </a:lnTo>
                  <a:lnTo>
                    <a:pt x="53" y="490"/>
                  </a:lnTo>
                  <a:lnTo>
                    <a:pt x="52" y="491"/>
                  </a:lnTo>
                  <a:lnTo>
                    <a:pt x="52" y="494"/>
                  </a:lnTo>
                  <a:lnTo>
                    <a:pt x="53" y="495"/>
                  </a:lnTo>
                  <a:lnTo>
                    <a:pt x="52" y="496"/>
                  </a:lnTo>
                  <a:lnTo>
                    <a:pt x="52" y="495"/>
                  </a:lnTo>
                  <a:lnTo>
                    <a:pt x="51" y="494"/>
                  </a:lnTo>
                  <a:lnTo>
                    <a:pt x="49" y="494"/>
                  </a:lnTo>
                  <a:lnTo>
                    <a:pt x="48" y="495"/>
                  </a:lnTo>
                  <a:lnTo>
                    <a:pt x="45" y="495"/>
                  </a:lnTo>
                  <a:lnTo>
                    <a:pt x="44" y="496"/>
                  </a:lnTo>
                  <a:lnTo>
                    <a:pt x="45" y="498"/>
                  </a:lnTo>
                  <a:lnTo>
                    <a:pt x="45" y="500"/>
                  </a:lnTo>
                  <a:lnTo>
                    <a:pt x="47" y="502"/>
                  </a:lnTo>
                  <a:lnTo>
                    <a:pt x="47" y="503"/>
                  </a:lnTo>
                  <a:lnTo>
                    <a:pt x="47" y="505"/>
                  </a:lnTo>
                  <a:lnTo>
                    <a:pt x="47" y="506"/>
                  </a:lnTo>
                  <a:lnTo>
                    <a:pt x="48" y="506"/>
                  </a:lnTo>
                  <a:lnTo>
                    <a:pt x="49" y="503"/>
                  </a:lnTo>
                  <a:lnTo>
                    <a:pt x="51" y="505"/>
                  </a:lnTo>
                  <a:lnTo>
                    <a:pt x="52" y="505"/>
                  </a:lnTo>
                  <a:lnTo>
                    <a:pt x="52" y="506"/>
                  </a:lnTo>
                  <a:lnTo>
                    <a:pt x="51" y="506"/>
                  </a:lnTo>
                  <a:lnTo>
                    <a:pt x="48" y="507"/>
                  </a:lnTo>
                  <a:lnTo>
                    <a:pt x="49" y="509"/>
                  </a:lnTo>
                  <a:lnTo>
                    <a:pt x="52" y="509"/>
                  </a:lnTo>
                  <a:lnTo>
                    <a:pt x="55" y="511"/>
                  </a:lnTo>
                  <a:lnTo>
                    <a:pt x="56" y="510"/>
                  </a:lnTo>
                  <a:lnTo>
                    <a:pt x="57" y="509"/>
                  </a:lnTo>
                  <a:lnTo>
                    <a:pt x="56" y="507"/>
                  </a:lnTo>
                  <a:lnTo>
                    <a:pt x="56" y="505"/>
                  </a:lnTo>
                  <a:lnTo>
                    <a:pt x="56" y="503"/>
                  </a:lnTo>
                  <a:lnTo>
                    <a:pt x="55" y="503"/>
                  </a:lnTo>
                  <a:lnTo>
                    <a:pt x="53" y="503"/>
                  </a:lnTo>
                  <a:lnTo>
                    <a:pt x="55" y="503"/>
                  </a:lnTo>
                  <a:lnTo>
                    <a:pt x="56" y="502"/>
                  </a:lnTo>
                  <a:lnTo>
                    <a:pt x="55" y="500"/>
                  </a:lnTo>
                  <a:lnTo>
                    <a:pt x="56" y="500"/>
                  </a:lnTo>
                  <a:lnTo>
                    <a:pt x="59" y="500"/>
                  </a:lnTo>
                  <a:lnTo>
                    <a:pt x="60" y="500"/>
                  </a:lnTo>
                  <a:lnTo>
                    <a:pt x="60" y="502"/>
                  </a:lnTo>
                  <a:lnTo>
                    <a:pt x="61" y="502"/>
                  </a:lnTo>
                  <a:lnTo>
                    <a:pt x="63" y="500"/>
                  </a:lnTo>
                  <a:lnTo>
                    <a:pt x="64" y="500"/>
                  </a:lnTo>
                  <a:lnTo>
                    <a:pt x="67" y="500"/>
                  </a:lnTo>
                  <a:lnTo>
                    <a:pt x="68" y="500"/>
                  </a:lnTo>
                  <a:lnTo>
                    <a:pt x="71" y="500"/>
                  </a:lnTo>
                  <a:lnTo>
                    <a:pt x="71" y="502"/>
                  </a:lnTo>
                  <a:lnTo>
                    <a:pt x="70" y="502"/>
                  </a:lnTo>
                  <a:lnTo>
                    <a:pt x="68" y="503"/>
                  </a:lnTo>
                  <a:lnTo>
                    <a:pt x="67" y="503"/>
                  </a:lnTo>
                  <a:lnTo>
                    <a:pt x="66" y="502"/>
                  </a:lnTo>
                  <a:lnTo>
                    <a:pt x="64" y="503"/>
                  </a:lnTo>
                  <a:lnTo>
                    <a:pt x="60" y="506"/>
                  </a:lnTo>
                  <a:lnTo>
                    <a:pt x="60" y="506"/>
                  </a:lnTo>
                  <a:lnTo>
                    <a:pt x="59" y="506"/>
                  </a:lnTo>
                  <a:lnTo>
                    <a:pt x="57" y="507"/>
                  </a:lnTo>
                  <a:lnTo>
                    <a:pt x="57" y="509"/>
                  </a:lnTo>
                  <a:lnTo>
                    <a:pt x="57" y="510"/>
                  </a:lnTo>
                  <a:lnTo>
                    <a:pt x="56" y="511"/>
                  </a:lnTo>
                  <a:lnTo>
                    <a:pt x="56" y="511"/>
                  </a:lnTo>
                  <a:lnTo>
                    <a:pt x="57" y="513"/>
                  </a:lnTo>
                  <a:lnTo>
                    <a:pt x="56" y="514"/>
                  </a:lnTo>
                  <a:lnTo>
                    <a:pt x="56" y="514"/>
                  </a:lnTo>
                  <a:lnTo>
                    <a:pt x="60" y="515"/>
                  </a:lnTo>
                  <a:lnTo>
                    <a:pt x="63" y="518"/>
                  </a:lnTo>
                  <a:lnTo>
                    <a:pt x="63" y="518"/>
                  </a:lnTo>
                  <a:lnTo>
                    <a:pt x="64" y="517"/>
                  </a:lnTo>
                  <a:lnTo>
                    <a:pt x="63" y="515"/>
                  </a:lnTo>
                  <a:lnTo>
                    <a:pt x="64" y="514"/>
                  </a:lnTo>
                  <a:lnTo>
                    <a:pt x="66" y="513"/>
                  </a:lnTo>
                  <a:lnTo>
                    <a:pt x="67" y="513"/>
                  </a:lnTo>
                  <a:lnTo>
                    <a:pt x="64" y="510"/>
                  </a:lnTo>
                  <a:lnTo>
                    <a:pt x="67" y="510"/>
                  </a:lnTo>
                  <a:lnTo>
                    <a:pt x="70" y="507"/>
                  </a:lnTo>
                  <a:lnTo>
                    <a:pt x="71" y="505"/>
                  </a:lnTo>
                  <a:lnTo>
                    <a:pt x="72" y="505"/>
                  </a:lnTo>
                  <a:lnTo>
                    <a:pt x="74" y="505"/>
                  </a:lnTo>
                  <a:lnTo>
                    <a:pt x="75" y="506"/>
                  </a:lnTo>
                  <a:lnTo>
                    <a:pt x="76" y="506"/>
                  </a:lnTo>
                  <a:lnTo>
                    <a:pt x="76" y="506"/>
                  </a:lnTo>
                  <a:lnTo>
                    <a:pt x="75" y="507"/>
                  </a:lnTo>
                  <a:lnTo>
                    <a:pt x="74" y="509"/>
                  </a:lnTo>
                  <a:lnTo>
                    <a:pt x="74" y="510"/>
                  </a:lnTo>
                  <a:lnTo>
                    <a:pt x="71" y="511"/>
                  </a:lnTo>
                  <a:lnTo>
                    <a:pt x="71" y="514"/>
                  </a:lnTo>
                  <a:lnTo>
                    <a:pt x="72" y="515"/>
                  </a:lnTo>
                  <a:lnTo>
                    <a:pt x="71" y="517"/>
                  </a:lnTo>
                  <a:lnTo>
                    <a:pt x="70" y="518"/>
                  </a:lnTo>
                  <a:lnTo>
                    <a:pt x="70" y="517"/>
                  </a:lnTo>
                  <a:lnTo>
                    <a:pt x="70" y="517"/>
                  </a:lnTo>
                  <a:lnTo>
                    <a:pt x="70" y="514"/>
                  </a:lnTo>
                  <a:lnTo>
                    <a:pt x="70" y="513"/>
                  </a:lnTo>
                  <a:lnTo>
                    <a:pt x="68" y="514"/>
                  </a:lnTo>
                  <a:lnTo>
                    <a:pt x="68" y="515"/>
                  </a:lnTo>
                  <a:lnTo>
                    <a:pt x="67" y="515"/>
                  </a:lnTo>
                  <a:lnTo>
                    <a:pt x="66" y="515"/>
                  </a:lnTo>
                  <a:lnTo>
                    <a:pt x="64" y="517"/>
                  </a:lnTo>
                  <a:lnTo>
                    <a:pt x="66" y="518"/>
                  </a:lnTo>
                  <a:lnTo>
                    <a:pt x="70" y="522"/>
                  </a:lnTo>
                  <a:lnTo>
                    <a:pt x="74" y="522"/>
                  </a:lnTo>
                  <a:lnTo>
                    <a:pt x="75" y="524"/>
                  </a:lnTo>
                  <a:lnTo>
                    <a:pt x="76" y="524"/>
                  </a:lnTo>
                  <a:lnTo>
                    <a:pt x="78" y="525"/>
                  </a:lnTo>
                  <a:lnTo>
                    <a:pt x="79" y="524"/>
                  </a:lnTo>
                  <a:lnTo>
                    <a:pt x="81" y="521"/>
                  </a:lnTo>
                  <a:lnTo>
                    <a:pt x="79" y="517"/>
                  </a:lnTo>
                  <a:lnTo>
                    <a:pt x="81" y="515"/>
                  </a:lnTo>
                  <a:lnTo>
                    <a:pt x="79" y="514"/>
                  </a:lnTo>
                  <a:lnTo>
                    <a:pt x="81" y="511"/>
                  </a:lnTo>
                  <a:lnTo>
                    <a:pt x="81" y="507"/>
                  </a:lnTo>
                  <a:lnTo>
                    <a:pt x="79" y="505"/>
                  </a:lnTo>
                  <a:lnTo>
                    <a:pt x="81" y="503"/>
                  </a:lnTo>
                  <a:lnTo>
                    <a:pt x="83" y="502"/>
                  </a:lnTo>
                  <a:lnTo>
                    <a:pt x="86" y="499"/>
                  </a:lnTo>
                  <a:lnTo>
                    <a:pt x="87" y="498"/>
                  </a:lnTo>
                  <a:lnTo>
                    <a:pt x="90" y="498"/>
                  </a:lnTo>
                  <a:lnTo>
                    <a:pt x="90" y="496"/>
                  </a:lnTo>
                  <a:lnTo>
                    <a:pt x="90" y="494"/>
                  </a:lnTo>
                  <a:lnTo>
                    <a:pt x="91" y="492"/>
                  </a:lnTo>
                  <a:lnTo>
                    <a:pt x="94" y="492"/>
                  </a:lnTo>
                  <a:lnTo>
                    <a:pt x="97" y="494"/>
                  </a:lnTo>
                  <a:lnTo>
                    <a:pt x="98" y="492"/>
                  </a:lnTo>
                  <a:lnTo>
                    <a:pt x="100" y="494"/>
                  </a:lnTo>
                  <a:lnTo>
                    <a:pt x="100" y="49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fr-FR" sz="3200" dirty="0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168" name="Диаграмма 167"/>
          <p:cNvGraphicFramePr/>
          <p:nvPr>
            <p:extLst/>
          </p:nvPr>
        </p:nvGraphicFramePr>
        <p:xfrm>
          <a:off x="4659649" y="4824838"/>
          <a:ext cx="2454040" cy="1576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9" name="Диаграмма 168"/>
          <p:cNvGraphicFramePr/>
          <p:nvPr>
            <p:extLst/>
          </p:nvPr>
        </p:nvGraphicFramePr>
        <p:xfrm>
          <a:off x="7079816" y="4945143"/>
          <a:ext cx="2211706" cy="1486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0" name="Диаграмма 169"/>
          <p:cNvGraphicFramePr/>
          <p:nvPr>
            <p:extLst/>
          </p:nvPr>
        </p:nvGraphicFramePr>
        <p:xfrm>
          <a:off x="9382052" y="4932187"/>
          <a:ext cx="2154951" cy="1499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1" name="TextBox 170"/>
          <p:cNvSpPr txBox="1"/>
          <p:nvPr/>
        </p:nvSpPr>
        <p:spPr>
          <a:xfrm>
            <a:off x="609600" y="576943"/>
            <a:ext cx="525156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ГРУППА КОМПАНИЙ </a:t>
            </a:r>
            <a:r>
              <a:rPr lang="en-US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FM LOGISTIC</a:t>
            </a:r>
          </a:p>
          <a:p>
            <a:r>
              <a:rPr lang="ru-RU" sz="3000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</a:rPr>
              <a:t>КЛЮЧЕВЫЕ ПОКАЗАТЕЛИ</a:t>
            </a:r>
            <a:endParaRPr lang="en-US" sz="3000" b="1" dirty="0">
              <a:solidFill>
                <a:srgbClr val="3E9ACC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ru-RU" sz="3000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grpSp>
        <p:nvGrpSpPr>
          <p:cNvPr id="176" name="Группа 175"/>
          <p:cNvGrpSpPr/>
          <p:nvPr/>
        </p:nvGrpSpPr>
        <p:grpSpPr>
          <a:xfrm>
            <a:off x="696685" y="576943"/>
            <a:ext cx="3561806" cy="783771"/>
            <a:chOff x="696685" y="576943"/>
            <a:chExt cx="2939144" cy="783771"/>
          </a:xfrm>
        </p:grpSpPr>
        <p:cxnSp>
          <p:nvCxnSpPr>
            <p:cNvPr id="173" name="Прямая соединительная линия 172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Прямая соединительная линия 174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3" name="Group 120"/>
          <p:cNvGrpSpPr/>
          <p:nvPr/>
        </p:nvGrpSpPr>
        <p:grpSpPr>
          <a:xfrm flipH="1">
            <a:off x="2037936" y="5352729"/>
            <a:ext cx="1543102" cy="1208609"/>
            <a:chOff x="8836" y="60721"/>
            <a:chExt cx="2438986" cy="1910294"/>
          </a:xfrm>
        </p:grpSpPr>
        <p:pic>
          <p:nvPicPr>
            <p:cNvPr id="184" name="winter-blues-how-to-keep-your-employees-motivated-and-productive.png"/>
            <p:cNvPicPr/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313504" y="577869"/>
              <a:ext cx="409419" cy="135253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5" name="winter-blues-how-to-keep-your-employees-motivated-and-productive.png"/>
            <p:cNvPicPr/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2266" y="553526"/>
              <a:ext cx="437380" cy="135533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6" name="winter-blues-how-to-keep-your-employees-motivated-and-productive.png"/>
            <p:cNvPicPr/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8836" y="812353"/>
              <a:ext cx="450819" cy="109672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7" name="winter-blues-how-to-keep-your-employees-motivated-and-productive.png"/>
            <p:cNvPicPr/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009703" y="430238"/>
              <a:ext cx="560663" cy="147873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8" name="winter-blues-how-to-keep-your-employees-motivated-and-productive.png"/>
            <p:cNvPicPr/>
            <p:nvPr/>
          </p:nvPicPr>
          <p:blipFill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00394" y="117809"/>
              <a:ext cx="534682" cy="185320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89" name="winter-blues-how-to-keep-your-employees-motivated-and-productive.png"/>
            <p:cNvPicPr/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6384" y="60721"/>
              <a:ext cx="571439" cy="185325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90" name="Shape 106"/>
          <p:cNvSpPr/>
          <p:nvPr/>
        </p:nvSpPr>
        <p:spPr>
          <a:xfrm>
            <a:off x="3755287" y="5954444"/>
            <a:ext cx="995773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1219170">
              <a:defRPr sz="1800"/>
            </a:pPr>
            <a:r>
              <a:rPr lang="en-US" sz="2000" b="1" spc="-173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21,800</a:t>
            </a:r>
            <a:endParaRPr lang="ru-RU" sz="2000" b="1" spc="-173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  <a:sym typeface="Franklin Gothic Demi Cond"/>
            </a:endParaRPr>
          </a:p>
          <a:p>
            <a:pPr defTabSz="1219170">
              <a:defRPr sz="1800"/>
            </a:pPr>
            <a:r>
              <a:rPr lang="ru-RU" sz="12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сотрудников</a:t>
            </a:r>
            <a:endParaRPr sz="1200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pic>
        <p:nvPicPr>
          <p:cNvPr id="191" name="Image 25"/>
          <p:cNvPicPr preferRelativeResize="0"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4751061" y="1432636"/>
            <a:ext cx="119537" cy="5128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7" name="Shape 96"/>
          <p:cNvSpPr/>
          <p:nvPr/>
        </p:nvSpPr>
        <p:spPr>
          <a:xfrm>
            <a:off x="5422140" y="5464629"/>
            <a:ext cx="938431" cy="718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pPr algn="ctr" defTabSz="1028492">
              <a:defRPr sz="1800"/>
            </a:pPr>
            <a:r>
              <a:rPr lang="en-US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5</a:t>
            </a:r>
            <a:r>
              <a:rPr lang="ru-RU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7</a:t>
            </a:r>
            <a:r>
              <a:rPr sz="1518" b="1" spc="-146" baseline="300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%</a:t>
            </a:r>
          </a:p>
        </p:txBody>
      </p:sp>
      <p:sp>
        <p:nvSpPr>
          <p:cNvPr id="198" name="Shape 96"/>
          <p:cNvSpPr/>
          <p:nvPr/>
        </p:nvSpPr>
        <p:spPr>
          <a:xfrm>
            <a:off x="7722800" y="5464629"/>
            <a:ext cx="938431" cy="718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pPr algn="ctr" defTabSz="1028492">
              <a:defRPr sz="1800"/>
            </a:pPr>
            <a:r>
              <a:rPr lang="ru-RU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33</a:t>
            </a:r>
            <a:r>
              <a:rPr sz="1518" b="1" spc="-146" baseline="300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%</a:t>
            </a:r>
          </a:p>
        </p:txBody>
      </p:sp>
      <p:sp>
        <p:nvSpPr>
          <p:cNvPr id="199" name="Shape 96"/>
          <p:cNvSpPr/>
          <p:nvPr/>
        </p:nvSpPr>
        <p:spPr>
          <a:xfrm>
            <a:off x="10019132" y="5464629"/>
            <a:ext cx="938431" cy="718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pPr algn="ctr" defTabSz="1028492">
              <a:defRPr sz="1800"/>
            </a:pPr>
            <a:r>
              <a:rPr lang="en-US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1</a:t>
            </a:r>
            <a:r>
              <a:rPr lang="ru-RU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0</a:t>
            </a:r>
            <a:r>
              <a:rPr sz="1518" b="1" spc="-146" baseline="300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%</a:t>
            </a:r>
          </a:p>
        </p:txBody>
      </p:sp>
      <p:pic>
        <p:nvPicPr>
          <p:cNvPr id="201" name="Image 8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3" y="6334986"/>
            <a:ext cx="1775216" cy="345214"/>
          </a:xfrm>
          <a:prstGeom prst="rect">
            <a:avLst/>
          </a:prstGeom>
        </p:spPr>
      </p:pic>
      <p:graphicFrame>
        <p:nvGraphicFramePr>
          <p:cNvPr id="3" name="Диаграмма 2"/>
          <p:cNvGraphicFramePr/>
          <p:nvPr>
            <p:extLst/>
          </p:nvPr>
        </p:nvGraphicFramePr>
        <p:xfrm>
          <a:off x="309358" y="1870817"/>
          <a:ext cx="4237048" cy="3314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02" name="Shape 86"/>
          <p:cNvSpPr/>
          <p:nvPr/>
        </p:nvSpPr>
        <p:spPr>
          <a:xfrm rot="20242789">
            <a:off x="1200179" y="3302801"/>
            <a:ext cx="2718990" cy="460786"/>
          </a:xfrm>
          <a:prstGeom prst="rightArrow">
            <a:avLst>
              <a:gd name="adj1" fmla="val 50000"/>
              <a:gd name="adj2" fmla="val 82300"/>
            </a:avLst>
          </a:prstGeom>
          <a:solidFill>
            <a:srgbClr val="F2F2F2"/>
          </a:solidFill>
          <a:ln w="12700" cap="flat">
            <a:noFill/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wrap="square" lIns="60959" tIns="60959" rIns="60959" bIns="60959" numCol="1" anchor="ctr">
            <a:noAutofit/>
          </a:bodyPr>
          <a:lstStyle/>
          <a:p>
            <a:pPr defTabSz="1219170">
              <a:defRPr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900">
              <a:solidFill>
                <a:srgbClr val="FFFFFF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203" name="Shape 87"/>
          <p:cNvSpPr/>
          <p:nvPr/>
        </p:nvSpPr>
        <p:spPr>
          <a:xfrm rot="20243148">
            <a:off x="1433129" y="3363504"/>
            <a:ext cx="2166297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60959" tIns="60959" rIns="60959" bIns="60959" numCol="1" anchor="t">
            <a:spAutoFit/>
          </a:bodyPr>
          <a:lstStyle>
            <a:lvl1pPr algn="l" defTabSz="914400">
              <a:defRPr sz="1400">
                <a:solidFill>
                  <a:srgbClr val="595A59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</a:lstStyle>
          <a:p>
            <a:pPr>
              <a:defRPr sz="180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+</a:t>
            </a:r>
            <a:r>
              <a:rPr lang="ru-RU" sz="16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1</a:t>
            </a:r>
            <a:r>
              <a:rPr lang="en-US" sz="16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r>
              <a:rPr lang="ru-RU" sz="16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% </a:t>
            </a:r>
            <a:r>
              <a:rPr lang="ru-RU" sz="16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в среднем / год</a:t>
            </a:r>
          </a:p>
        </p:txBody>
      </p:sp>
      <p:sp>
        <p:nvSpPr>
          <p:cNvPr id="204" name="Shape 84"/>
          <p:cNvSpPr/>
          <p:nvPr/>
        </p:nvSpPr>
        <p:spPr>
          <a:xfrm>
            <a:off x="311139" y="1473916"/>
            <a:ext cx="4439921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0959" rIns="60959">
            <a:spAutoFit/>
          </a:bodyPr>
          <a:lstStyle>
            <a:lvl1pPr defTabSz="914400">
              <a:defRPr sz="2600">
                <a:solidFill>
                  <a:srgbClr val="006BBC"/>
                </a:solidFill>
                <a:latin typeface="Microsoft Sans Serif"/>
                <a:ea typeface="Microsoft Sans Serif"/>
                <a:cs typeface="Microsoft Sans Serif"/>
                <a:sym typeface="Microsoft Sans Serif"/>
              </a:defRPr>
            </a:lvl1pPr>
          </a:lstStyle>
          <a:p>
            <a:pPr algn="ctr">
              <a:defRPr sz="1800">
                <a:solidFill>
                  <a:srgbClr val="000000"/>
                </a:solidFill>
              </a:defRPr>
            </a:pPr>
            <a:r>
              <a:rPr lang="ru-RU" sz="2000" b="1" spc="-173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Рост торгового  оборота</a:t>
            </a:r>
          </a:p>
        </p:txBody>
      </p:sp>
    </p:spTree>
    <p:extLst>
      <p:ext uri="{BB962C8B-B14F-4D97-AF65-F5344CB8AC3E}">
        <p14:creationId xmlns:p14="http://schemas.microsoft.com/office/powerpoint/2010/main" val="388183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4" descr="univeg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5522" y="2821233"/>
            <a:ext cx="1095495" cy="3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://varlamov.me/img/mosfilm1/19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0966" y="5102943"/>
            <a:ext cx="12212966" cy="1755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" name="blanc"/>
          <p:cNvSpPr/>
          <p:nvPr/>
        </p:nvSpPr>
        <p:spPr>
          <a:xfrm>
            <a:off x="-27162" y="4816353"/>
            <a:ext cx="12267829" cy="298868"/>
          </a:xfrm>
          <a:prstGeom prst="rect">
            <a:avLst/>
          </a:prstGeom>
          <a:solidFill>
            <a:srgbClr val="3E9A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 25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1298621" y="2406946"/>
            <a:ext cx="174114" cy="217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25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2434155" y="2380102"/>
            <a:ext cx="174114" cy="217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25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3727618" y="2406946"/>
            <a:ext cx="174114" cy="217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25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5529436" y="2406946"/>
            <a:ext cx="174114" cy="217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 25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8781739" y="2380102"/>
            <a:ext cx="174114" cy="217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1"/>
          <p:cNvSpPr txBox="1"/>
          <p:nvPr/>
        </p:nvSpPr>
        <p:spPr>
          <a:xfrm>
            <a:off x="59555" y="4098008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1994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1" name="trait1"/>
          <p:cNvCxnSpPr/>
          <p:nvPr/>
        </p:nvCxnSpPr>
        <p:spPr>
          <a:xfrm>
            <a:off x="741557" y="4327047"/>
            <a:ext cx="0" cy="257839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e 1 naissance"/>
          <p:cNvSpPr/>
          <p:nvPr/>
        </p:nvSpPr>
        <p:spPr>
          <a:xfrm>
            <a:off x="-31586" y="3106205"/>
            <a:ext cx="1496654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en-GB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FM Logistic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63149" y="2094773"/>
            <a:ext cx="748581" cy="1013802"/>
          </a:xfrm>
          <a:prstGeom prst="rect">
            <a:avLst/>
          </a:prstGeom>
        </p:spPr>
      </p:pic>
      <p:sp>
        <p:nvSpPr>
          <p:cNvPr id="16" name="Date 2"/>
          <p:cNvSpPr txBox="1"/>
          <p:nvPr/>
        </p:nvSpPr>
        <p:spPr>
          <a:xfrm>
            <a:off x="1167022" y="4098008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1998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7" name="trait2"/>
          <p:cNvCxnSpPr/>
          <p:nvPr/>
        </p:nvCxnSpPr>
        <p:spPr>
          <a:xfrm>
            <a:off x="1841257" y="4327047"/>
            <a:ext cx="0" cy="257839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arallélogramme 7" hidden="1"/>
          <p:cNvSpPr/>
          <p:nvPr/>
        </p:nvSpPr>
        <p:spPr>
          <a:xfrm>
            <a:off x="1452965" y="2558315"/>
            <a:ext cx="914951" cy="405792"/>
          </a:xfrm>
          <a:prstGeom prst="parallelogram">
            <a:avLst>
              <a:gd name="adj" fmla="val 67967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254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20" name="texte 1 naissance"/>
          <p:cNvSpPr/>
          <p:nvPr/>
        </p:nvSpPr>
        <p:spPr>
          <a:xfrm>
            <a:off x="1354376" y="3098721"/>
            <a:ext cx="951831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клад </a:t>
            </a:r>
          </a:p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ласса</a:t>
            </a:r>
            <a:r>
              <a:rPr lang="en-GB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 A</a:t>
            </a:r>
          </a:p>
        </p:txBody>
      </p:sp>
      <p:sp>
        <p:nvSpPr>
          <p:cNvPr id="21" name="texte 1 naissance"/>
          <p:cNvSpPr/>
          <p:nvPr/>
        </p:nvSpPr>
        <p:spPr>
          <a:xfrm>
            <a:off x="1343438" y="3323052"/>
            <a:ext cx="973700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Долгопрудный</a:t>
            </a:r>
            <a:endParaRPr lang="en-GB" sz="900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7" name="Date 4"/>
          <p:cNvSpPr txBox="1"/>
          <p:nvPr/>
        </p:nvSpPr>
        <p:spPr>
          <a:xfrm>
            <a:off x="2421945" y="4113072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2003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28" name="trait4"/>
          <p:cNvCxnSpPr/>
          <p:nvPr/>
        </p:nvCxnSpPr>
        <p:spPr>
          <a:xfrm>
            <a:off x="3107027" y="4329118"/>
            <a:ext cx="0" cy="255768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e 1 naissance"/>
          <p:cNvSpPr/>
          <p:nvPr/>
        </p:nvSpPr>
        <p:spPr>
          <a:xfrm>
            <a:off x="2415837" y="3093534"/>
            <a:ext cx="1314131" cy="56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Начало предоставления</a:t>
            </a:r>
          </a:p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транспортных услуг</a:t>
            </a:r>
          </a:p>
        </p:txBody>
      </p:sp>
      <p:grpSp>
        <p:nvGrpSpPr>
          <p:cNvPr id="31" name="Group 14"/>
          <p:cNvGrpSpPr>
            <a:grpSpLocks noChangeAspect="1"/>
          </p:cNvGrpSpPr>
          <p:nvPr/>
        </p:nvGrpSpPr>
        <p:grpSpPr bwMode="auto">
          <a:xfrm>
            <a:off x="2620693" y="2696433"/>
            <a:ext cx="854881" cy="414148"/>
            <a:chOff x="3202" y="1838"/>
            <a:chExt cx="825" cy="387"/>
          </a:xfrm>
          <a:solidFill>
            <a:srgbClr val="BFBFBF"/>
          </a:solidFill>
        </p:grpSpPr>
        <p:sp>
          <p:nvSpPr>
            <p:cNvPr id="32" name="Freeform 15"/>
            <p:cNvSpPr>
              <a:spLocks noEditPoints="1"/>
            </p:cNvSpPr>
            <p:nvPr/>
          </p:nvSpPr>
          <p:spPr bwMode="auto">
            <a:xfrm>
              <a:off x="3831" y="2119"/>
              <a:ext cx="105" cy="106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22 w 44"/>
                <a:gd name="T11" fmla="*/ 32 h 44"/>
                <a:gd name="T12" fmla="*/ 13 w 44"/>
                <a:gd name="T13" fmla="*/ 22 h 44"/>
                <a:gd name="T14" fmla="*/ 22 w 44"/>
                <a:gd name="T15" fmla="*/ 13 h 44"/>
                <a:gd name="T16" fmla="*/ 32 w 44"/>
                <a:gd name="T17" fmla="*/ 22 h 44"/>
                <a:gd name="T18" fmla="*/ 22 w 44"/>
                <a:gd name="T19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22" y="32"/>
                  </a:moveTo>
                  <a:cubicBezTo>
                    <a:pt x="17" y="32"/>
                    <a:pt x="13" y="28"/>
                    <a:pt x="13" y="22"/>
                  </a:cubicBezTo>
                  <a:cubicBezTo>
                    <a:pt x="13" y="17"/>
                    <a:pt x="17" y="13"/>
                    <a:pt x="22" y="13"/>
                  </a:cubicBezTo>
                  <a:cubicBezTo>
                    <a:pt x="28" y="13"/>
                    <a:pt x="32" y="17"/>
                    <a:pt x="32" y="22"/>
                  </a:cubicBezTo>
                  <a:cubicBezTo>
                    <a:pt x="32" y="28"/>
                    <a:pt x="28" y="32"/>
                    <a:pt x="22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3" name="Freeform 16"/>
            <p:cNvSpPr>
              <a:spLocks noEditPoints="1"/>
            </p:cNvSpPr>
            <p:nvPr/>
          </p:nvSpPr>
          <p:spPr bwMode="auto">
            <a:xfrm>
              <a:off x="3426" y="2119"/>
              <a:ext cx="103" cy="106"/>
            </a:xfrm>
            <a:custGeom>
              <a:avLst/>
              <a:gdLst>
                <a:gd name="T0" fmla="*/ 21 w 43"/>
                <a:gd name="T1" fmla="*/ 0 h 44"/>
                <a:gd name="T2" fmla="*/ 0 w 43"/>
                <a:gd name="T3" fmla="*/ 22 h 44"/>
                <a:gd name="T4" fmla="*/ 21 w 43"/>
                <a:gd name="T5" fmla="*/ 44 h 44"/>
                <a:gd name="T6" fmla="*/ 43 w 43"/>
                <a:gd name="T7" fmla="*/ 22 h 44"/>
                <a:gd name="T8" fmla="*/ 21 w 43"/>
                <a:gd name="T9" fmla="*/ 0 h 44"/>
                <a:gd name="T10" fmla="*/ 21 w 43"/>
                <a:gd name="T11" fmla="*/ 32 h 44"/>
                <a:gd name="T12" fmla="*/ 12 w 43"/>
                <a:gd name="T13" fmla="*/ 22 h 44"/>
                <a:gd name="T14" fmla="*/ 21 w 43"/>
                <a:gd name="T15" fmla="*/ 13 h 44"/>
                <a:gd name="T16" fmla="*/ 31 w 43"/>
                <a:gd name="T17" fmla="*/ 22 h 44"/>
                <a:gd name="T18" fmla="*/ 21 w 43"/>
                <a:gd name="T19" fmla="*/ 3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21" y="0"/>
                  </a:moveTo>
                  <a:cubicBezTo>
                    <a:pt x="9" y="0"/>
                    <a:pt x="0" y="10"/>
                    <a:pt x="0" y="22"/>
                  </a:cubicBezTo>
                  <a:cubicBezTo>
                    <a:pt x="0" y="34"/>
                    <a:pt x="9" y="44"/>
                    <a:pt x="21" y="44"/>
                  </a:cubicBezTo>
                  <a:cubicBezTo>
                    <a:pt x="34" y="44"/>
                    <a:pt x="43" y="34"/>
                    <a:pt x="43" y="22"/>
                  </a:cubicBezTo>
                  <a:cubicBezTo>
                    <a:pt x="43" y="10"/>
                    <a:pt x="34" y="0"/>
                    <a:pt x="21" y="0"/>
                  </a:cubicBezTo>
                  <a:close/>
                  <a:moveTo>
                    <a:pt x="21" y="32"/>
                  </a:moveTo>
                  <a:cubicBezTo>
                    <a:pt x="16" y="32"/>
                    <a:pt x="12" y="28"/>
                    <a:pt x="12" y="22"/>
                  </a:cubicBezTo>
                  <a:cubicBezTo>
                    <a:pt x="12" y="17"/>
                    <a:pt x="16" y="13"/>
                    <a:pt x="21" y="13"/>
                  </a:cubicBezTo>
                  <a:cubicBezTo>
                    <a:pt x="27" y="13"/>
                    <a:pt x="31" y="17"/>
                    <a:pt x="31" y="22"/>
                  </a:cubicBezTo>
                  <a:cubicBezTo>
                    <a:pt x="31" y="28"/>
                    <a:pt x="27" y="32"/>
                    <a:pt x="2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4" name="Freeform 17"/>
            <p:cNvSpPr>
              <a:spLocks noEditPoints="1"/>
            </p:cNvSpPr>
            <p:nvPr/>
          </p:nvSpPr>
          <p:spPr bwMode="auto">
            <a:xfrm>
              <a:off x="3536" y="1898"/>
              <a:ext cx="491" cy="284"/>
            </a:xfrm>
            <a:custGeom>
              <a:avLst/>
              <a:gdLst>
                <a:gd name="T0" fmla="*/ 196 w 206"/>
                <a:gd name="T1" fmla="*/ 97 h 118"/>
                <a:gd name="T2" fmla="*/ 192 w 206"/>
                <a:gd name="T3" fmla="*/ 97 h 118"/>
                <a:gd name="T4" fmla="*/ 191 w 206"/>
                <a:gd name="T5" fmla="*/ 50 h 118"/>
                <a:gd name="T6" fmla="*/ 177 w 206"/>
                <a:gd name="T7" fmla="*/ 22 h 118"/>
                <a:gd name="T8" fmla="*/ 151 w 206"/>
                <a:gd name="T9" fmla="*/ 0 h 118"/>
                <a:gd name="T10" fmla="*/ 139 w 206"/>
                <a:gd name="T11" fmla="*/ 0 h 118"/>
                <a:gd name="T12" fmla="*/ 127 w 206"/>
                <a:gd name="T13" fmla="*/ 0 h 118"/>
                <a:gd name="T14" fmla="*/ 104 w 206"/>
                <a:gd name="T15" fmla="*/ 0 h 118"/>
                <a:gd name="T16" fmla="*/ 104 w 206"/>
                <a:gd name="T17" fmla="*/ 92 h 118"/>
                <a:gd name="T18" fmla="*/ 0 w 206"/>
                <a:gd name="T19" fmla="*/ 92 h 118"/>
                <a:gd name="T20" fmla="*/ 9 w 206"/>
                <a:gd name="T21" fmla="*/ 114 h 118"/>
                <a:gd name="T22" fmla="*/ 8 w 206"/>
                <a:gd name="T23" fmla="*/ 118 h 118"/>
                <a:gd name="T24" fmla="*/ 68 w 206"/>
                <a:gd name="T25" fmla="*/ 118 h 118"/>
                <a:gd name="T26" fmla="*/ 104 w 206"/>
                <a:gd name="T27" fmla="*/ 118 h 118"/>
                <a:gd name="T28" fmla="*/ 108 w 206"/>
                <a:gd name="T29" fmla="*/ 118 h 118"/>
                <a:gd name="T30" fmla="*/ 113 w 206"/>
                <a:gd name="T31" fmla="*/ 118 h 118"/>
                <a:gd name="T32" fmla="*/ 113 w 206"/>
                <a:gd name="T33" fmla="*/ 114 h 118"/>
                <a:gd name="T34" fmla="*/ 146 w 206"/>
                <a:gd name="T35" fmla="*/ 81 h 118"/>
                <a:gd name="T36" fmla="*/ 179 w 206"/>
                <a:gd name="T37" fmla="*/ 114 h 118"/>
                <a:gd name="T38" fmla="*/ 179 w 206"/>
                <a:gd name="T39" fmla="*/ 117 h 118"/>
                <a:gd name="T40" fmla="*/ 196 w 206"/>
                <a:gd name="T41" fmla="*/ 117 h 118"/>
                <a:gd name="T42" fmla="*/ 206 w 206"/>
                <a:gd name="T43" fmla="*/ 107 h 118"/>
                <a:gd name="T44" fmla="*/ 196 w 206"/>
                <a:gd name="T45" fmla="*/ 97 h 118"/>
                <a:gd name="T46" fmla="*/ 120 w 206"/>
                <a:gd name="T47" fmla="*/ 45 h 118"/>
                <a:gd name="T48" fmla="*/ 120 w 206"/>
                <a:gd name="T49" fmla="*/ 12 h 118"/>
                <a:gd name="T50" fmla="*/ 132 w 206"/>
                <a:gd name="T51" fmla="*/ 12 h 118"/>
                <a:gd name="T52" fmla="*/ 141 w 206"/>
                <a:gd name="T53" fmla="*/ 12 h 118"/>
                <a:gd name="T54" fmla="*/ 149 w 206"/>
                <a:gd name="T55" fmla="*/ 12 h 118"/>
                <a:gd name="T56" fmla="*/ 164 w 206"/>
                <a:gd name="T57" fmla="*/ 27 h 118"/>
                <a:gd name="T58" fmla="*/ 172 w 206"/>
                <a:gd name="T59" fmla="*/ 45 h 118"/>
                <a:gd name="T60" fmla="*/ 120 w 206"/>
                <a:gd name="T61" fmla="*/ 4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6" h="118">
                  <a:moveTo>
                    <a:pt x="196" y="97"/>
                  </a:moveTo>
                  <a:cubicBezTo>
                    <a:pt x="192" y="97"/>
                    <a:pt x="192" y="97"/>
                    <a:pt x="192" y="97"/>
                  </a:cubicBezTo>
                  <a:cubicBezTo>
                    <a:pt x="192" y="80"/>
                    <a:pt x="192" y="56"/>
                    <a:pt x="191" y="50"/>
                  </a:cubicBezTo>
                  <a:cubicBezTo>
                    <a:pt x="191" y="43"/>
                    <a:pt x="177" y="22"/>
                    <a:pt x="177" y="22"/>
                  </a:cubicBezTo>
                  <a:cubicBezTo>
                    <a:pt x="166" y="4"/>
                    <a:pt x="163" y="0"/>
                    <a:pt x="151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92"/>
                    <a:pt x="104" y="92"/>
                    <a:pt x="104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5" y="98"/>
                    <a:pt x="9" y="106"/>
                    <a:pt x="9" y="114"/>
                  </a:cubicBezTo>
                  <a:cubicBezTo>
                    <a:pt x="9" y="116"/>
                    <a:pt x="8" y="117"/>
                    <a:pt x="8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104" y="118"/>
                    <a:pt x="104" y="118"/>
                    <a:pt x="104" y="118"/>
                  </a:cubicBezTo>
                  <a:cubicBezTo>
                    <a:pt x="108" y="118"/>
                    <a:pt x="108" y="118"/>
                    <a:pt x="108" y="118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7"/>
                    <a:pt x="113" y="116"/>
                    <a:pt x="113" y="114"/>
                  </a:cubicBezTo>
                  <a:cubicBezTo>
                    <a:pt x="113" y="96"/>
                    <a:pt x="128" y="81"/>
                    <a:pt x="146" y="81"/>
                  </a:cubicBezTo>
                  <a:cubicBezTo>
                    <a:pt x="165" y="81"/>
                    <a:pt x="179" y="96"/>
                    <a:pt x="179" y="114"/>
                  </a:cubicBezTo>
                  <a:cubicBezTo>
                    <a:pt x="179" y="115"/>
                    <a:pt x="179" y="116"/>
                    <a:pt x="179" y="117"/>
                  </a:cubicBezTo>
                  <a:cubicBezTo>
                    <a:pt x="196" y="117"/>
                    <a:pt x="196" y="117"/>
                    <a:pt x="196" y="117"/>
                  </a:cubicBezTo>
                  <a:cubicBezTo>
                    <a:pt x="202" y="117"/>
                    <a:pt x="206" y="112"/>
                    <a:pt x="206" y="107"/>
                  </a:cubicBezTo>
                  <a:cubicBezTo>
                    <a:pt x="206" y="101"/>
                    <a:pt x="202" y="97"/>
                    <a:pt x="196" y="97"/>
                  </a:cubicBezTo>
                  <a:close/>
                  <a:moveTo>
                    <a:pt x="120" y="45"/>
                  </a:moveTo>
                  <a:cubicBezTo>
                    <a:pt x="120" y="12"/>
                    <a:pt x="120" y="12"/>
                    <a:pt x="120" y="12"/>
                  </a:cubicBezTo>
                  <a:cubicBezTo>
                    <a:pt x="132" y="12"/>
                    <a:pt x="132" y="12"/>
                    <a:pt x="132" y="12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9" y="12"/>
                    <a:pt x="149" y="12"/>
                    <a:pt x="149" y="12"/>
                  </a:cubicBezTo>
                  <a:cubicBezTo>
                    <a:pt x="157" y="12"/>
                    <a:pt x="159" y="15"/>
                    <a:pt x="164" y="27"/>
                  </a:cubicBezTo>
                  <a:cubicBezTo>
                    <a:pt x="164" y="27"/>
                    <a:pt x="170" y="38"/>
                    <a:pt x="172" y="45"/>
                  </a:cubicBezTo>
                  <a:lnTo>
                    <a:pt x="12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5" name="Freeform 18"/>
            <p:cNvSpPr>
              <a:spLocks/>
            </p:cNvSpPr>
            <p:nvPr/>
          </p:nvSpPr>
          <p:spPr bwMode="auto">
            <a:xfrm>
              <a:off x="3357" y="2119"/>
              <a:ext cx="62" cy="65"/>
            </a:xfrm>
            <a:custGeom>
              <a:avLst/>
              <a:gdLst>
                <a:gd name="T0" fmla="*/ 0 w 26"/>
                <a:gd name="T1" fmla="*/ 27 h 27"/>
                <a:gd name="T2" fmla="*/ 18 w 26"/>
                <a:gd name="T3" fmla="*/ 27 h 27"/>
                <a:gd name="T4" fmla="*/ 17 w 26"/>
                <a:gd name="T5" fmla="*/ 22 h 27"/>
                <a:gd name="T6" fmla="*/ 26 w 26"/>
                <a:gd name="T7" fmla="*/ 0 h 27"/>
                <a:gd name="T8" fmla="*/ 0 w 26"/>
                <a:gd name="T9" fmla="*/ 0 h 27"/>
                <a:gd name="T10" fmla="*/ 0 w 26"/>
                <a:gd name="T1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7">
                  <a:moveTo>
                    <a:pt x="0" y="27"/>
                  </a:moveTo>
                  <a:cubicBezTo>
                    <a:pt x="18" y="27"/>
                    <a:pt x="18" y="27"/>
                    <a:pt x="18" y="27"/>
                  </a:cubicBezTo>
                  <a:cubicBezTo>
                    <a:pt x="17" y="25"/>
                    <a:pt x="17" y="24"/>
                    <a:pt x="17" y="22"/>
                  </a:cubicBezTo>
                  <a:cubicBezTo>
                    <a:pt x="17" y="14"/>
                    <a:pt x="21" y="6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auto">
            <a:xfrm>
              <a:off x="3202" y="1838"/>
              <a:ext cx="548" cy="252"/>
            </a:xfrm>
            <a:custGeom>
              <a:avLst/>
              <a:gdLst>
                <a:gd name="T0" fmla="*/ 230 w 230"/>
                <a:gd name="T1" fmla="*/ 105 h 105"/>
                <a:gd name="T2" fmla="*/ 229 w 230"/>
                <a:gd name="T3" fmla="*/ 13 h 105"/>
                <a:gd name="T4" fmla="*/ 217 w 230"/>
                <a:gd name="T5" fmla="*/ 0 h 105"/>
                <a:gd name="T6" fmla="*/ 77 w 230"/>
                <a:gd name="T7" fmla="*/ 0 h 105"/>
                <a:gd name="T8" fmla="*/ 65 w 230"/>
                <a:gd name="T9" fmla="*/ 13 h 105"/>
                <a:gd name="T10" fmla="*/ 65 w 230"/>
                <a:gd name="T11" fmla="*/ 16 h 105"/>
                <a:gd name="T12" fmla="*/ 24 w 230"/>
                <a:gd name="T13" fmla="*/ 16 h 105"/>
                <a:gd name="T14" fmla="*/ 15 w 230"/>
                <a:gd name="T15" fmla="*/ 25 h 105"/>
                <a:gd name="T16" fmla="*/ 20 w 230"/>
                <a:gd name="T17" fmla="*/ 33 h 105"/>
                <a:gd name="T18" fmla="*/ 24 w 230"/>
                <a:gd name="T19" fmla="*/ 34 h 105"/>
                <a:gd name="T20" fmla="*/ 65 w 230"/>
                <a:gd name="T21" fmla="*/ 34 h 105"/>
                <a:gd name="T22" fmla="*/ 65 w 230"/>
                <a:gd name="T23" fmla="*/ 46 h 105"/>
                <a:gd name="T24" fmla="*/ 44 w 230"/>
                <a:gd name="T25" fmla="*/ 46 h 105"/>
                <a:gd name="T26" fmla="*/ 35 w 230"/>
                <a:gd name="T27" fmla="*/ 55 h 105"/>
                <a:gd name="T28" fmla="*/ 41 w 230"/>
                <a:gd name="T29" fmla="*/ 63 h 105"/>
                <a:gd name="T30" fmla="*/ 44 w 230"/>
                <a:gd name="T31" fmla="*/ 64 h 105"/>
                <a:gd name="T32" fmla="*/ 65 w 230"/>
                <a:gd name="T33" fmla="*/ 64 h 105"/>
                <a:gd name="T34" fmla="*/ 65 w 230"/>
                <a:gd name="T35" fmla="*/ 76 h 105"/>
                <a:gd name="T36" fmla="*/ 9 w 230"/>
                <a:gd name="T37" fmla="*/ 76 h 105"/>
                <a:gd name="T38" fmla="*/ 0 w 230"/>
                <a:gd name="T39" fmla="*/ 85 h 105"/>
                <a:gd name="T40" fmla="*/ 6 w 230"/>
                <a:gd name="T41" fmla="*/ 93 h 105"/>
                <a:gd name="T42" fmla="*/ 9 w 230"/>
                <a:gd name="T43" fmla="*/ 94 h 105"/>
                <a:gd name="T44" fmla="*/ 65 w 230"/>
                <a:gd name="T45" fmla="*/ 94 h 105"/>
                <a:gd name="T46" fmla="*/ 65 w 230"/>
                <a:gd name="T47" fmla="*/ 105 h 105"/>
                <a:gd name="T48" fmla="*/ 230 w 230"/>
                <a:gd name="T4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0" h="105">
                  <a:moveTo>
                    <a:pt x="230" y="105"/>
                  </a:moveTo>
                  <a:cubicBezTo>
                    <a:pt x="229" y="13"/>
                    <a:pt x="229" y="13"/>
                    <a:pt x="229" y="13"/>
                  </a:cubicBezTo>
                  <a:cubicBezTo>
                    <a:pt x="229" y="6"/>
                    <a:pt x="224" y="0"/>
                    <a:pt x="21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0" y="0"/>
                    <a:pt x="65" y="6"/>
                    <a:pt x="65" y="13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9" y="16"/>
                    <a:pt x="15" y="20"/>
                    <a:pt x="15" y="25"/>
                  </a:cubicBezTo>
                  <a:cubicBezTo>
                    <a:pt x="15" y="29"/>
                    <a:pt x="17" y="32"/>
                    <a:pt x="20" y="33"/>
                  </a:cubicBezTo>
                  <a:cubicBezTo>
                    <a:pt x="21" y="34"/>
                    <a:pt x="22" y="34"/>
                    <a:pt x="24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39" y="46"/>
                    <a:pt x="35" y="50"/>
                    <a:pt x="35" y="55"/>
                  </a:cubicBezTo>
                  <a:cubicBezTo>
                    <a:pt x="35" y="59"/>
                    <a:pt x="38" y="62"/>
                    <a:pt x="41" y="63"/>
                  </a:cubicBezTo>
                  <a:cubicBezTo>
                    <a:pt x="42" y="64"/>
                    <a:pt x="43" y="64"/>
                    <a:pt x="44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5" y="76"/>
                    <a:pt x="65" y="76"/>
                    <a:pt x="65" y="76"/>
                  </a:cubicBezTo>
                  <a:cubicBezTo>
                    <a:pt x="9" y="76"/>
                    <a:pt x="9" y="76"/>
                    <a:pt x="9" y="76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3" y="92"/>
                    <a:pt x="6" y="93"/>
                  </a:cubicBezTo>
                  <a:cubicBezTo>
                    <a:pt x="7" y="94"/>
                    <a:pt x="8" y="94"/>
                    <a:pt x="9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105"/>
                    <a:pt x="65" y="105"/>
                    <a:pt x="65" y="105"/>
                  </a:cubicBezTo>
                  <a:lnTo>
                    <a:pt x="230" y="105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43" name="Date 5"/>
          <p:cNvSpPr txBox="1"/>
          <p:nvPr/>
        </p:nvSpPr>
        <p:spPr>
          <a:xfrm>
            <a:off x="4075420" y="4108413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2004 - 2012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44" name="trait5"/>
          <p:cNvCxnSpPr/>
          <p:nvPr/>
        </p:nvCxnSpPr>
        <p:spPr>
          <a:xfrm>
            <a:off x="4755590" y="4327047"/>
            <a:ext cx="0" cy="257839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arallélogramme 7" hidden="1"/>
          <p:cNvSpPr/>
          <p:nvPr/>
        </p:nvSpPr>
        <p:spPr>
          <a:xfrm>
            <a:off x="3410860" y="2599349"/>
            <a:ext cx="1480082" cy="656434"/>
          </a:xfrm>
          <a:prstGeom prst="parallelogram">
            <a:avLst>
              <a:gd name="adj" fmla="val 67967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254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E7E6E6">
                  <a:lumMod val="25000"/>
                </a:srgbClr>
              </a:solidFill>
              <a:latin typeface="Calibri Light"/>
            </a:endParaRPr>
          </a:p>
        </p:txBody>
      </p:sp>
      <p:grpSp>
        <p:nvGrpSpPr>
          <p:cNvPr id="50" name="Groupe 19"/>
          <p:cNvGrpSpPr/>
          <p:nvPr/>
        </p:nvGrpSpPr>
        <p:grpSpPr>
          <a:xfrm>
            <a:off x="3923386" y="2656415"/>
            <a:ext cx="560218" cy="496680"/>
            <a:chOff x="2312334" y="3934865"/>
            <a:chExt cx="461751" cy="409382"/>
          </a:xfrm>
        </p:grpSpPr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2334382" y="3934865"/>
              <a:ext cx="437839" cy="368436"/>
            </a:xfrm>
            <a:custGeom>
              <a:avLst/>
              <a:gdLst>
                <a:gd name="T0" fmla="*/ 1594 w 1626"/>
                <a:gd name="T1" fmla="*/ 389 h 1367"/>
                <a:gd name="T2" fmla="*/ 840 w 1626"/>
                <a:gd name="T3" fmla="*/ 9 h 1367"/>
                <a:gd name="T4" fmla="*/ 787 w 1626"/>
                <a:gd name="T5" fmla="*/ 9 h 1367"/>
                <a:gd name="T6" fmla="*/ 33 w 1626"/>
                <a:gd name="T7" fmla="*/ 389 h 1367"/>
                <a:gd name="T8" fmla="*/ 0 w 1626"/>
                <a:gd name="T9" fmla="*/ 441 h 1367"/>
                <a:gd name="T10" fmla="*/ 0 w 1626"/>
                <a:gd name="T11" fmla="*/ 1367 h 1367"/>
                <a:gd name="T12" fmla="*/ 252 w 1626"/>
                <a:gd name="T13" fmla="*/ 1367 h 1367"/>
                <a:gd name="T14" fmla="*/ 252 w 1626"/>
                <a:gd name="T15" fmla="*/ 511 h 1367"/>
                <a:gd name="T16" fmla="*/ 1374 w 1626"/>
                <a:gd name="T17" fmla="*/ 511 h 1367"/>
                <a:gd name="T18" fmla="*/ 1374 w 1626"/>
                <a:gd name="T19" fmla="*/ 1367 h 1367"/>
                <a:gd name="T20" fmla="*/ 1626 w 1626"/>
                <a:gd name="T21" fmla="*/ 1367 h 1367"/>
                <a:gd name="T22" fmla="*/ 1626 w 1626"/>
                <a:gd name="T23" fmla="*/ 441 h 1367"/>
                <a:gd name="T24" fmla="*/ 1594 w 1626"/>
                <a:gd name="T25" fmla="*/ 389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26" h="1367">
                  <a:moveTo>
                    <a:pt x="1594" y="389"/>
                  </a:moveTo>
                  <a:cubicBezTo>
                    <a:pt x="840" y="9"/>
                    <a:pt x="840" y="9"/>
                    <a:pt x="840" y="9"/>
                  </a:cubicBezTo>
                  <a:cubicBezTo>
                    <a:pt x="823" y="0"/>
                    <a:pt x="804" y="0"/>
                    <a:pt x="787" y="9"/>
                  </a:cubicBezTo>
                  <a:cubicBezTo>
                    <a:pt x="33" y="389"/>
                    <a:pt x="33" y="389"/>
                    <a:pt x="33" y="389"/>
                  </a:cubicBezTo>
                  <a:cubicBezTo>
                    <a:pt x="13" y="398"/>
                    <a:pt x="0" y="419"/>
                    <a:pt x="0" y="441"/>
                  </a:cubicBezTo>
                  <a:cubicBezTo>
                    <a:pt x="0" y="1367"/>
                    <a:pt x="0" y="1367"/>
                    <a:pt x="0" y="1367"/>
                  </a:cubicBezTo>
                  <a:cubicBezTo>
                    <a:pt x="252" y="1367"/>
                    <a:pt x="252" y="1367"/>
                    <a:pt x="252" y="1367"/>
                  </a:cubicBezTo>
                  <a:cubicBezTo>
                    <a:pt x="252" y="511"/>
                    <a:pt x="252" y="511"/>
                    <a:pt x="252" y="511"/>
                  </a:cubicBezTo>
                  <a:cubicBezTo>
                    <a:pt x="1374" y="511"/>
                    <a:pt x="1374" y="511"/>
                    <a:pt x="1374" y="511"/>
                  </a:cubicBezTo>
                  <a:cubicBezTo>
                    <a:pt x="1374" y="1367"/>
                    <a:pt x="1374" y="1367"/>
                    <a:pt x="1374" y="1367"/>
                  </a:cubicBezTo>
                  <a:cubicBezTo>
                    <a:pt x="1626" y="1367"/>
                    <a:pt x="1626" y="1367"/>
                    <a:pt x="1626" y="1367"/>
                  </a:cubicBezTo>
                  <a:cubicBezTo>
                    <a:pt x="1626" y="441"/>
                    <a:pt x="1626" y="441"/>
                    <a:pt x="1626" y="441"/>
                  </a:cubicBezTo>
                  <a:cubicBezTo>
                    <a:pt x="1626" y="419"/>
                    <a:pt x="1614" y="398"/>
                    <a:pt x="1594" y="389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2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2" name="texte 2installationce"/>
            <p:cNvSpPr/>
            <p:nvPr/>
          </p:nvSpPr>
          <p:spPr>
            <a:xfrm>
              <a:off x="2312334" y="4095640"/>
              <a:ext cx="461751" cy="248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42900">
                <a:lnSpc>
                  <a:spcPct val="85000"/>
                </a:lnSpc>
              </a:pPr>
              <a:r>
                <a:rPr lang="en-GB" sz="16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  <a:r>
                <a:rPr lang="en-GB" sz="1600" b="1" baseline="30000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st</a:t>
              </a:r>
            </a:p>
          </p:txBody>
        </p:sp>
      </p:grpSp>
      <p:sp>
        <p:nvSpPr>
          <p:cNvPr id="47" name="texte 1 naissance"/>
          <p:cNvSpPr/>
          <p:nvPr/>
        </p:nvSpPr>
        <p:spPr>
          <a:xfrm>
            <a:off x="3732178" y="3075615"/>
            <a:ext cx="951831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клад </a:t>
            </a:r>
          </a:p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ласса </a:t>
            </a:r>
            <a:r>
              <a:rPr lang="en-GB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A</a:t>
            </a:r>
          </a:p>
        </p:txBody>
      </p:sp>
      <p:sp>
        <p:nvSpPr>
          <p:cNvPr id="48" name="texte 1 naissance"/>
          <p:cNvSpPr/>
          <p:nvPr/>
        </p:nvSpPr>
        <p:spPr>
          <a:xfrm>
            <a:off x="3720844" y="3299683"/>
            <a:ext cx="973700" cy="680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Чехов</a:t>
            </a: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идорово</a:t>
            </a: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Екатеринбург</a:t>
            </a: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Новосибирск</a:t>
            </a: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Домодедово</a:t>
            </a:r>
          </a:p>
        </p:txBody>
      </p:sp>
      <p:sp>
        <p:nvSpPr>
          <p:cNvPr id="40" name="Parallélogramme 7" hidden="1"/>
          <p:cNvSpPr/>
          <p:nvPr/>
        </p:nvSpPr>
        <p:spPr>
          <a:xfrm>
            <a:off x="4601219" y="2615704"/>
            <a:ext cx="914951" cy="405792"/>
          </a:xfrm>
          <a:prstGeom prst="parallelogram">
            <a:avLst>
              <a:gd name="adj" fmla="val 67967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254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E7E6E6">
                  <a:lumMod val="25000"/>
                </a:srgbClr>
              </a:solidFill>
              <a:latin typeface="Calibri Light"/>
            </a:endParaRPr>
          </a:p>
        </p:txBody>
      </p:sp>
      <p:sp>
        <p:nvSpPr>
          <p:cNvPr id="41" name="texte 1 naissance"/>
          <p:cNvSpPr/>
          <p:nvPr/>
        </p:nvSpPr>
        <p:spPr>
          <a:xfrm>
            <a:off x="4593479" y="3083822"/>
            <a:ext cx="951831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росс-док</a:t>
            </a:r>
          </a:p>
        </p:txBody>
      </p:sp>
      <p:sp>
        <p:nvSpPr>
          <p:cNvPr id="42" name="texte 1 naissance"/>
          <p:cNvSpPr/>
          <p:nvPr/>
        </p:nvSpPr>
        <p:spPr>
          <a:xfrm>
            <a:off x="4486939" y="3204564"/>
            <a:ext cx="1137926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амара</a:t>
            </a: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Ростов-на-Дону</a:t>
            </a:r>
          </a:p>
        </p:txBody>
      </p:sp>
      <p:sp>
        <p:nvSpPr>
          <p:cNvPr id="53" name="Date 2"/>
          <p:cNvSpPr txBox="1"/>
          <p:nvPr/>
        </p:nvSpPr>
        <p:spPr>
          <a:xfrm>
            <a:off x="6465410" y="4098008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2013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54" name="trait2"/>
          <p:cNvCxnSpPr/>
          <p:nvPr/>
        </p:nvCxnSpPr>
        <p:spPr>
          <a:xfrm>
            <a:off x="7139645" y="4327047"/>
            <a:ext cx="0" cy="257839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e 1 naissance"/>
          <p:cNvSpPr/>
          <p:nvPr/>
        </p:nvSpPr>
        <p:spPr>
          <a:xfrm>
            <a:off x="7594141" y="3078081"/>
            <a:ext cx="1314131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росс-док</a:t>
            </a:r>
          </a:p>
        </p:txBody>
      </p:sp>
      <p:sp>
        <p:nvSpPr>
          <p:cNvPr id="57" name="texte 1 naissance"/>
          <p:cNvSpPr/>
          <p:nvPr/>
        </p:nvSpPr>
        <p:spPr>
          <a:xfrm>
            <a:off x="5520558" y="3089843"/>
            <a:ext cx="1165278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ертификация</a:t>
            </a:r>
          </a:p>
        </p:txBody>
      </p:sp>
      <p:sp>
        <p:nvSpPr>
          <p:cNvPr id="58" name="texte 1 naissance"/>
          <p:cNvSpPr/>
          <p:nvPr/>
        </p:nvSpPr>
        <p:spPr>
          <a:xfrm>
            <a:off x="5603393" y="3219577"/>
            <a:ext cx="973700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en-GB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ISO 9001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5889869" y="2571304"/>
            <a:ext cx="417200" cy="536514"/>
            <a:chOff x="5889869" y="2571304"/>
            <a:chExt cx="417200" cy="536514"/>
          </a:xfrm>
        </p:grpSpPr>
        <p:sp>
          <p:nvSpPr>
            <p:cNvPr id="6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889869" y="2571304"/>
              <a:ext cx="417200" cy="536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8" name="Freeform 5"/>
            <p:cNvSpPr>
              <a:spLocks/>
            </p:cNvSpPr>
            <p:nvPr/>
          </p:nvSpPr>
          <p:spPr bwMode="auto">
            <a:xfrm>
              <a:off x="5889869" y="2571304"/>
              <a:ext cx="417200" cy="536514"/>
            </a:xfrm>
            <a:custGeom>
              <a:avLst/>
              <a:gdLst>
                <a:gd name="T0" fmla="*/ 0 w 2098"/>
                <a:gd name="T1" fmla="*/ 2698 h 2698"/>
                <a:gd name="T2" fmla="*/ 1800 w 2098"/>
                <a:gd name="T3" fmla="*/ 2698 h 2698"/>
                <a:gd name="T4" fmla="*/ 1800 w 2098"/>
                <a:gd name="T5" fmla="*/ 2664 h 2698"/>
                <a:gd name="T6" fmla="*/ 1800 w 2098"/>
                <a:gd name="T7" fmla="*/ 2078 h 2698"/>
                <a:gd name="T8" fmla="*/ 1806 w 2098"/>
                <a:gd name="T9" fmla="*/ 2052 h 2698"/>
                <a:gd name="T10" fmla="*/ 1826 w 2098"/>
                <a:gd name="T11" fmla="*/ 2036 h 2698"/>
                <a:gd name="T12" fmla="*/ 1858 w 2098"/>
                <a:gd name="T13" fmla="*/ 2016 h 2698"/>
                <a:gd name="T14" fmla="*/ 1918 w 2098"/>
                <a:gd name="T15" fmla="*/ 1972 h 2698"/>
                <a:gd name="T16" fmla="*/ 1968 w 2098"/>
                <a:gd name="T17" fmla="*/ 1924 h 2698"/>
                <a:gd name="T18" fmla="*/ 2012 w 2098"/>
                <a:gd name="T19" fmla="*/ 1870 h 2698"/>
                <a:gd name="T20" fmla="*/ 2046 w 2098"/>
                <a:gd name="T21" fmla="*/ 1812 h 2698"/>
                <a:gd name="T22" fmla="*/ 2072 w 2098"/>
                <a:gd name="T23" fmla="*/ 1750 h 2698"/>
                <a:gd name="T24" fmla="*/ 2090 w 2098"/>
                <a:gd name="T25" fmla="*/ 1682 h 2698"/>
                <a:gd name="T26" fmla="*/ 2098 w 2098"/>
                <a:gd name="T27" fmla="*/ 1610 h 2698"/>
                <a:gd name="T28" fmla="*/ 2098 w 2098"/>
                <a:gd name="T29" fmla="*/ 1572 h 2698"/>
                <a:gd name="T30" fmla="*/ 2094 w 2098"/>
                <a:gd name="T31" fmla="*/ 1498 h 2698"/>
                <a:gd name="T32" fmla="*/ 2080 w 2098"/>
                <a:gd name="T33" fmla="*/ 1428 h 2698"/>
                <a:gd name="T34" fmla="*/ 2058 w 2098"/>
                <a:gd name="T35" fmla="*/ 1362 h 2698"/>
                <a:gd name="T36" fmla="*/ 2026 w 2098"/>
                <a:gd name="T37" fmla="*/ 1302 h 2698"/>
                <a:gd name="T38" fmla="*/ 1986 w 2098"/>
                <a:gd name="T39" fmla="*/ 1248 h 2698"/>
                <a:gd name="T40" fmla="*/ 1940 w 2098"/>
                <a:gd name="T41" fmla="*/ 1196 h 2698"/>
                <a:gd name="T42" fmla="*/ 1884 w 2098"/>
                <a:gd name="T43" fmla="*/ 1152 h 2698"/>
                <a:gd name="T44" fmla="*/ 1820 w 2098"/>
                <a:gd name="T45" fmla="*/ 1112 h 2698"/>
                <a:gd name="T46" fmla="*/ 1810 w 2098"/>
                <a:gd name="T47" fmla="*/ 1104 h 2698"/>
                <a:gd name="T48" fmla="*/ 1800 w 2098"/>
                <a:gd name="T49" fmla="*/ 1086 h 2698"/>
                <a:gd name="T50" fmla="*/ 1800 w 2098"/>
                <a:gd name="T51" fmla="*/ 1074 h 2698"/>
                <a:gd name="T52" fmla="*/ 1800 w 2098"/>
                <a:gd name="T53" fmla="*/ 336 h 2698"/>
                <a:gd name="T54" fmla="*/ 1800 w 2098"/>
                <a:gd name="T55" fmla="*/ 298 h 2698"/>
                <a:gd name="T56" fmla="*/ 1276 w 2098"/>
                <a:gd name="T57" fmla="*/ 298 h 2698"/>
                <a:gd name="T58" fmla="*/ 1274 w 2098"/>
                <a:gd name="T59" fmla="*/ 222 h 2698"/>
                <a:gd name="T60" fmla="*/ 1034 w 2098"/>
                <a:gd name="T61" fmla="*/ 222 h 2698"/>
                <a:gd name="T62" fmla="*/ 1046 w 2098"/>
                <a:gd name="T63" fmla="*/ 164 h 2698"/>
                <a:gd name="T64" fmla="*/ 1044 w 2098"/>
                <a:gd name="T65" fmla="*/ 112 h 2698"/>
                <a:gd name="T66" fmla="*/ 1028 w 2098"/>
                <a:gd name="T67" fmla="*/ 70 h 2698"/>
                <a:gd name="T68" fmla="*/ 996 w 2098"/>
                <a:gd name="T69" fmla="*/ 34 h 2698"/>
                <a:gd name="T70" fmla="*/ 976 w 2098"/>
                <a:gd name="T71" fmla="*/ 20 h 2698"/>
                <a:gd name="T72" fmla="*/ 934 w 2098"/>
                <a:gd name="T73" fmla="*/ 4 h 2698"/>
                <a:gd name="T74" fmla="*/ 888 w 2098"/>
                <a:gd name="T75" fmla="*/ 0 h 2698"/>
                <a:gd name="T76" fmla="*/ 844 w 2098"/>
                <a:gd name="T77" fmla="*/ 10 h 2698"/>
                <a:gd name="T78" fmla="*/ 824 w 2098"/>
                <a:gd name="T79" fmla="*/ 20 h 2698"/>
                <a:gd name="T80" fmla="*/ 798 w 2098"/>
                <a:gd name="T81" fmla="*/ 40 h 2698"/>
                <a:gd name="T82" fmla="*/ 778 w 2098"/>
                <a:gd name="T83" fmla="*/ 62 h 2698"/>
                <a:gd name="T84" fmla="*/ 764 w 2098"/>
                <a:gd name="T85" fmla="*/ 84 h 2698"/>
                <a:gd name="T86" fmla="*/ 754 w 2098"/>
                <a:gd name="T87" fmla="*/ 110 h 2698"/>
                <a:gd name="T88" fmla="*/ 750 w 2098"/>
                <a:gd name="T89" fmla="*/ 136 h 2698"/>
                <a:gd name="T90" fmla="*/ 752 w 2098"/>
                <a:gd name="T91" fmla="*/ 164 h 2698"/>
                <a:gd name="T92" fmla="*/ 768 w 2098"/>
                <a:gd name="T93" fmla="*/ 226 h 2698"/>
                <a:gd name="T94" fmla="*/ 524 w 2098"/>
                <a:gd name="T95" fmla="*/ 226 h 2698"/>
                <a:gd name="T96" fmla="*/ 524 w 2098"/>
                <a:gd name="T97" fmla="*/ 300 h 2698"/>
                <a:gd name="T98" fmla="*/ 0 w 2098"/>
                <a:gd name="T99" fmla="*/ 300 h 2698"/>
                <a:gd name="T100" fmla="*/ 0 w 2098"/>
                <a:gd name="T101" fmla="*/ 2698 h 2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98" h="2698">
                  <a:moveTo>
                    <a:pt x="0" y="2698"/>
                  </a:moveTo>
                  <a:lnTo>
                    <a:pt x="0" y="2698"/>
                  </a:lnTo>
                  <a:lnTo>
                    <a:pt x="1800" y="2698"/>
                  </a:lnTo>
                  <a:lnTo>
                    <a:pt x="1800" y="2698"/>
                  </a:lnTo>
                  <a:lnTo>
                    <a:pt x="1800" y="2664"/>
                  </a:lnTo>
                  <a:lnTo>
                    <a:pt x="1800" y="2664"/>
                  </a:lnTo>
                  <a:lnTo>
                    <a:pt x="1800" y="2078"/>
                  </a:lnTo>
                  <a:lnTo>
                    <a:pt x="1800" y="2078"/>
                  </a:lnTo>
                  <a:lnTo>
                    <a:pt x="1800" y="2064"/>
                  </a:lnTo>
                  <a:lnTo>
                    <a:pt x="1806" y="2052"/>
                  </a:lnTo>
                  <a:lnTo>
                    <a:pt x="1814" y="2044"/>
                  </a:lnTo>
                  <a:lnTo>
                    <a:pt x="1826" y="2036"/>
                  </a:lnTo>
                  <a:lnTo>
                    <a:pt x="1826" y="2036"/>
                  </a:lnTo>
                  <a:lnTo>
                    <a:pt x="1858" y="2016"/>
                  </a:lnTo>
                  <a:lnTo>
                    <a:pt x="1888" y="1994"/>
                  </a:lnTo>
                  <a:lnTo>
                    <a:pt x="1918" y="1972"/>
                  </a:lnTo>
                  <a:lnTo>
                    <a:pt x="1944" y="1948"/>
                  </a:lnTo>
                  <a:lnTo>
                    <a:pt x="1968" y="1924"/>
                  </a:lnTo>
                  <a:lnTo>
                    <a:pt x="1990" y="1898"/>
                  </a:lnTo>
                  <a:lnTo>
                    <a:pt x="2012" y="1870"/>
                  </a:lnTo>
                  <a:lnTo>
                    <a:pt x="2030" y="1842"/>
                  </a:lnTo>
                  <a:lnTo>
                    <a:pt x="2046" y="1812"/>
                  </a:lnTo>
                  <a:lnTo>
                    <a:pt x="2060" y="1782"/>
                  </a:lnTo>
                  <a:lnTo>
                    <a:pt x="2072" y="1750"/>
                  </a:lnTo>
                  <a:lnTo>
                    <a:pt x="2082" y="1716"/>
                  </a:lnTo>
                  <a:lnTo>
                    <a:pt x="2090" y="1682"/>
                  </a:lnTo>
                  <a:lnTo>
                    <a:pt x="2094" y="1646"/>
                  </a:lnTo>
                  <a:lnTo>
                    <a:pt x="2098" y="1610"/>
                  </a:lnTo>
                  <a:lnTo>
                    <a:pt x="2098" y="1572"/>
                  </a:lnTo>
                  <a:lnTo>
                    <a:pt x="2098" y="1572"/>
                  </a:lnTo>
                  <a:lnTo>
                    <a:pt x="2098" y="1534"/>
                  </a:lnTo>
                  <a:lnTo>
                    <a:pt x="2094" y="1498"/>
                  </a:lnTo>
                  <a:lnTo>
                    <a:pt x="2088" y="1462"/>
                  </a:lnTo>
                  <a:lnTo>
                    <a:pt x="2080" y="1428"/>
                  </a:lnTo>
                  <a:lnTo>
                    <a:pt x="2070" y="1394"/>
                  </a:lnTo>
                  <a:lnTo>
                    <a:pt x="2058" y="1362"/>
                  </a:lnTo>
                  <a:lnTo>
                    <a:pt x="2042" y="1332"/>
                  </a:lnTo>
                  <a:lnTo>
                    <a:pt x="2026" y="1302"/>
                  </a:lnTo>
                  <a:lnTo>
                    <a:pt x="2008" y="1274"/>
                  </a:lnTo>
                  <a:lnTo>
                    <a:pt x="1986" y="1248"/>
                  </a:lnTo>
                  <a:lnTo>
                    <a:pt x="1964" y="1222"/>
                  </a:lnTo>
                  <a:lnTo>
                    <a:pt x="1940" y="1196"/>
                  </a:lnTo>
                  <a:lnTo>
                    <a:pt x="1912" y="1174"/>
                  </a:lnTo>
                  <a:lnTo>
                    <a:pt x="1884" y="1152"/>
                  </a:lnTo>
                  <a:lnTo>
                    <a:pt x="1852" y="1130"/>
                  </a:lnTo>
                  <a:lnTo>
                    <a:pt x="1820" y="1112"/>
                  </a:lnTo>
                  <a:lnTo>
                    <a:pt x="1820" y="1112"/>
                  </a:lnTo>
                  <a:lnTo>
                    <a:pt x="1810" y="1104"/>
                  </a:lnTo>
                  <a:lnTo>
                    <a:pt x="1804" y="1096"/>
                  </a:lnTo>
                  <a:lnTo>
                    <a:pt x="1800" y="1086"/>
                  </a:lnTo>
                  <a:lnTo>
                    <a:pt x="1800" y="1074"/>
                  </a:lnTo>
                  <a:lnTo>
                    <a:pt x="1800" y="1074"/>
                  </a:lnTo>
                  <a:lnTo>
                    <a:pt x="1800" y="336"/>
                  </a:lnTo>
                  <a:lnTo>
                    <a:pt x="1800" y="336"/>
                  </a:lnTo>
                  <a:lnTo>
                    <a:pt x="1800" y="298"/>
                  </a:lnTo>
                  <a:lnTo>
                    <a:pt x="1800" y="298"/>
                  </a:lnTo>
                  <a:lnTo>
                    <a:pt x="1276" y="298"/>
                  </a:lnTo>
                  <a:lnTo>
                    <a:pt x="1276" y="298"/>
                  </a:lnTo>
                  <a:lnTo>
                    <a:pt x="1274" y="222"/>
                  </a:lnTo>
                  <a:lnTo>
                    <a:pt x="1274" y="222"/>
                  </a:lnTo>
                  <a:lnTo>
                    <a:pt x="1034" y="222"/>
                  </a:lnTo>
                  <a:lnTo>
                    <a:pt x="1034" y="222"/>
                  </a:lnTo>
                  <a:lnTo>
                    <a:pt x="1042" y="192"/>
                  </a:lnTo>
                  <a:lnTo>
                    <a:pt x="1046" y="164"/>
                  </a:lnTo>
                  <a:lnTo>
                    <a:pt x="1048" y="138"/>
                  </a:lnTo>
                  <a:lnTo>
                    <a:pt x="1044" y="112"/>
                  </a:lnTo>
                  <a:lnTo>
                    <a:pt x="1038" y="90"/>
                  </a:lnTo>
                  <a:lnTo>
                    <a:pt x="1028" y="70"/>
                  </a:lnTo>
                  <a:lnTo>
                    <a:pt x="1014" y="52"/>
                  </a:lnTo>
                  <a:lnTo>
                    <a:pt x="996" y="34"/>
                  </a:lnTo>
                  <a:lnTo>
                    <a:pt x="996" y="34"/>
                  </a:lnTo>
                  <a:lnTo>
                    <a:pt x="976" y="20"/>
                  </a:lnTo>
                  <a:lnTo>
                    <a:pt x="956" y="10"/>
                  </a:lnTo>
                  <a:lnTo>
                    <a:pt x="934" y="4"/>
                  </a:lnTo>
                  <a:lnTo>
                    <a:pt x="912" y="0"/>
                  </a:lnTo>
                  <a:lnTo>
                    <a:pt x="888" y="0"/>
                  </a:lnTo>
                  <a:lnTo>
                    <a:pt x="866" y="2"/>
                  </a:lnTo>
                  <a:lnTo>
                    <a:pt x="844" y="10"/>
                  </a:lnTo>
                  <a:lnTo>
                    <a:pt x="824" y="20"/>
                  </a:lnTo>
                  <a:lnTo>
                    <a:pt x="824" y="20"/>
                  </a:lnTo>
                  <a:lnTo>
                    <a:pt x="810" y="30"/>
                  </a:lnTo>
                  <a:lnTo>
                    <a:pt x="798" y="40"/>
                  </a:lnTo>
                  <a:lnTo>
                    <a:pt x="788" y="50"/>
                  </a:lnTo>
                  <a:lnTo>
                    <a:pt x="778" y="62"/>
                  </a:lnTo>
                  <a:lnTo>
                    <a:pt x="770" y="72"/>
                  </a:lnTo>
                  <a:lnTo>
                    <a:pt x="764" y="84"/>
                  </a:lnTo>
                  <a:lnTo>
                    <a:pt x="758" y="96"/>
                  </a:lnTo>
                  <a:lnTo>
                    <a:pt x="754" y="110"/>
                  </a:lnTo>
                  <a:lnTo>
                    <a:pt x="752" y="122"/>
                  </a:lnTo>
                  <a:lnTo>
                    <a:pt x="750" y="136"/>
                  </a:lnTo>
                  <a:lnTo>
                    <a:pt x="750" y="150"/>
                  </a:lnTo>
                  <a:lnTo>
                    <a:pt x="752" y="164"/>
                  </a:lnTo>
                  <a:lnTo>
                    <a:pt x="758" y="194"/>
                  </a:lnTo>
                  <a:lnTo>
                    <a:pt x="768" y="226"/>
                  </a:lnTo>
                  <a:lnTo>
                    <a:pt x="768" y="226"/>
                  </a:lnTo>
                  <a:lnTo>
                    <a:pt x="524" y="226"/>
                  </a:lnTo>
                  <a:lnTo>
                    <a:pt x="524" y="226"/>
                  </a:lnTo>
                  <a:lnTo>
                    <a:pt x="524" y="300"/>
                  </a:lnTo>
                  <a:lnTo>
                    <a:pt x="524" y="300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2698"/>
                  </a:lnTo>
                  <a:lnTo>
                    <a:pt x="0" y="26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9" name="Freeform 6"/>
            <p:cNvSpPr>
              <a:spLocks noEditPoints="1"/>
            </p:cNvSpPr>
            <p:nvPr/>
          </p:nvSpPr>
          <p:spPr bwMode="auto">
            <a:xfrm>
              <a:off x="5889869" y="2571304"/>
              <a:ext cx="417200" cy="536514"/>
            </a:xfrm>
            <a:custGeom>
              <a:avLst/>
              <a:gdLst>
                <a:gd name="T0" fmla="*/ 524 w 2098"/>
                <a:gd name="T1" fmla="*/ 300 h 2698"/>
                <a:gd name="T2" fmla="*/ 768 w 2098"/>
                <a:gd name="T3" fmla="*/ 226 h 2698"/>
                <a:gd name="T4" fmla="*/ 752 w 2098"/>
                <a:gd name="T5" fmla="*/ 122 h 2698"/>
                <a:gd name="T6" fmla="*/ 778 w 2098"/>
                <a:gd name="T7" fmla="*/ 62 h 2698"/>
                <a:gd name="T8" fmla="*/ 824 w 2098"/>
                <a:gd name="T9" fmla="*/ 20 h 2698"/>
                <a:gd name="T10" fmla="*/ 934 w 2098"/>
                <a:gd name="T11" fmla="*/ 4 h 2698"/>
                <a:gd name="T12" fmla="*/ 1014 w 2098"/>
                <a:gd name="T13" fmla="*/ 52 h 2698"/>
                <a:gd name="T14" fmla="*/ 1046 w 2098"/>
                <a:gd name="T15" fmla="*/ 164 h 2698"/>
                <a:gd name="T16" fmla="*/ 1274 w 2098"/>
                <a:gd name="T17" fmla="*/ 222 h 2698"/>
                <a:gd name="T18" fmla="*/ 1800 w 2098"/>
                <a:gd name="T19" fmla="*/ 336 h 2698"/>
                <a:gd name="T20" fmla="*/ 1804 w 2098"/>
                <a:gd name="T21" fmla="*/ 1096 h 2698"/>
                <a:gd name="T22" fmla="*/ 1884 w 2098"/>
                <a:gd name="T23" fmla="*/ 1152 h 2698"/>
                <a:gd name="T24" fmla="*/ 2008 w 2098"/>
                <a:gd name="T25" fmla="*/ 1274 h 2698"/>
                <a:gd name="T26" fmla="*/ 2080 w 2098"/>
                <a:gd name="T27" fmla="*/ 1428 h 2698"/>
                <a:gd name="T28" fmla="*/ 2098 w 2098"/>
                <a:gd name="T29" fmla="*/ 1572 h 2698"/>
                <a:gd name="T30" fmla="*/ 2072 w 2098"/>
                <a:gd name="T31" fmla="*/ 1750 h 2698"/>
                <a:gd name="T32" fmla="*/ 1990 w 2098"/>
                <a:gd name="T33" fmla="*/ 1898 h 2698"/>
                <a:gd name="T34" fmla="*/ 1858 w 2098"/>
                <a:gd name="T35" fmla="*/ 2016 h 2698"/>
                <a:gd name="T36" fmla="*/ 1800 w 2098"/>
                <a:gd name="T37" fmla="*/ 2064 h 2698"/>
                <a:gd name="T38" fmla="*/ 1800 w 2098"/>
                <a:gd name="T39" fmla="*/ 2698 h 2698"/>
                <a:gd name="T40" fmla="*/ 1276 w 2098"/>
                <a:gd name="T41" fmla="*/ 598 h 2698"/>
                <a:gd name="T42" fmla="*/ 152 w 2098"/>
                <a:gd name="T43" fmla="*/ 452 h 2698"/>
                <a:gd name="T44" fmla="*/ 1648 w 2098"/>
                <a:gd name="T45" fmla="*/ 2548 h 2698"/>
                <a:gd name="T46" fmla="*/ 1602 w 2098"/>
                <a:gd name="T47" fmla="*/ 2098 h 2698"/>
                <a:gd name="T48" fmla="*/ 1432 w 2098"/>
                <a:gd name="T49" fmla="*/ 2082 h 2698"/>
                <a:gd name="T50" fmla="*/ 1284 w 2098"/>
                <a:gd name="T51" fmla="*/ 2012 h 2698"/>
                <a:gd name="T52" fmla="*/ 1158 w 2098"/>
                <a:gd name="T53" fmla="*/ 1894 h 2698"/>
                <a:gd name="T54" fmla="*/ 1118 w 2098"/>
                <a:gd name="T55" fmla="*/ 1876 h 2698"/>
                <a:gd name="T56" fmla="*/ 752 w 2098"/>
                <a:gd name="T57" fmla="*/ 1876 h 2698"/>
                <a:gd name="T58" fmla="*/ 1072 w 2098"/>
                <a:gd name="T59" fmla="*/ 1724 h 2698"/>
                <a:gd name="T60" fmla="*/ 1052 w 2098"/>
                <a:gd name="T61" fmla="*/ 1538 h 2698"/>
                <a:gd name="T62" fmla="*/ 752 w 2098"/>
                <a:gd name="T63" fmla="*/ 1426 h 2698"/>
                <a:gd name="T64" fmla="*/ 786 w 2098"/>
                <a:gd name="T65" fmla="*/ 1274 h 2698"/>
                <a:gd name="T66" fmla="*/ 1152 w 2098"/>
                <a:gd name="T67" fmla="*/ 1262 h 2698"/>
                <a:gd name="T68" fmla="*/ 1254 w 2098"/>
                <a:gd name="T69" fmla="*/ 1158 h 2698"/>
                <a:gd name="T70" fmla="*/ 1448 w 2098"/>
                <a:gd name="T71" fmla="*/ 1066 h 2698"/>
                <a:gd name="T72" fmla="*/ 1648 w 2098"/>
                <a:gd name="T73" fmla="*/ 1046 h 2698"/>
                <a:gd name="T74" fmla="*/ 1276 w 2098"/>
                <a:gd name="T75" fmla="*/ 598 h 2698"/>
                <a:gd name="T76" fmla="*/ 1134 w 2098"/>
                <a:gd name="T77" fmla="*/ 1666 h 2698"/>
                <a:gd name="T78" fmla="*/ 1228 w 2098"/>
                <a:gd name="T79" fmla="*/ 1860 h 2698"/>
                <a:gd name="T80" fmla="*/ 1396 w 2098"/>
                <a:gd name="T81" fmla="*/ 1988 h 2698"/>
                <a:gd name="T82" fmla="*/ 1570 w 2098"/>
                <a:gd name="T83" fmla="*/ 2024 h 2698"/>
                <a:gd name="T84" fmla="*/ 1788 w 2098"/>
                <a:gd name="T85" fmla="*/ 1972 h 2698"/>
                <a:gd name="T86" fmla="*/ 1948 w 2098"/>
                <a:gd name="T87" fmla="*/ 1828 h 2698"/>
                <a:gd name="T88" fmla="*/ 2022 w 2098"/>
                <a:gd name="T89" fmla="*/ 1620 h 2698"/>
                <a:gd name="T90" fmla="*/ 2004 w 2098"/>
                <a:gd name="T91" fmla="*/ 1442 h 2698"/>
                <a:gd name="T92" fmla="*/ 1894 w 2098"/>
                <a:gd name="T93" fmla="*/ 1258 h 2698"/>
                <a:gd name="T94" fmla="*/ 1710 w 2098"/>
                <a:gd name="T95" fmla="*/ 1146 h 2698"/>
                <a:gd name="T96" fmla="*/ 1530 w 2098"/>
                <a:gd name="T97" fmla="*/ 1128 h 2698"/>
                <a:gd name="T98" fmla="*/ 1324 w 2098"/>
                <a:gd name="T99" fmla="*/ 1202 h 2698"/>
                <a:gd name="T100" fmla="*/ 1180 w 2098"/>
                <a:gd name="T101" fmla="*/ 1360 h 2698"/>
                <a:gd name="T102" fmla="*/ 1126 w 2098"/>
                <a:gd name="T103" fmla="*/ 1576 h 2698"/>
                <a:gd name="T104" fmla="*/ 968 w 2098"/>
                <a:gd name="T105" fmla="*/ 122 h 2698"/>
                <a:gd name="T106" fmla="*/ 914 w 2098"/>
                <a:gd name="T107" fmla="*/ 78 h 2698"/>
                <a:gd name="T108" fmla="*/ 858 w 2098"/>
                <a:gd name="T109" fmla="*/ 88 h 2698"/>
                <a:gd name="T110" fmla="*/ 826 w 2098"/>
                <a:gd name="T111" fmla="*/ 150 h 2698"/>
                <a:gd name="T112" fmla="*/ 848 w 2098"/>
                <a:gd name="T113" fmla="*/ 202 h 2698"/>
                <a:gd name="T114" fmla="*/ 900 w 2098"/>
                <a:gd name="T115" fmla="*/ 224 h 2698"/>
                <a:gd name="T116" fmla="*/ 962 w 2098"/>
                <a:gd name="T117" fmla="*/ 192 h 2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98" h="2698">
                  <a:moveTo>
                    <a:pt x="0" y="2698"/>
                  </a:moveTo>
                  <a:lnTo>
                    <a:pt x="0" y="2698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524" y="300"/>
                  </a:lnTo>
                  <a:lnTo>
                    <a:pt x="524" y="300"/>
                  </a:lnTo>
                  <a:lnTo>
                    <a:pt x="524" y="226"/>
                  </a:lnTo>
                  <a:lnTo>
                    <a:pt x="524" y="226"/>
                  </a:lnTo>
                  <a:lnTo>
                    <a:pt x="768" y="226"/>
                  </a:lnTo>
                  <a:lnTo>
                    <a:pt x="768" y="226"/>
                  </a:lnTo>
                  <a:lnTo>
                    <a:pt x="758" y="194"/>
                  </a:lnTo>
                  <a:lnTo>
                    <a:pt x="752" y="164"/>
                  </a:lnTo>
                  <a:lnTo>
                    <a:pt x="750" y="150"/>
                  </a:lnTo>
                  <a:lnTo>
                    <a:pt x="750" y="136"/>
                  </a:lnTo>
                  <a:lnTo>
                    <a:pt x="752" y="122"/>
                  </a:lnTo>
                  <a:lnTo>
                    <a:pt x="754" y="110"/>
                  </a:lnTo>
                  <a:lnTo>
                    <a:pt x="758" y="96"/>
                  </a:lnTo>
                  <a:lnTo>
                    <a:pt x="764" y="84"/>
                  </a:lnTo>
                  <a:lnTo>
                    <a:pt x="770" y="72"/>
                  </a:lnTo>
                  <a:lnTo>
                    <a:pt x="778" y="62"/>
                  </a:lnTo>
                  <a:lnTo>
                    <a:pt x="788" y="50"/>
                  </a:lnTo>
                  <a:lnTo>
                    <a:pt x="798" y="40"/>
                  </a:lnTo>
                  <a:lnTo>
                    <a:pt x="810" y="30"/>
                  </a:lnTo>
                  <a:lnTo>
                    <a:pt x="824" y="20"/>
                  </a:lnTo>
                  <a:lnTo>
                    <a:pt x="824" y="20"/>
                  </a:lnTo>
                  <a:lnTo>
                    <a:pt x="844" y="10"/>
                  </a:lnTo>
                  <a:lnTo>
                    <a:pt x="866" y="2"/>
                  </a:lnTo>
                  <a:lnTo>
                    <a:pt x="888" y="0"/>
                  </a:lnTo>
                  <a:lnTo>
                    <a:pt x="912" y="0"/>
                  </a:lnTo>
                  <a:lnTo>
                    <a:pt x="934" y="4"/>
                  </a:lnTo>
                  <a:lnTo>
                    <a:pt x="956" y="10"/>
                  </a:lnTo>
                  <a:lnTo>
                    <a:pt x="976" y="20"/>
                  </a:lnTo>
                  <a:lnTo>
                    <a:pt x="996" y="34"/>
                  </a:lnTo>
                  <a:lnTo>
                    <a:pt x="996" y="34"/>
                  </a:lnTo>
                  <a:lnTo>
                    <a:pt x="1014" y="52"/>
                  </a:lnTo>
                  <a:lnTo>
                    <a:pt x="1028" y="70"/>
                  </a:lnTo>
                  <a:lnTo>
                    <a:pt x="1038" y="90"/>
                  </a:lnTo>
                  <a:lnTo>
                    <a:pt x="1044" y="112"/>
                  </a:lnTo>
                  <a:lnTo>
                    <a:pt x="1048" y="138"/>
                  </a:lnTo>
                  <a:lnTo>
                    <a:pt x="1046" y="164"/>
                  </a:lnTo>
                  <a:lnTo>
                    <a:pt x="1042" y="192"/>
                  </a:lnTo>
                  <a:lnTo>
                    <a:pt x="1034" y="222"/>
                  </a:lnTo>
                  <a:lnTo>
                    <a:pt x="1034" y="222"/>
                  </a:lnTo>
                  <a:lnTo>
                    <a:pt x="1274" y="222"/>
                  </a:lnTo>
                  <a:lnTo>
                    <a:pt x="1274" y="222"/>
                  </a:lnTo>
                  <a:lnTo>
                    <a:pt x="1276" y="298"/>
                  </a:lnTo>
                  <a:lnTo>
                    <a:pt x="1276" y="298"/>
                  </a:lnTo>
                  <a:lnTo>
                    <a:pt x="1800" y="298"/>
                  </a:lnTo>
                  <a:lnTo>
                    <a:pt x="1800" y="298"/>
                  </a:lnTo>
                  <a:lnTo>
                    <a:pt x="1800" y="336"/>
                  </a:lnTo>
                  <a:lnTo>
                    <a:pt x="1800" y="336"/>
                  </a:lnTo>
                  <a:lnTo>
                    <a:pt x="1800" y="1074"/>
                  </a:lnTo>
                  <a:lnTo>
                    <a:pt x="1800" y="1074"/>
                  </a:lnTo>
                  <a:lnTo>
                    <a:pt x="1800" y="1086"/>
                  </a:lnTo>
                  <a:lnTo>
                    <a:pt x="1804" y="1096"/>
                  </a:lnTo>
                  <a:lnTo>
                    <a:pt x="1810" y="1104"/>
                  </a:lnTo>
                  <a:lnTo>
                    <a:pt x="1820" y="1112"/>
                  </a:lnTo>
                  <a:lnTo>
                    <a:pt x="1820" y="1112"/>
                  </a:lnTo>
                  <a:lnTo>
                    <a:pt x="1852" y="1130"/>
                  </a:lnTo>
                  <a:lnTo>
                    <a:pt x="1884" y="1152"/>
                  </a:lnTo>
                  <a:lnTo>
                    <a:pt x="1912" y="1174"/>
                  </a:lnTo>
                  <a:lnTo>
                    <a:pt x="1940" y="1196"/>
                  </a:lnTo>
                  <a:lnTo>
                    <a:pt x="1964" y="1222"/>
                  </a:lnTo>
                  <a:lnTo>
                    <a:pt x="1986" y="1248"/>
                  </a:lnTo>
                  <a:lnTo>
                    <a:pt x="2008" y="1274"/>
                  </a:lnTo>
                  <a:lnTo>
                    <a:pt x="2026" y="1302"/>
                  </a:lnTo>
                  <a:lnTo>
                    <a:pt x="2042" y="1332"/>
                  </a:lnTo>
                  <a:lnTo>
                    <a:pt x="2058" y="1362"/>
                  </a:lnTo>
                  <a:lnTo>
                    <a:pt x="2070" y="1394"/>
                  </a:lnTo>
                  <a:lnTo>
                    <a:pt x="2080" y="1428"/>
                  </a:lnTo>
                  <a:lnTo>
                    <a:pt x="2088" y="1462"/>
                  </a:lnTo>
                  <a:lnTo>
                    <a:pt x="2094" y="1498"/>
                  </a:lnTo>
                  <a:lnTo>
                    <a:pt x="2098" y="1534"/>
                  </a:lnTo>
                  <a:lnTo>
                    <a:pt x="2098" y="1572"/>
                  </a:lnTo>
                  <a:lnTo>
                    <a:pt x="2098" y="1572"/>
                  </a:lnTo>
                  <a:lnTo>
                    <a:pt x="2098" y="1610"/>
                  </a:lnTo>
                  <a:lnTo>
                    <a:pt x="2094" y="1646"/>
                  </a:lnTo>
                  <a:lnTo>
                    <a:pt x="2090" y="1682"/>
                  </a:lnTo>
                  <a:lnTo>
                    <a:pt x="2082" y="1716"/>
                  </a:lnTo>
                  <a:lnTo>
                    <a:pt x="2072" y="1750"/>
                  </a:lnTo>
                  <a:lnTo>
                    <a:pt x="2060" y="1782"/>
                  </a:lnTo>
                  <a:lnTo>
                    <a:pt x="2046" y="1812"/>
                  </a:lnTo>
                  <a:lnTo>
                    <a:pt x="2030" y="1842"/>
                  </a:lnTo>
                  <a:lnTo>
                    <a:pt x="2012" y="1870"/>
                  </a:lnTo>
                  <a:lnTo>
                    <a:pt x="1990" y="1898"/>
                  </a:lnTo>
                  <a:lnTo>
                    <a:pt x="1968" y="1924"/>
                  </a:lnTo>
                  <a:lnTo>
                    <a:pt x="1944" y="1948"/>
                  </a:lnTo>
                  <a:lnTo>
                    <a:pt x="1918" y="1972"/>
                  </a:lnTo>
                  <a:lnTo>
                    <a:pt x="1888" y="1994"/>
                  </a:lnTo>
                  <a:lnTo>
                    <a:pt x="1858" y="2016"/>
                  </a:lnTo>
                  <a:lnTo>
                    <a:pt x="1826" y="2036"/>
                  </a:lnTo>
                  <a:lnTo>
                    <a:pt x="1826" y="2036"/>
                  </a:lnTo>
                  <a:lnTo>
                    <a:pt x="1814" y="2044"/>
                  </a:lnTo>
                  <a:lnTo>
                    <a:pt x="1806" y="2052"/>
                  </a:lnTo>
                  <a:lnTo>
                    <a:pt x="1800" y="2064"/>
                  </a:lnTo>
                  <a:lnTo>
                    <a:pt x="1800" y="2078"/>
                  </a:lnTo>
                  <a:lnTo>
                    <a:pt x="1800" y="2078"/>
                  </a:lnTo>
                  <a:lnTo>
                    <a:pt x="1800" y="2664"/>
                  </a:lnTo>
                  <a:lnTo>
                    <a:pt x="1800" y="2664"/>
                  </a:lnTo>
                  <a:lnTo>
                    <a:pt x="1800" y="2698"/>
                  </a:lnTo>
                  <a:lnTo>
                    <a:pt x="1800" y="2698"/>
                  </a:lnTo>
                  <a:lnTo>
                    <a:pt x="0" y="2698"/>
                  </a:lnTo>
                  <a:lnTo>
                    <a:pt x="0" y="2698"/>
                  </a:lnTo>
                  <a:close/>
                  <a:moveTo>
                    <a:pt x="1276" y="598"/>
                  </a:moveTo>
                  <a:lnTo>
                    <a:pt x="1276" y="598"/>
                  </a:lnTo>
                  <a:lnTo>
                    <a:pt x="524" y="598"/>
                  </a:lnTo>
                  <a:lnTo>
                    <a:pt x="524" y="598"/>
                  </a:lnTo>
                  <a:lnTo>
                    <a:pt x="524" y="452"/>
                  </a:lnTo>
                  <a:lnTo>
                    <a:pt x="524" y="452"/>
                  </a:lnTo>
                  <a:lnTo>
                    <a:pt x="152" y="452"/>
                  </a:lnTo>
                  <a:lnTo>
                    <a:pt x="152" y="452"/>
                  </a:lnTo>
                  <a:lnTo>
                    <a:pt x="152" y="2548"/>
                  </a:lnTo>
                  <a:lnTo>
                    <a:pt x="152" y="2548"/>
                  </a:lnTo>
                  <a:lnTo>
                    <a:pt x="1648" y="2548"/>
                  </a:lnTo>
                  <a:lnTo>
                    <a:pt x="1648" y="2548"/>
                  </a:lnTo>
                  <a:lnTo>
                    <a:pt x="1648" y="2096"/>
                  </a:lnTo>
                  <a:lnTo>
                    <a:pt x="1648" y="2096"/>
                  </a:lnTo>
                  <a:lnTo>
                    <a:pt x="1638" y="2096"/>
                  </a:lnTo>
                  <a:lnTo>
                    <a:pt x="1638" y="2096"/>
                  </a:lnTo>
                  <a:lnTo>
                    <a:pt x="1602" y="2098"/>
                  </a:lnTo>
                  <a:lnTo>
                    <a:pt x="1566" y="2100"/>
                  </a:lnTo>
                  <a:lnTo>
                    <a:pt x="1532" y="2098"/>
                  </a:lnTo>
                  <a:lnTo>
                    <a:pt x="1498" y="2094"/>
                  </a:lnTo>
                  <a:lnTo>
                    <a:pt x="1464" y="2088"/>
                  </a:lnTo>
                  <a:lnTo>
                    <a:pt x="1432" y="2082"/>
                  </a:lnTo>
                  <a:lnTo>
                    <a:pt x="1402" y="2072"/>
                  </a:lnTo>
                  <a:lnTo>
                    <a:pt x="1372" y="2060"/>
                  </a:lnTo>
                  <a:lnTo>
                    <a:pt x="1342" y="2046"/>
                  </a:lnTo>
                  <a:lnTo>
                    <a:pt x="1312" y="2030"/>
                  </a:lnTo>
                  <a:lnTo>
                    <a:pt x="1284" y="2012"/>
                  </a:lnTo>
                  <a:lnTo>
                    <a:pt x="1258" y="1994"/>
                  </a:lnTo>
                  <a:lnTo>
                    <a:pt x="1232" y="1972"/>
                  </a:lnTo>
                  <a:lnTo>
                    <a:pt x="1206" y="1948"/>
                  </a:lnTo>
                  <a:lnTo>
                    <a:pt x="1182" y="1922"/>
                  </a:lnTo>
                  <a:lnTo>
                    <a:pt x="1158" y="1894"/>
                  </a:lnTo>
                  <a:lnTo>
                    <a:pt x="1158" y="1894"/>
                  </a:lnTo>
                  <a:lnTo>
                    <a:pt x="1150" y="1888"/>
                  </a:lnTo>
                  <a:lnTo>
                    <a:pt x="1140" y="1882"/>
                  </a:lnTo>
                  <a:lnTo>
                    <a:pt x="1128" y="1878"/>
                  </a:lnTo>
                  <a:lnTo>
                    <a:pt x="1118" y="1876"/>
                  </a:lnTo>
                  <a:lnTo>
                    <a:pt x="1118" y="1876"/>
                  </a:lnTo>
                  <a:lnTo>
                    <a:pt x="952" y="1876"/>
                  </a:lnTo>
                  <a:lnTo>
                    <a:pt x="788" y="1876"/>
                  </a:lnTo>
                  <a:lnTo>
                    <a:pt x="788" y="1876"/>
                  </a:lnTo>
                  <a:lnTo>
                    <a:pt x="752" y="1876"/>
                  </a:lnTo>
                  <a:lnTo>
                    <a:pt x="752" y="1876"/>
                  </a:lnTo>
                  <a:lnTo>
                    <a:pt x="752" y="1724"/>
                  </a:lnTo>
                  <a:lnTo>
                    <a:pt x="752" y="1724"/>
                  </a:lnTo>
                  <a:lnTo>
                    <a:pt x="1072" y="1724"/>
                  </a:lnTo>
                  <a:lnTo>
                    <a:pt x="1072" y="1724"/>
                  </a:lnTo>
                  <a:lnTo>
                    <a:pt x="1062" y="1686"/>
                  </a:lnTo>
                  <a:lnTo>
                    <a:pt x="1056" y="1648"/>
                  </a:lnTo>
                  <a:lnTo>
                    <a:pt x="1052" y="1612"/>
                  </a:lnTo>
                  <a:lnTo>
                    <a:pt x="1050" y="1574"/>
                  </a:lnTo>
                  <a:lnTo>
                    <a:pt x="1052" y="1538"/>
                  </a:lnTo>
                  <a:lnTo>
                    <a:pt x="1056" y="1500"/>
                  </a:lnTo>
                  <a:lnTo>
                    <a:pt x="1062" y="1464"/>
                  </a:lnTo>
                  <a:lnTo>
                    <a:pt x="1070" y="1426"/>
                  </a:lnTo>
                  <a:lnTo>
                    <a:pt x="1070" y="1426"/>
                  </a:lnTo>
                  <a:lnTo>
                    <a:pt x="752" y="1426"/>
                  </a:lnTo>
                  <a:lnTo>
                    <a:pt x="752" y="1426"/>
                  </a:lnTo>
                  <a:lnTo>
                    <a:pt x="752" y="1274"/>
                  </a:lnTo>
                  <a:lnTo>
                    <a:pt x="752" y="1274"/>
                  </a:lnTo>
                  <a:lnTo>
                    <a:pt x="786" y="1274"/>
                  </a:lnTo>
                  <a:lnTo>
                    <a:pt x="786" y="1274"/>
                  </a:lnTo>
                  <a:lnTo>
                    <a:pt x="1112" y="1276"/>
                  </a:lnTo>
                  <a:lnTo>
                    <a:pt x="1112" y="1276"/>
                  </a:lnTo>
                  <a:lnTo>
                    <a:pt x="1128" y="1274"/>
                  </a:lnTo>
                  <a:lnTo>
                    <a:pt x="1140" y="1270"/>
                  </a:lnTo>
                  <a:lnTo>
                    <a:pt x="1152" y="1262"/>
                  </a:lnTo>
                  <a:lnTo>
                    <a:pt x="1162" y="1252"/>
                  </a:lnTo>
                  <a:lnTo>
                    <a:pt x="1162" y="1252"/>
                  </a:lnTo>
                  <a:lnTo>
                    <a:pt x="1192" y="1218"/>
                  </a:lnTo>
                  <a:lnTo>
                    <a:pt x="1222" y="1186"/>
                  </a:lnTo>
                  <a:lnTo>
                    <a:pt x="1254" y="1158"/>
                  </a:lnTo>
                  <a:lnTo>
                    <a:pt x="1290" y="1132"/>
                  </a:lnTo>
                  <a:lnTo>
                    <a:pt x="1326" y="1112"/>
                  </a:lnTo>
                  <a:lnTo>
                    <a:pt x="1364" y="1092"/>
                  </a:lnTo>
                  <a:lnTo>
                    <a:pt x="1406" y="1078"/>
                  </a:lnTo>
                  <a:lnTo>
                    <a:pt x="1448" y="1066"/>
                  </a:lnTo>
                  <a:lnTo>
                    <a:pt x="1448" y="1066"/>
                  </a:lnTo>
                  <a:lnTo>
                    <a:pt x="1498" y="1058"/>
                  </a:lnTo>
                  <a:lnTo>
                    <a:pt x="1546" y="1054"/>
                  </a:lnTo>
                  <a:lnTo>
                    <a:pt x="1648" y="1046"/>
                  </a:lnTo>
                  <a:lnTo>
                    <a:pt x="1648" y="1046"/>
                  </a:lnTo>
                  <a:lnTo>
                    <a:pt x="1648" y="452"/>
                  </a:lnTo>
                  <a:lnTo>
                    <a:pt x="1648" y="452"/>
                  </a:lnTo>
                  <a:lnTo>
                    <a:pt x="1276" y="452"/>
                  </a:lnTo>
                  <a:lnTo>
                    <a:pt x="1276" y="452"/>
                  </a:lnTo>
                  <a:lnTo>
                    <a:pt x="1276" y="598"/>
                  </a:lnTo>
                  <a:lnTo>
                    <a:pt x="1276" y="598"/>
                  </a:lnTo>
                  <a:close/>
                  <a:moveTo>
                    <a:pt x="1126" y="1576"/>
                  </a:moveTo>
                  <a:lnTo>
                    <a:pt x="1126" y="1576"/>
                  </a:lnTo>
                  <a:lnTo>
                    <a:pt x="1128" y="1622"/>
                  </a:lnTo>
                  <a:lnTo>
                    <a:pt x="1134" y="1666"/>
                  </a:lnTo>
                  <a:lnTo>
                    <a:pt x="1146" y="1708"/>
                  </a:lnTo>
                  <a:lnTo>
                    <a:pt x="1160" y="1750"/>
                  </a:lnTo>
                  <a:lnTo>
                    <a:pt x="1180" y="1788"/>
                  </a:lnTo>
                  <a:lnTo>
                    <a:pt x="1202" y="1826"/>
                  </a:lnTo>
                  <a:lnTo>
                    <a:pt x="1228" y="1860"/>
                  </a:lnTo>
                  <a:lnTo>
                    <a:pt x="1256" y="1892"/>
                  </a:lnTo>
                  <a:lnTo>
                    <a:pt x="1288" y="1922"/>
                  </a:lnTo>
                  <a:lnTo>
                    <a:pt x="1322" y="1946"/>
                  </a:lnTo>
                  <a:lnTo>
                    <a:pt x="1358" y="1970"/>
                  </a:lnTo>
                  <a:lnTo>
                    <a:pt x="1396" y="1988"/>
                  </a:lnTo>
                  <a:lnTo>
                    <a:pt x="1438" y="2004"/>
                  </a:lnTo>
                  <a:lnTo>
                    <a:pt x="1480" y="2016"/>
                  </a:lnTo>
                  <a:lnTo>
                    <a:pt x="1524" y="2022"/>
                  </a:lnTo>
                  <a:lnTo>
                    <a:pt x="1570" y="2024"/>
                  </a:lnTo>
                  <a:lnTo>
                    <a:pt x="1570" y="2024"/>
                  </a:lnTo>
                  <a:lnTo>
                    <a:pt x="1616" y="2022"/>
                  </a:lnTo>
                  <a:lnTo>
                    <a:pt x="1662" y="2016"/>
                  </a:lnTo>
                  <a:lnTo>
                    <a:pt x="1706" y="2004"/>
                  </a:lnTo>
                  <a:lnTo>
                    <a:pt x="1748" y="1990"/>
                  </a:lnTo>
                  <a:lnTo>
                    <a:pt x="1788" y="1972"/>
                  </a:lnTo>
                  <a:lnTo>
                    <a:pt x="1824" y="1948"/>
                  </a:lnTo>
                  <a:lnTo>
                    <a:pt x="1860" y="1924"/>
                  </a:lnTo>
                  <a:lnTo>
                    <a:pt x="1892" y="1894"/>
                  </a:lnTo>
                  <a:lnTo>
                    <a:pt x="1922" y="1862"/>
                  </a:lnTo>
                  <a:lnTo>
                    <a:pt x="1948" y="1828"/>
                  </a:lnTo>
                  <a:lnTo>
                    <a:pt x="1970" y="1790"/>
                  </a:lnTo>
                  <a:lnTo>
                    <a:pt x="1990" y="1750"/>
                  </a:lnTo>
                  <a:lnTo>
                    <a:pt x="2004" y="1710"/>
                  </a:lnTo>
                  <a:lnTo>
                    <a:pt x="2016" y="1666"/>
                  </a:lnTo>
                  <a:lnTo>
                    <a:pt x="2022" y="1620"/>
                  </a:lnTo>
                  <a:lnTo>
                    <a:pt x="2024" y="1574"/>
                  </a:lnTo>
                  <a:lnTo>
                    <a:pt x="2024" y="1574"/>
                  </a:lnTo>
                  <a:lnTo>
                    <a:pt x="2022" y="1528"/>
                  </a:lnTo>
                  <a:lnTo>
                    <a:pt x="2016" y="1484"/>
                  </a:lnTo>
                  <a:lnTo>
                    <a:pt x="2004" y="1442"/>
                  </a:lnTo>
                  <a:lnTo>
                    <a:pt x="1990" y="1400"/>
                  </a:lnTo>
                  <a:lnTo>
                    <a:pt x="1970" y="1360"/>
                  </a:lnTo>
                  <a:lnTo>
                    <a:pt x="1948" y="1324"/>
                  </a:lnTo>
                  <a:lnTo>
                    <a:pt x="1922" y="1290"/>
                  </a:lnTo>
                  <a:lnTo>
                    <a:pt x="1894" y="1258"/>
                  </a:lnTo>
                  <a:lnTo>
                    <a:pt x="1862" y="1228"/>
                  </a:lnTo>
                  <a:lnTo>
                    <a:pt x="1828" y="1202"/>
                  </a:lnTo>
                  <a:lnTo>
                    <a:pt x="1790" y="1180"/>
                  </a:lnTo>
                  <a:lnTo>
                    <a:pt x="1752" y="1162"/>
                  </a:lnTo>
                  <a:lnTo>
                    <a:pt x="1710" y="1146"/>
                  </a:lnTo>
                  <a:lnTo>
                    <a:pt x="1668" y="1134"/>
                  </a:lnTo>
                  <a:lnTo>
                    <a:pt x="1622" y="1128"/>
                  </a:lnTo>
                  <a:lnTo>
                    <a:pt x="1578" y="1126"/>
                  </a:lnTo>
                  <a:lnTo>
                    <a:pt x="1578" y="1126"/>
                  </a:lnTo>
                  <a:lnTo>
                    <a:pt x="1530" y="1128"/>
                  </a:lnTo>
                  <a:lnTo>
                    <a:pt x="1486" y="1134"/>
                  </a:lnTo>
                  <a:lnTo>
                    <a:pt x="1442" y="1146"/>
                  </a:lnTo>
                  <a:lnTo>
                    <a:pt x="1400" y="1160"/>
                  </a:lnTo>
                  <a:lnTo>
                    <a:pt x="1362" y="1180"/>
                  </a:lnTo>
                  <a:lnTo>
                    <a:pt x="1324" y="1202"/>
                  </a:lnTo>
                  <a:lnTo>
                    <a:pt x="1290" y="1228"/>
                  </a:lnTo>
                  <a:lnTo>
                    <a:pt x="1258" y="1256"/>
                  </a:lnTo>
                  <a:lnTo>
                    <a:pt x="1228" y="1288"/>
                  </a:lnTo>
                  <a:lnTo>
                    <a:pt x="1202" y="1322"/>
                  </a:lnTo>
                  <a:lnTo>
                    <a:pt x="1180" y="1360"/>
                  </a:lnTo>
                  <a:lnTo>
                    <a:pt x="1160" y="1400"/>
                  </a:lnTo>
                  <a:lnTo>
                    <a:pt x="1146" y="1440"/>
                  </a:lnTo>
                  <a:lnTo>
                    <a:pt x="1134" y="1484"/>
                  </a:lnTo>
                  <a:lnTo>
                    <a:pt x="1128" y="1530"/>
                  </a:lnTo>
                  <a:lnTo>
                    <a:pt x="1126" y="1576"/>
                  </a:lnTo>
                  <a:lnTo>
                    <a:pt x="1126" y="1576"/>
                  </a:lnTo>
                  <a:close/>
                  <a:moveTo>
                    <a:pt x="974" y="150"/>
                  </a:moveTo>
                  <a:lnTo>
                    <a:pt x="974" y="150"/>
                  </a:lnTo>
                  <a:lnTo>
                    <a:pt x="972" y="136"/>
                  </a:lnTo>
                  <a:lnTo>
                    <a:pt x="968" y="122"/>
                  </a:lnTo>
                  <a:lnTo>
                    <a:pt x="962" y="108"/>
                  </a:lnTo>
                  <a:lnTo>
                    <a:pt x="952" y="98"/>
                  </a:lnTo>
                  <a:lnTo>
                    <a:pt x="942" y="88"/>
                  </a:lnTo>
                  <a:lnTo>
                    <a:pt x="928" y="82"/>
                  </a:lnTo>
                  <a:lnTo>
                    <a:pt x="914" y="78"/>
                  </a:lnTo>
                  <a:lnTo>
                    <a:pt x="900" y="76"/>
                  </a:lnTo>
                  <a:lnTo>
                    <a:pt x="900" y="76"/>
                  </a:lnTo>
                  <a:lnTo>
                    <a:pt x="886" y="78"/>
                  </a:lnTo>
                  <a:lnTo>
                    <a:pt x="872" y="82"/>
                  </a:lnTo>
                  <a:lnTo>
                    <a:pt x="858" y="88"/>
                  </a:lnTo>
                  <a:lnTo>
                    <a:pt x="848" y="98"/>
                  </a:lnTo>
                  <a:lnTo>
                    <a:pt x="838" y="108"/>
                  </a:lnTo>
                  <a:lnTo>
                    <a:pt x="832" y="120"/>
                  </a:lnTo>
                  <a:lnTo>
                    <a:pt x="828" y="134"/>
                  </a:lnTo>
                  <a:lnTo>
                    <a:pt x="826" y="150"/>
                  </a:lnTo>
                  <a:lnTo>
                    <a:pt x="826" y="150"/>
                  </a:lnTo>
                  <a:lnTo>
                    <a:pt x="828" y="164"/>
                  </a:lnTo>
                  <a:lnTo>
                    <a:pt x="832" y="178"/>
                  </a:lnTo>
                  <a:lnTo>
                    <a:pt x="838" y="192"/>
                  </a:lnTo>
                  <a:lnTo>
                    <a:pt x="848" y="202"/>
                  </a:lnTo>
                  <a:lnTo>
                    <a:pt x="858" y="212"/>
                  </a:lnTo>
                  <a:lnTo>
                    <a:pt x="870" y="218"/>
                  </a:lnTo>
                  <a:lnTo>
                    <a:pt x="884" y="222"/>
                  </a:lnTo>
                  <a:lnTo>
                    <a:pt x="900" y="224"/>
                  </a:lnTo>
                  <a:lnTo>
                    <a:pt x="900" y="224"/>
                  </a:lnTo>
                  <a:lnTo>
                    <a:pt x="914" y="222"/>
                  </a:lnTo>
                  <a:lnTo>
                    <a:pt x="928" y="218"/>
                  </a:lnTo>
                  <a:lnTo>
                    <a:pt x="942" y="212"/>
                  </a:lnTo>
                  <a:lnTo>
                    <a:pt x="952" y="202"/>
                  </a:lnTo>
                  <a:lnTo>
                    <a:pt x="962" y="192"/>
                  </a:lnTo>
                  <a:lnTo>
                    <a:pt x="968" y="180"/>
                  </a:lnTo>
                  <a:lnTo>
                    <a:pt x="972" y="166"/>
                  </a:lnTo>
                  <a:lnTo>
                    <a:pt x="974" y="150"/>
                  </a:lnTo>
                  <a:lnTo>
                    <a:pt x="974" y="150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0" name="Freeform 7"/>
            <p:cNvSpPr>
              <a:spLocks noEditPoints="1"/>
            </p:cNvSpPr>
            <p:nvPr/>
          </p:nvSpPr>
          <p:spPr bwMode="auto">
            <a:xfrm>
              <a:off x="5920095" y="2661187"/>
              <a:ext cx="297489" cy="416803"/>
            </a:xfrm>
            <a:custGeom>
              <a:avLst/>
              <a:gdLst>
                <a:gd name="T0" fmla="*/ 1124 w 1496"/>
                <a:gd name="T1" fmla="*/ 0 h 2096"/>
                <a:gd name="T2" fmla="*/ 1496 w 1496"/>
                <a:gd name="T3" fmla="*/ 0 h 2096"/>
                <a:gd name="T4" fmla="*/ 1394 w 1496"/>
                <a:gd name="T5" fmla="*/ 602 h 2096"/>
                <a:gd name="T6" fmla="*/ 1296 w 1496"/>
                <a:gd name="T7" fmla="*/ 614 h 2096"/>
                <a:gd name="T8" fmla="*/ 1174 w 1496"/>
                <a:gd name="T9" fmla="*/ 660 h 2096"/>
                <a:gd name="T10" fmla="*/ 1070 w 1496"/>
                <a:gd name="T11" fmla="*/ 734 h 2096"/>
                <a:gd name="T12" fmla="*/ 1010 w 1496"/>
                <a:gd name="T13" fmla="*/ 800 h 2096"/>
                <a:gd name="T14" fmla="*/ 976 w 1496"/>
                <a:gd name="T15" fmla="*/ 822 h 2096"/>
                <a:gd name="T16" fmla="*/ 634 w 1496"/>
                <a:gd name="T17" fmla="*/ 822 h 2096"/>
                <a:gd name="T18" fmla="*/ 600 w 1496"/>
                <a:gd name="T19" fmla="*/ 822 h 2096"/>
                <a:gd name="T20" fmla="*/ 918 w 1496"/>
                <a:gd name="T21" fmla="*/ 974 h 2096"/>
                <a:gd name="T22" fmla="*/ 904 w 1496"/>
                <a:gd name="T23" fmla="*/ 1048 h 2096"/>
                <a:gd name="T24" fmla="*/ 900 w 1496"/>
                <a:gd name="T25" fmla="*/ 1160 h 2096"/>
                <a:gd name="T26" fmla="*/ 920 w 1496"/>
                <a:gd name="T27" fmla="*/ 1272 h 2096"/>
                <a:gd name="T28" fmla="*/ 600 w 1496"/>
                <a:gd name="T29" fmla="*/ 1272 h 2096"/>
                <a:gd name="T30" fmla="*/ 636 w 1496"/>
                <a:gd name="T31" fmla="*/ 1424 h 2096"/>
                <a:gd name="T32" fmla="*/ 966 w 1496"/>
                <a:gd name="T33" fmla="*/ 1424 h 2096"/>
                <a:gd name="T34" fmla="*/ 988 w 1496"/>
                <a:gd name="T35" fmla="*/ 1430 h 2096"/>
                <a:gd name="T36" fmla="*/ 1006 w 1496"/>
                <a:gd name="T37" fmla="*/ 1442 h 2096"/>
                <a:gd name="T38" fmla="*/ 1080 w 1496"/>
                <a:gd name="T39" fmla="*/ 1520 h 2096"/>
                <a:gd name="T40" fmla="*/ 1160 w 1496"/>
                <a:gd name="T41" fmla="*/ 1578 h 2096"/>
                <a:gd name="T42" fmla="*/ 1250 w 1496"/>
                <a:gd name="T43" fmla="*/ 1620 h 2096"/>
                <a:gd name="T44" fmla="*/ 1346 w 1496"/>
                <a:gd name="T45" fmla="*/ 1642 h 2096"/>
                <a:gd name="T46" fmla="*/ 1450 w 1496"/>
                <a:gd name="T47" fmla="*/ 1646 h 2096"/>
                <a:gd name="T48" fmla="*/ 1496 w 1496"/>
                <a:gd name="T49" fmla="*/ 1644 h 2096"/>
                <a:gd name="T50" fmla="*/ 1496 w 1496"/>
                <a:gd name="T51" fmla="*/ 2096 h 2096"/>
                <a:gd name="T52" fmla="*/ 0 w 1496"/>
                <a:gd name="T53" fmla="*/ 0 h 2096"/>
                <a:gd name="T54" fmla="*/ 372 w 1496"/>
                <a:gd name="T55" fmla="*/ 0 h 2096"/>
                <a:gd name="T56" fmla="*/ 1124 w 1496"/>
                <a:gd name="T57" fmla="*/ 146 h 2096"/>
                <a:gd name="T58" fmla="*/ 1346 w 1496"/>
                <a:gd name="T59" fmla="*/ 376 h 2096"/>
                <a:gd name="T60" fmla="*/ 600 w 1496"/>
                <a:gd name="T61" fmla="*/ 522 h 2096"/>
                <a:gd name="T62" fmla="*/ 1346 w 1496"/>
                <a:gd name="T63" fmla="*/ 522 h 2096"/>
                <a:gd name="T64" fmla="*/ 1346 w 1496"/>
                <a:gd name="T65" fmla="*/ 1724 h 2096"/>
                <a:gd name="T66" fmla="*/ 600 w 1496"/>
                <a:gd name="T67" fmla="*/ 1724 h 2096"/>
                <a:gd name="T68" fmla="*/ 1346 w 1496"/>
                <a:gd name="T69" fmla="*/ 1872 h 2096"/>
                <a:gd name="T70" fmla="*/ 1346 w 1496"/>
                <a:gd name="T71" fmla="*/ 1724 h 2096"/>
                <a:gd name="T72" fmla="*/ 150 w 1496"/>
                <a:gd name="T73" fmla="*/ 750 h 2096"/>
                <a:gd name="T74" fmla="*/ 150 w 1496"/>
                <a:gd name="T75" fmla="*/ 1046 h 2096"/>
                <a:gd name="T76" fmla="*/ 448 w 1496"/>
                <a:gd name="T77" fmla="*/ 750 h 2096"/>
                <a:gd name="T78" fmla="*/ 446 w 1496"/>
                <a:gd name="T79" fmla="*/ 300 h 2096"/>
                <a:gd name="T80" fmla="*/ 150 w 1496"/>
                <a:gd name="T81" fmla="*/ 596 h 2096"/>
                <a:gd name="T82" fmla="*/ 446 w 1496"/>
                <a:gd name="T83" fmla="*/ 596 h 2096"/>
                <a:gd name="T84" fmla="*/ 150 w 1496"/>
                <a:gd name="T85" fmla="*/ 1200 h 2096"/>
                <a:gd name="T86" fmla="*/ 150 w 1496"/>
                <a:gd name="T87" fmla="*/ 1496 h 2096"/>
                <a:gd name="T88" fmla="*/ 446 w 1496"/>
                <a:gd name="T89" fmla="*/ 1200 h 2096"/>
                <a:gd name="T90" fmla="*/ 150 w 1496"/>
                <a:gd name="T91" fmla="*/ 1200 h 2096"/>
                <a:gd name="T92" fmla="*/ 150 w 1496"/>
                <a:gd name="T93" fmla="*/ 1650 h 2096"/>
                <a:gd name="T94" fmla="*/ 150 w 1496"/>
                <a:gd name="T95" fmla="*/ 1946 h 2096"/>
                <a:gd name="T96" fmla="*/ 446 w 1496"/>
                <a:gd name="T97" fmla="*/ 1650 h 2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96" h="2096">
                  <a:moveTo>
                    <a:pt x="1124" y="146"/>
                  </a:moveTo>
                  <a:lnTo>
                    <a:pt x="1124" y="146"/>
                  </a:lnTo>
                  <a:lnTo>
                    <a:pt x="1124" y="0"/>
                  </a:lnTo>
                  <a:lnTo>
                    <a:pt x="1124" y="0"/>
                  </a:lnTo>
                  <a:lnTo>
                    <a:pt x="1496" y="0"/>
                  </a:lnTo>
                  <a:lnTo>
                    <a:pt x="1496" y="0"/>
                  </a:lnTo>
                  <a:lnTo>
                    <a:pt x="1496" y="594"/>
                  </a:lnTo>
                  <a:lnTo>
                    <a:pt x="1496" y="594"/>
                  </a:lnTo>
                  <a:lnTo>
                    <a:pt x="1394" y="602"/>
                  </a:lnTo>
                  <a:lnTo>
                    <a:pt x="1346" y="606"/>
                  </a:lnTo>
                  <a:lnTo>
                    <a:pt x="1296" y="614"/>
                  </a:lnTo>
                  <a:lnTo>
                    <a:pt x="1296" y="614"/>
                  </a:lnTo>
                  <a:lnTo>
                    <a:pt x="1254" y="626"/>
                  </a:lnTo>
                  <a:lnTo>
                    <a:pt x="1212" y="640"/>
                  </a:lnTo>
                  <a:lnTo>
                    <a:pt x="1174" y="660"/>
                  </a:lnTo>
                  <a:lnTo>
                    <a:pt x="1138" y="680"/>
                  </a:lnTo>
                  <a:lnTo>
                    <a:pt x="1102" y="706"/>
                  </a:lnTo>
                  <a:lnTo>
                    <a:pt x="1070" y="734"/>
                  </a:lnTo>
                  <a:lnTo>
                    <a:pt x="1040" y="766"/>
                  </a:lnTo>
                  <a:lnTo>
                    <a:pt x="1010" y="800"/>
                  </a:lnTo>
                  <a:lnTo>
                    <a:pt x="1010" y="800"/>
                  </a:lnTo>
                  <a:lnTo>
                    <a:pt x="1000" y="810"/>
                  </a:lnTo>
                  <a:lnTo>
                    <a:pt x="988" y="818"/>
                  </a:lnTo>
                  <a:lnTo>
                    <a:pt x="976" y="822"/>
                  </a:lnTo>
                  <a:lnTo>
                    <a:pt x="960" y="824"/>
                  </a:lnTo>
                  <a:lnTo>
                    <a:pt x="960" y="824"/>
                  </a:lnTo>
                  <a:lnTo>
                    <a:pt x="634" y="822"/>
                  </a:lnTo>
                  <a:lnTo>
                    <a:pt x="634" y="822"/>
                  </a:lnTo>
                  <a:lnTo>
                    <a:pt x="600" y="822"/>
                  </a:lnTo>
                  <a:lnTo>
                    <a:pt x="600" y="822"/>
                  </a:lnTo>
                  <a:lnTo>
                    <a:pt x="600" y="974"/>
                  </a:lnTo>
                  <a:lnTo>
                    <a:pt x="600" y="974"/>
                  </a:lnTo>
                  <a:lnTo>
                    <a:pt x="918" y="974"/>
                  </a:lnTo>
                  <a:lnTo>
                    <a:pt x="918" y="974"/>
                  </a:lnTo>
                  <a:lnTo>
                    <a:pt x="910" y="1012"/>
                  </a:lnTo>
                  <a:lnTo>
                    <a:pt x="904" y="1048"/>
                  </a:lnTo>
                  <a:lnTo>
                    <a:pt x="900" y="1086"/>
                  </a:lnTo>
                  <a:lnTo>
                    <a:pt x="898" y="1122"/>
                  </a:lnTo>
                  <a:lnTo>
                    <a:pt x="900" y="1160"/>
                  </a:lnTo>
                  <a:lnTo>
                    <a:pt x="904" y="1196"/>
                  </a:lnTo>
                  <a:lnTo>
                    <a:pt x="910" y="1234"/>
                  </a:lnTo>
                  <a:lnTo>
                    <a:pt x="920" y="1272"/>
                  </a:lnTo>
                  <a:lnTo>
                    <a:pt x="920" y="1272"/>
                  </a:lnTo>
                  <a:lnTo>
                    <a:pt x="600" y="1272"/>
                  </a:lnTo>
                  <a:lnTo>
                    <a:pt x="600" y="1272"/>
                  </a:lnTo>
                  <a:lnTo>
                    <a:pt x="600" y="1424"/>
                  </a:lnTo>
                  <a:lnTo>
                    <a:pt x="600" y="1424"/>
                  </a:lnTo>
                  <a:lnTo>
                    <a:pt x="636" y="1424"/>
                  </a:lnTo>
                  <a:lnTo>
                    <a:pt x="636" y="1424"/>
                  </a:lnTo>
                  <a:lnTo>
                    <a:pt x="800" y="1424"/>
                  </a:lnTo>
                  <a:lnTo>
                    <a:pt x="966" y="1424"/>
                  </a:lnTo>
                  <a:lnTo>
                    <a:pt x="966" y="1424"/>
                  </a:lnTo>
                  <a:lnTo>
                    <a:pt x="976" y="1426"/>
                  </a:lnTo>
                  <a:lnTo>
                    <a:pt x="988" y="1430"/>
                  </a:lnTo>
                  <a:lnTo>
                    <a:pt x="998" y="1436"/>
                  </a:lnTo>
                  <a:lnTo>
                    <a:pt x="1006" y="1442"/>
                  </a:lnTo>
                  <a:lnTo>
                    <a:pt x="1006" y="1442"/>
                  </a:lnTo>
                  <a:lnTo>
                    <a:pt x="1030" y="1470"/>
                  </a:lnTo>
                  <a:lnTo>
                    <a:pt x="1054" y="1496"/>
                  </a:lnTo>
                  <a:lnTo>
                    <a:pt x="1080" y="1520"/>
                  </a:lnTo>
                  <a:lnTo>
                    <a:pt x="1106" y="1542"/>
                  </a:lnTo>
                  <a:lnTo>
                    <a:pt x="1132" y="1560"/>
                  </a:lnTo>
                  <a:lnTo>
                    <a:pt x="1160" y="1578"/>
                  </a:lnTo>
                  <a:lnTo>
                    <a:pt x="1190" y="1594"/>
                  </a:lnTo>
                  <a:lnTo>
                    <a:pt x="1220" y="1608"/>
                  </a:lnTo>
                  <a:lnTo>
                    <a:pt x="1250" y="1620"/>
                  </a:lnTo>
                  <a:lnTo>
                    <a:pt x="1280" y="1630"/>
                  </a:lnTo>
                  <a:lnTo>
                    <a:pt x="1312" y="1636"/>
                  </a:lnTo>
                  <a:lnTo>
                    <a:pt x="1346" y="1642"/>
                  </a:lnTo>
                  <a:lnTo>
                    <a:pt x="1380" y="1646"/>
                  </a:lnTo>
                  <a:lnTo>
                    <a:pt x="1414" y="1648"/>
                  </a:lnTo>
                  <a:lnTo>
                    <a:pt x="1450" y="1646"/>
                  </a:lnTo>
                  <a:lnTo>
                    <a:pt x="1486" y="1644"/>
                  </a:lnTo>
                  <a:lnTo>
                    <a:pt x="1486" y="1644"/>
                  </a:lnTo>
                  <a:lnTo>
                    <a:pt x="1496" y="1644"/>
                  </a:lnTo>
                  <a:lnTo>
                    <a:pt x="1496" y="1644"/>
                  </a:lnTo>
                  <a:lnTo>
                    <a:pt x="1496" y="2096"/>
                  </a:lnTo>
                  <a:lnTo>
                    <a:pt x="1496" y="2096"/>
                  </a:lnTo>
                  <a:lnTo>
                    <a:pt x="0" y="2096"/>
                  </a:lnTo>
                  <a:lnTo>
                    <a:pt x="0" y="2096"/>
                  </a:lnTo>
                  <a:lnTo>
                    <a:pt x="0" y="0"/>
                  </a:lnTo>
                  <a:lnTo>
                    <a:pt x="0" y="0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72" y="146"/>
                  </a:lnTo>
                  <a:lnTo>
                    <a:pt x="372" y="146"/>
                  </a:lnTo>
                  <a:lnTo>
                    <a:pt x="1124" y="146"/>
                  </a:lnTo>
                  <a:lnTo>
                    <a:pt x="1124" y="146"/>
                  </a:lnTo>
                  <a:close/>
                  <a:moveTo>
                    <a:pt x="1346" y="376"/>
                  </a:moveTo>
                  <a:lnTo>
                    <a:pt x="1346" y="376"/>
                  </a:lnTo>
                  <a:lnTo>
                    <a:pt x="600" y="376"/>
                  </a:lnTo>
                  <a:lnTo>
                    <a:pt x="600" y="376"/>
                  </a:lnTo>
                  <a:lnTo>
                    <a:pt x="600" y="522"/>
                  </a:lnTo>
                  <a:lnTo>
                    <a:pt x="600" y="522"/>
                  </a:lnTo>
                  <a:lnTo>
                    <a:pt x="1346" y="522"/>
                  </a:lnTo>
                  <a:lnTo>
                    <a:pt x="1346" y="522"/>
                  </a:lnTo>
                  <a:lnTo>
                    <a:pt x="1346" y="376"/>
                  </a:lnTo>
                  <a:lnTo>
                    <a:pt x="1346" y="376"/>
                  </a:lnTo>
                  <a:close/>
                  <a:moveTo>
                    <a:pt x="1346" y="1724"/>
                  </a:moveTo>
                  <a:lnTo>
                    <a:pt x="1346" y="1724"/>
                  </a:lnTo>
                  <a:lnTo>
                    <a:pt x="600" y="1724"/>
                  </a:lnTo>
                  <a:lnTo>
                    <a:pt x="600" y="1724"/>
                  </a:lnTo>
                  <a:lnTo>
                    <a:pt x="600" y="1872"/>
                  </a:lnTo>
                  <a:lnTo>
                    <a:pt x="600" y="1872"/>
                  </a:lnTo>
                  <a:lnTo>
                    <a:pt x="1346" y="1872"/>
                  </a:lnTo>
                  <a:lnTo>
                    <a:pt x="1346" y="1872"/>
                  </a:lnTo>
                  <a:lnTo>
                    <a:pt x="1346" y="1724"/>
                  </a:lnTo>
                  <a:lnTo>
                    <a:pt x="1346" y="1724"/>
                  </a:lnTo>
                  <a:close/>
                  <a:moveTo>
                    <a:pt x="448" y="750"/>
                  </a:moveTo>
                  <a:lnTo>
                    <a:pt x="448" y="750"/>
                  </a:lnTo>
                  <a:lnTo>
                    <a:pt x="150" y="750"/>
                  </a:lnTo>
                  <a:lnTo>
                    <a:pt x="150" y="750"/>
                  </a:lnTo>
                  <a:lnTo>
                    <a:pt x="150" y="1046"/>
                  </a:lnTo>
                  <a:lnTo>
                    <a:pt x="150" y="1046"/>
                  </a:lnTo>
                  <a:lnTo>
                    <a:pt x="448" y="1046"/>
                  </a:lnTo>
                  <a:lnTo>
                    <a:pt x="448" y="1046"/>
                  </a:lnTo>
                  <a:lnTo>
                    <a:pt x="448" y="750"/>
                  </a:lnTo>
                  <a:lnTo>
                    <a:pt x="448" y="750"/>
                  </a:lnTo>
                  <a:close/>
                  <a:moveTo>
                    <a:pt x="446" y="300"/>
                  </a:moveTo>
                  <a:lnTo>
                    <a:pt x="446" y="300"/>
                  </a:lnTo>
                  <a:lnTo>
                    <a:pt x="150" y="300"/>
                  </a:lnTo>
                  <a:lnTo>
                    <a:pt x="150" y="300"/>
                  </a:lnTo>
                  <a:lnTo>
                    <a:pt x="150" y="596"/>
                  </a:lnTo>
                  <a:lnTo>
                    <a:pt x="150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6" y="300"/>
                  </a:lnTo>
                  <a:lnTo>
                    <a:pt x="446" y="300"/>
                  </a:lnTo>
                  <a:close/>
                  <a:moveTo>
                    <a:pt x="150" y="1200"/>
                  </a:moveTo>
                  <a:lnTo>
                    <a:pt x="150" y="1200"/>
                  </a:lnTo>
                  <a:lnTo>
                    <a:pt x="150" y="1496"/>
                  </a:lnTo>
                  <a:lnTo>
                    <a:pt x="150" y="1496"/>
                  </a:lnTo>
                  <a:lnTo>
                    <a:pt x="446" y="1496"/>
                  </a:lnTo>
                  <a:lnTo>
                    <a:pt x="446" y="1496"/>
                  </a:lnTo>
                  <a:lnTo>
                    <a:pt x="446" y="1200"/>
                  </a:lnTo>
                  <a:lnTo>
                    <a:pt x="446" y="1200"/>
                  </a:lnTo>
                  <a:lnTo>
                    <a:pt x="150" y="1200"/>
                  </a:lnTo>
                  <a:lnTo>
                    <a:pt x="150" y="1200"/>
                  </a:lnTo>
                  <a:close/>
                  <a:moveTo>
                    <a:pt x="446" y="1650"/>
                  </a:moveTo>
                  <a:lnTo>
                    <a:pt x="446" y="1650"/>
                  </a:lnTo>
                  <a:lnTo>
                    <a:pt x="150" y="1650"/>
                  </a:lnTo>
                  <a:lnTo>
                    <a:pt x="150" y="1650"/>
                  </a:lnTo>
                  <a:lnTo>
                    <a:pt x="150" y="1946"/>
                  </a:lnTo>
                  <a:lnTo>
                    <a:pt x="150" y="1946"/>
                  </a:lnTo>
                  <a:lnTo>
                    <a:pt x="446" y="1946"/>
                  </a:lnTo>
                  <a:lnTo>
                    <a:pt x="446" y="1946"/>
                  </a:lnTo>
                  <a:lnTo>
                    <a:pt x="446" y="1650"/>
                  </a:lnTo>
                  <a:lnTo>
                    <a:pt x="446" y="16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" name="Freeform 8"/>
            <p:cNvSpPr>
              <a:spLocks noEditPoints="1"/>
            </p:cNvSpPr>
            <p:nvPr/>
          </p:nvSpPr>
          <p:spPr bwMode="auto">
            <a:xfrm>
              <a:off x="6113781" y="2795216"/>
              <a:ext cx="178573" cy="178573"/>
            </a:xfrm>
            <a:custGeom>
              <a:avLst/>
              <a:gdLst>
                <a:gd name="T0" fmla="*/ 2 w 898"/>
                <a:gd name="T1" fmla="*/ 404 h 898"/>
                <a:gd name="T2" fmla="*/ 34 w 898"/>
                <a:gd name="T3" fmla="*/ 274 h 898"/>
                <a:gd name="T4" fmla="*/ 102 w 898"/>
                <a:gd name="T5" fmla="*/ 162 h 898"/>
                <a:gd name="T6" fmla="*/ 198 w 898"/>
                <a:gd name="T7" fmla="*/ 76 h 898"/>
                <a:gd name="T8" fmla="*/ 316 w 898"/>
                <a:gd name="T9" fmla="*/ 20 h 898"/>
                <a:gd name="T10" fmla="*/ 452 w 898"/>
                <a:gd name="T11" fmla="*/ 0 h 898"/>
                <a:gd name="T12" fmla="*/ 542 w 898"/>
                <a:gd name="T13" fmla="*/ 8 h 898"/>
                <a:gd name="T14" fmla="*/ 664 w 898"/>
                <a:gd name="T15" fmla="*/ 54 h 898"/>
                <a:gd name="T16" fmla="*/ 768 w 898"/>
                <a:gd name="T17" fmla="*/ 132 h 898"/>
                <a:gd name="T18" fmla="*/ 844 w 898"/>
                <a:gd name="T19" fmla="*/ 234 h 898"/>
                <a:gd name="T20" fmla="*/ 890 w 898"/>
                <a:gd name="T21" fmla="*/ 358 h 898"/>
                <a:gd name="T22" fmla="*/ 898 w 898"/>
                <a:gd name="T23" fmla="*/ 448 h 898"/>
                <a:gd name="T24" fmla="*/ 878 w 898"/>
                <a:gd name="T25" fmla="*/ 584 h 898"/>
                <a:gd name="T26" fmla="*/ 822 w 898"/>
                <a:gd name="T27" fmla="*/ 702 h 898"/>
                <a:gd name="T28" fmla="*/ 734 w 898"/>
                <a:gd name="T29" fmla="*/ 798 h 898"/>
                <a:gd name="T30" fmla="*/ 622 w 898"/>
                <a:gd name="T31" fmla="*/ 864 h 898"/>
                <a:gd name="T32" fmla="*/ 490 w 898"/>
                <a:gd name="T33" fmla="*/ 896 h 898"/>
                <a:gd name="T34" fmla="*/ 398 w 898"/>
                <a:gd name="T35" fmla="*/ 896 h 898"/>
                <a:gd name="T36" fmla="*/ 270 w 898"/>
                <a:gd name="T37" fmla="*/ 862 h 898"/>
                <a:gd name="T38" fmla="*/ 162 w 898"/>
                <a:gd name="T39" fmla="*/ 796 h 898"/>
                <a:gd name="T40" fmla="*/ 76 w 898"/>
                <a:gd name="T41" fmla="*/ 700 h 898"/>
                <a:gd name="T42" fmla="*/ 20 w 898"/>
                <a:gd name="T43" fmla="*/ 582 h 898"/>
                <a:gd name="T44" fmla="*/ 0 w 898"/>
                <a:gd name="T45" fmla="*/ 450 h 898"/>
                <a:gd name="T46" fmla="*/ 374 w 898"/>
                <a:gd name="T47" fmla="*/ 522 h 898"/>
                <a:gd name="T48" fmla="*/ 266 w 898"/>
                <a:gd name="T49" fmla="*/ 414 h 898"/>
                <a:gd name="T50" fmla="*/ 236 w 898"/>
                <a:gd name="T51" fmla="*/ 394 h 898"/>
                <a:gd name="T52" fmla="*/ 204 w 898"/>
                <a:gd name="T53" fmla="*/ 396 h 898"/>
                <a:gd name="T54" fmla="*/ 184 w 898"/>
                <a:gd name="T55" fmla="*/ 410 h 898"/>
                <a:gd name="T56" fmla="*/ 170 w 898"/>
                <a:gd name="T57" fmla="*/ 440 h 898"/>
                <a:gd name="T58" fmla="*/ 174 w 898"/>
                <a:gd name="T59" fmla="*/ 472 h 898"/>
                <a:gd name="T60" fmla="*/ 188 w 898"/>
                <a:gd name="T61" fmla="*/ 492 h 898"/>
                <a:gd name="T62" fmla="*/ 342 w 898"/>
                <a:gd name="T63" fmla="*/ 644 h 898"/>
                <a:gd name="T64" fmla="*/ 374 w 898"/>
                <a:gd name="T65" fmla="*/ 656 h 898"/>
                <a:gd name="T66" fmla="*/ 406 w 898"/>
                <a:gd name="T67" fmla="*/ 644 h 898"/>
                <a:gd name="T68" fmla="*/ 708 w 898"/>
                <a:gd name="T69" fmla="*/ 344 h 898"/>
                <a:gd name="T70" fmla="*/ 724 w 898"/>
                <a:gd name="T71" fmla="*/ 322 h 898"/>
                <a:gd name="T72" fmla="*/ 728 w 898"/>
                <a:gd name="T73" fmla="*/ 288 h 898"/>
                <a:gd name="T74" fmla="*/ 712 w 898"/>
                <a:gd name="T75" fmla="*/ 258 h 898"/>
                <a:gd name="T76" fmla="*/ 694 w 898"/>
                <a:gd name="T77" fmla="*/ 246 h 898"/>
                <a:gd name="T78" fmla="*/ 662 w 898"/>
                <a:gd name="T79" fmla="*/ 244 h 898"/>
                <a:gd name="T80" fmla="*/ 630 w 898"/>
                <a:gd name="T81" fmla="*/ 264 h 898"/>
                <a:gd name="T82" fmla="*/ 550 w 898"/>
                <a:gd name="T83" fmla="*/ 344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98" h="898">
                  <a:moveTo>
                    <a:pt x="0" y="450"/>
                  </a:moveTo>
                  <a:lnTo>
                    <a:pt x="0" y="450"/>
                  </a:lnTo>
                  <a:lnTo>
                    <a:pt x="2" y="404"/>
                  </a:lnTo>
                  <a:lnTo>
                    <a:pt x="8" y="358"/>
                  </a:lnTo>
                  <a:lnTo>
                    <a:pt x="20" y="314"/>
                  </a:lnTo>
                  <a:lnTo>
                    <a:pt x="34" y="274"/>
                  </a:lnTo>
                  <a:lnTo>
                    <a:pt x="54" y="234"/>
                  </a:lnTo>
                  <a:lnTo>
                    <a:pt x="76" y="196"/>
                  </a:lnTo>
                  <a:lnTo>
                    <a:pt x="102" y="162"/>
                  </a:lnTo>
                  <a:lnTo>
                    <a:pt x="132" y="130"/>
                  </a:lnTo>
                  <a:lnTo>
                    <a:pt x="164" y="102"/>
                  </a:lnTo>
                  <a:lnTo>
                    <a:pt x="198" y="76"/>
                  </a:lnTo>
                  <a:lnTo>
                    <a:pt x="236" y="54"/>
                  </a:lnTo>
                  <a:lnTo>
                    <a:pt x="274" y="34"/>
                  </a:lnTo>
                  <a:lnTo>
                    <a:pt x="316" y="20"/>
                  </a:lnTo>
                  <a:lnTo>
                    <a:pt x="360" y="8"/>
                  </a:lnTo>
                  <a:lnTo>
                    <a:pt x="404" y="2"/>
                  </a:lnTo>
                  <a:lnTo>
                    <a:pt x="452" y="0"/>
                  </a:lnTo>
                  <a:lnTo>
                    <a:pt x="452" y="0"/>
                  </a:lnTo>
                  <a:lnTo>
                    <a:pt x="496" y="2"/>
                  </a:lnTo>
                  <a:lnTo>
                    <a:pt x="542" y="8"/>
                  </a:lnTo>
                  <a:lnTo>
                    <a:pt x="584" y="20"/>
                  </a:lnTo>
                  <a:lnTo>
                    <a:pt x="626" y="36"/>
                  </a:lnTo>
                  <a:lnTo>
                    <a:pt x="664" y="54"/>
                  </a:lnTo>
                  <a:lnTo>
                    <a:pt x="702" y="76"/>
                  </a:lnTo>
                  <a:lnTo>
                    <a:pt x="736" y="102"/>
                  </a:lnTo>
                  <a:lnTo>
                    <a:pt x="768" y="132"/>
                  </a:lnTo>
                  <a:lnTo>
                    <a:pt x="796" y="164"/>
                  </a:lnTo>
                  <a:lnTo>
                    <a:pt x="822" y="198"/>
                  </a:lnTo>
                  <a:lnTo>
                    <a:pt x="844" y="234"/>
                  </a:lnTo>
                  <a:lnTo>
                    <a:pt x="864" y="274"/>
                  </a:lnTo>
                  <a:lnTo>
                    <a:pt x="878" y="316"/>
                  </a:lnTo>
                  <a:lnTo>
                    <a:pt x="890" y="358"/>
                  </a:lnTo>
                  <a:lnTo>
                    <a:pt x="896" y="402"/>
                  </a:lnTo>
                  <a:lnTo>
                    <a:pt x="898" y="448"/>
                  </a:lnTo>
                  <a:lnTo>
                    <a:pt x="898" y="448"/>
                  </a:lnTo>
                  <a:lnTo>
                    <a:pt x="896" y="494"/>
                  </a:lnTo>
                  <a:lnTo>
                    <a:pt x="890" y="540"/>
                  </a:lnTo>
                  <a:lnTo>
                    <a:pt x="878" y="584"/>
                  </a:lnTo>
                  <a:lnTo>
                    <a:pt x="864" y="624"/>
                  </a:lnTo>
                  <a:lnTo>
                    <a:pt x="844" y="664"/>
                  </a:lnTo>
                  <a:lnTo>
                    <a:pt x="822" y="702"/>
                  </a:lnTo>
                  <a:lnTo>
                    <a:pt x="796" y="736"/>
                  </a:lnTo>
                  <a:lnTo>
                    <a:pt x="766" y="768"/>
                  </a:lnTo>
                  <a:lnTo>
                    <a:pt x="734" y="798"/>
                  </a:lnTo>
                  <a:lnTo>
                    <a:pt x="698" y="822"/>
                  </a:lnTo>
                  <a:lnTo>
                    <a:pt x="662" y="846"/>
                  </a:lnTo>
                  <a:lnTo>
                    <a:pt x="622" y="864"/>
                  </a:lnTo>
                  <a:lnTo>
                    <a:pt x="580" y="878"/>
                  </a:lnTo>
                  <a:lnTo>
                    <a:pt x="536" y="890"/>
                  </a:lnTo>
                  <a:lnTo>
                    <a:pt x="490" y="896"/>
                  </a:lnTo>
                  <a:lnTo>
                    <a:pt x="444" y="898"/>
                  </a:lnTo>
                  <a:lnTo>
                    <a:pt x="444" y="898"/>
                  </a:lnTo>
                  <a:lnTo>
                    <a:pt x="398" y="896"/>
                  </a:lnTo>
                  <a:lnTo>
                    <a:pt x="354" y="890"/>
                  </a:lnTo>
                  <a:lnTo>
                    <a:pt x="312" y="878"/>
                  </a:lnTo>
                  <a:lnTo>
                    <a:pt x="270" y="862"/>
                  </a:lnTo>
                  <a:lnTo>
                    <a:pt x="232" y="844"/>
                  </a:lnTo>
                  <a:lnTo>
                    <a:pt x="196" y="820"/>
                  </a:lnTo>
                  <a:lnTo>
                    <a:pt x="162" y="796"/>
                  </a:lnTo>
                  <a:lnTo>
                    <a:pt x="130" y="766"/>
                  </a:lnTo>
                  <a:lnTo>
                    <a:pt x="102" y="734"/>
                  </a:lnTo>
                  <a:lnTo>
                    <a:pt x="76" y="700"/>
                  </a:lnTo>
                  <a:lnTo>
                    <a:pt x="54" y="662"/>
                  </a:lnTo>
                  <a:lnTo>
                    <a:pt x="34" y="624"/>
                  </a:lnTo>
                  <a:lnTo>
                    <a:pt x="20" y="582"/>
                  </a:lnTo>
                  <a:lnTo>
                    <a:pt x="8" y="540"/>
                  </a:lnTo>
                  <a:lnTo>
                    <a:pt x="2" y="496"/>
                  </a:lnTo>
                  <a:lnTo>
                    <a:pt x="0" y="450"/>
                  </a:lnTo>
                  <a:lnTo>
                    <a:pt x="0" y="450"/>
                  </a:lnTo>
                  <a:close/>
                  <a:moveTo>
                    <a:pt x="374" y="522"/>
                  </a:moveTo>
                  <a:lnTo>
                    <a:pt x="374" y="522"/>
                  </a:lnTo>
                  <a:lnTo>
                    <a:pt x="320" y="466"/>
                  </a:lnTo>
                  <a:lnTo>
                    <a:pt x="266" y="414"/>
                  </a:lnTo>
                  <a:lnTo>
                    <a:pt x="266" y="414"/>
                  </a:lnTo>
                  <a:lnTo>
                    <a:pt x="256" y="404"/>
                  </a:lnTo>
                  <a:lnTo>
                    <a:pt x="246" y="398"/>
                  </a:lnTo>
                  <a:lnTo>
                    <a:pt x="236" y="394"/>
                  </a:lnTo>
                  <a:lnTo>
                    <a:pt x="224" y="392"/>
                  </a:lnTo>
                  <a:lnTo>
                    <a:pt x="214" y="394"/>
                  </a:lnTo>
                  <a:lnTo>
                    <a:pt x="204" y="396"/>
                  </a:lnTo>
                  <a:lnTo>
                    <a:pt x="194" y="402"/>
                  </a:lnTo>
                  <a:lnTo>
                    <a:pt x="184" y="410"/>
                  </a:lnTo>
                  <a:lnTo>
                    <a:pt x="184" y="410"/>
                  </a:lnTo>
                  <a:lnTo>
                    <a:pt x="176" y="420"/>
                  </a:lnTo>
                  <a:lnTo>
                    <a:pt x="172" y="428"/>
                  </a:lnTo>
                  <a:lnTo>
                    <a:pt x="170" y="440"/>
                  </a:lnTo>
                  <a:lnTo>
                    <a:pt x="168" y="450"/>
                  </a:lnTo>
                  <a:lnTo>
                    <a:pt x="170" y="460"/>
                  </a:lnTo>
                  <a:lnTo>
                    <a:pt x="174" y="472"/>
                  </a:lnTo>
                  <a:lnTo>
                    <a:pt x="180" y="482"/>
                  </a:lnTo>
                  <a:lnTo>
                    <a:pt x="188" y="492"/>
                  </a:lnTo>
                  <a:lnTo>
                    <a:pt x="188" y="492"/>
                  </a:lnTo>
                  <a:lnTo>
                    <a:pt x="330" y="634"/>
                  </a:lnTo>
                  <a:lnTo>
                    <a:pt x="330" y="634"/>
                  </a:lnTo>
                  <a:lnTo>
                    <a:pt x="342" y="644"/>
                  </a:lnTo>
                  <a:lnTo>
                    <a:pt x="352" y="650"/>
                  </a:lnTo>
                  <a:lnTo>
                    <a:pt x="364" y="654"/>
                  </a:lnTo>
                  <a:lnTo>
                    <a:pt x="374" y="656"/>
                  </a:lnTo>
                  <a:lnTo>
                    <a:pt x="386" y="654"/>
                  </a:lnTo>
                  <a:lnTo>
                    <a:pt x="396" y="650"/>
                  </a:lnTo>
                  <a:lnTo>
                    <a:pt x="406" y="644"/>
                  </a:lnTo>
                  <a:lnTo>
                    <a:pt x="418" y="634"/>
                  </a:lnTo>
                  <a:lnTo>
                    <a:pt x="418" y="634"/>
                  </a:lnTo>
                  <a:lnTo>
                    <a:pt x="708" y="344"/>
                  </a:lnTo>
                  <a:lnTo>
                    <a:pt x="708" y="344"/>
                  </a:lnTo>
                  <a:lnTo>
                    <a:pt x="718" y="334"/>
                  </a:lnTo>
                  <a:lnTo>
                    <a:pt x="724" y="322"/>
                  </a:lnTo>
                  <a:lnTo>
                    <a:pt x="728" y="310"/>
                  </a:lnTo>
                  <a:lnTo>
                    <a:pt x="730" y="300"/>
                  </a:lnTo>
                  <a:lnTo>
                    <a:pt x="728" y="288"/>
                  </a:lnTo>
                  <a:lnTo>
                    <a:pt x="726" y="278"/>
                  </a:lnTo>
                  <a:lnTo>
                    <a:pt x="720" y="268"/>
                  </a:lnTo>
                  <a:lnTo>
                    <a:pt x="712" y="258"/>
                  </a:lnTo>
                  <a:lnTo>
                    <a:pt x="712" y="258"/>
                  </a:lnTo>
                  <a:lnTo>
                    <a:pt x="702" y="252"/>
                  </a:lnTo>
                  <a:lnTo>
                    <a:pt x="694" y="246"/>
                  </a:lnTo>
                  <a:lnTo>
                    <a:pt x="682" y="244"/>
                  </a:lnTo>
                  <a:lnTo>
                    <a:pt x="672" y="244"/>
                  </a:lnTo>
                  <a:lnTo>
                    <a:pt x="662" y="244"/>
                  </a:lnTo>
                  <a:lnTo>
                    <a:pt x="650" y="250"/>
                  </a:lnTo>
                  <a:lnTo>
                    <a:pt x="640" y="256"/>
                  </a:lnTo>
                  <a:lnTo>
                    <a:pt x="630" y="264"/>
                  </a:lnTo>
                  <a:lnTo>
                    <a:pt x="630" y="264"/>
                  </a:lnTo>
                  <a:lnTo>
                    <a:pt x="550" y="344"/>
                  </a:lnTo>
                  <a:lnTo>
                    <a:pt x="550" y="344"/>
                  </a:lnTo>
                  <a:lnTo>
                    <a:pt x="374" y="522"/>
                  </a:lnTo>
                  <a:lnTo>
                    <a:pt x="374" y="5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2" name="Freeform 9"/>
            <p:cNvSpPr>
              <a:spLocks/>
            </p:cNvSpPr>
            <p:nvPr/>
          </p:nvSpPr>
          <p:spPr bwMode="auto">
            <a:xfrm>
              <a:off x="6054124" y="2586417"/>
              <a:ext cx="29431" cy="29431"/>
            </a:xfrm>
            <a:custGeom>
              <a:avLst/>
              <a:gdLst>
                <a:gd name="T0" fmla="*/ 148 w 148"/>
                <a:gd name="T1" fmla="*/ 74 h 148"/>
                <a:gd name="T2" fmla="*/ 148 w 148"/>
                <a:gd name="T3" fmla="*/ 74 h 148"/>
                <a:gd name="T4" fmla="*/ 146 w 148"/>
                <a:gd name="T5" fmla="*/ 90 h 148"/>
                <a:gd name="T6" fmla="*/ 142 w 148"/>
                <a:gd name="T7" fmla="*/ 104 h 148"/>
                <a:gd name="T8" fmla="*/ 136 w 148"/>
                <a:gd name="T9" fmla="*/ 116 h 148"/>
                <a:gd name="T10" fmla="*/ 126 w 148"/>
                <a:gd name="T11" fmla="*/ 126 h 148"/>
                <a:gd name="T12" fmla="*/ 116 w 148"/>
                <a:gd name="T13" fmla="*/ 136 h 148"/>
                <a:gd name="T14" fmla="*/ 102 w 148"/>
                <a:gd name="T15" fmla="*/ 142 h 148"/>
                <a:gd name="T16" fmla="*/ 88 w 148"/>
                <a:gd name="T17" fmla="*/ 146 h 148"/>
                <a:gd name="T18" fmla="*/ 74 w 148"/>
                <a:gd name="T19" fmla="*/ 148 h 148"/>
                <a:gd name="T20" fmla="*/ 74 w 148"/>
                <a:gd name="T21" fmla="*/ 148 h 148"/>
                <a:gd name="T22" fmla="*/ 58 w 148"/>
                <a:gd name="T23" fmla="*/ 146 h 148"/>
                <a:gd name="T24" fmla="*/ 44 w 148"/>
                <a:gd name="T25" fmla="*/ 142 h 148"/>
                <a:gd name="T26" fmla="*/ 32 w 148"/>
                <a:gd name="T27" fmla="*/ 136 h 148"/>
                <a:gd name="T28" fmla="*/ 22 w 148"/>
                <a:gd name="T29" fmla="*/ 126 h 148"/>
                <a:gd name="T30" fmla="*/ 12 w 148"/>
                <a:gd name="T31" fmla="*/ 116 h 148"/>
                <a:gd name="T32" fmla="*/ 6 w 148"/>
                <a:gd name="T33" fmla="*/ 102 h 148"/>
                <a:gd name="T34" fmla="*/ 2 w 148"/>
                <a:gd name="T35" fmla="*/ 88 h 148"/>
                <a:gd name="T36" fmla="*/ 0 w 148"/>
                <a:gd name="T37" fmla="*/ 74 h 148"/>
                <a:gd name="T38" fmla="*/ 0 w 148"/>
                <a:gd name="T39" fmla="*/ 74 h 148"/>
                <a:gd name="T40" fmla="*/ 2 w 148"/>
                <a:gd name="T41" fmla="*/ 58 h 148"/>
                <a:gd name="T42" fmla="*/ 6 w 148"/>
                <a:gd name="T43" fmla="*/ 44 h 148"/>
                <a:gd name="T44" fmla="*/ 12 w 148"/>
                <a:gd name="T45" fmla="*/ 32 h 148"/>
                <a:gd name="T46" fmla="*/ 22 w 148"/>
                <a:gd name="T47" fmla="*/ 22 h 148"/>
                <a:gd name="T48" fmla="*/ 32 w 148"/>
                <a:gd name="T49" fmla="*/ 12 h 148"/>
                <a:gd name="T50" fmla="*/ 46 w 148"/>
                <a:gd name="T51" fmla="*/ 6 h 148"/>
                <a:gd name="T52" fmla="*/ 60 w 148"/>
                <a:gd name="T53" fmla="*/ 2 h 148"/>
                <a:gd name="T54" fmla="*/ 74 w 148"/>
                <a:gd name="T55" fmla="*/ 0 h 148"/>
                <a:gd name="T56" fmla="*/ 74 w 148"/>
                <a:gd name="T57" fmla="*/ 0 h 148"/>
                <a:gd name="T58" fmla="*/ 88 w 148"/>
                <a:gd name="T59" fmla="*/ 2 h 148"/>
                <a:gd name="T60" fmla="*/ 102 w 148"/>
                <a:gd name="T61" fmla="*/ 6 h 148"/>
                <a:gd name="T62" fmla="*/ 116 w 148"/>
                <a:gd name="T63" fmla="*/ 12 h 148"/>
                <a:gd name="T64" fmla="*/ 126 w 148"/>
                <a:gd name="T65" fmla="*/ 22 h 148"/>
                <a:gd name="T66" fmla="*/ 136 w 148"/>
                <a:gd name="T67" fmla="*/ 32 h 148"/>
                <a:gd name="T68" fmla="*/ 142 w 148"/>
                <a:gd name="T69" fmla="*/ 46 h 148"/>
                <a:gd name="T70" fmla="*/ 146 w 148"/>
                <a:gd name="T71" fmla="*/ 60 h 148"/>
                <a:gd name="T72" fmla="*/ 148 w 148"/>
                <a:gd name="T73" fmla="*/ 74 h 148"/>
                <a:gd name="T74" fmla="*/ 148 w 148"/>
                <a:gd name="T75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8" h="148">
                  <a:moveTo>
                    <a:pt x="148" y="74"/>
                  </a:moveTo>
                  <a:lnTo>
                    <a:pt x="148" y="74"/>
                  </a:lnTo>
                  <a:lnTo>
                    <a:pt x="146" y="90"/>
                  </a:lnTo>
                  <a:lnTo>
                    <a:pt x="142" y="104"/>
                  </a:lnTo>
                  <a:lnTo>
                    <a:pt x="136" y="116"/>
                  </a:lnTo>
                  <a:lnTo>
                    <a:pt x="126" y="126"/>
                  </a:lnTo>
                  <a:lnTo>
                    <a:pt x="116" y="136"/>
                  </a:lnTo>
                  <a:lnTo>
                    <a:pt x="102" y="142"/>
                  </a:lnTo>
                  <a:lnTo>
                    <a:pt x="88" y="146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58" y="146"/>
                  </a:lnTo>
                  <a:lnTo>
                    <a:pt x="44" y="142"/>
                  </a:lnTo>
                  <a:lnTo>
                    <a:pt x="32" y="136"/>
                  </a:lnTo>
                  <a:lnTo>
                    <a:pt x="22" y="126"/>
                  </a:lnTo>
                  <a:lnTo>
                    <a:pt x="12" y="116"/>
                  </a:lnTo>
                  <a:lnTo>
                    <a:pt x="6" y="102"/>
                  </a:lnTo>
                  <a:lnTo>
                    <a:pt x="2" y="88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58"/>
                  </a:lnTo>
                  <a:lnTo>
                    <a:pt x="6" y="44"/>
                  </a:lnTo>
                  <a:lnTo>
                    <a:pt x="12" y="32"/>
                  </a:lnTo>
                  <a:lnTo>
                    <a:pt x="22" y="22"/>
                  </a:lnTo>
                  <a:lnTo>
                    <a:pt x="32" y="12"/>
                  </a:lnTo>
                  <a:lnTo>
                    <a:pt x="46" y="6"/>
                  </a:lnTo>
                  <a:lnTo>
                    <a:pt x="60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8" y="2"/>
                  </a:lnTo>
                  <a:lnTo>
                    <a:pt x="102" y="6"/>
                  </a:lnTo>
                  <a:lnTo>
                    <a:pt x="116" y="12"/>
                  </a:lnTo>
                  <a:lnTo>
                    <a:pt x="126" y="22"/>
                  </a:lnTo>
                  <a:lnTo>
                    <a:pt x="136" y="32"/>
                  </a:lnTo>
                  <a:lnTo>
                    <a:pt x="142" y="46"/>
                  </a:lnTo>
                  <a:lnTo>
                    <a:pt x="146" y="60"/>
                  </a:lnTo>
                  <a:lnTo>
                    <a:pt x="148" y="74"/>
                  </a:lnTo>
                  <a:lnTo>
                    <a:pt x="148" y="7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" name="Freeform 10"/>
            <p:cNvSpPr>
              <a:spLocks/>
            </p:cNvSpPr>
            <p:nvPr/>
          </p:nvSpPr>
          <p:spPr bwMode="auto">
            <a:xfrm>
              <a:off x="6039409" y="2735957"/>
              <a:ext cx="148347" cy="29033"/>
            </a:xfrm>
            <a:custGeom>
              <a:avLst/>
              <a:gdLst>
                <a:gd name="T0" fmla="*/ 746 w 746"/>
                <a:gd name="T1" fmla="*/ 0 h 146"/>
                <a:gd name="T2" fmla="*/ 746 w 746"/>
                <a:gd name="T3" fmla="*/ 0 h 146"/>
                <a:gd name="T4" fmla="*/ 746 w 746"/>
                <a:gd name="T5" fmla="*/ 146 h 146"/>
                <a:gd name="T6" fmla="*/ 746 w 746"/>
                <a:gd name="T7" fmla="*/ 146 h 146"/>
                <a:gd name="T8" fmla="*/ 0 w 746"/>
                <a:gd name="T9" fmla="*/ 146 h 146"/>
                <a:gd name="T10" fmla="*/ 0 w 746"/>
                <a:gd name="T11" fmla="*/ 146 h 146"/>
                <a:gd name="T12" fmla="*/ 0 w 746"/>
                <a:gd name="T13" fmla="*/ 0 h 146"/>
                <a:gd name="T14" fmla="*/ 0 w 746"/>
                <a:gd name="T15" fmla="*/ 0 h 146"/>
                <a:gd name="T16" fmla="*/ 746 w 746"/>
                <a:gd name="T17" fmla="*/ 0 h 146"/>
                <a:gd name="T18" fmla="*/ 746 w 746"/>
                <a:gd name="T1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6" h="146">
                  <a:moveTo>
                    <a:pt x="746" y="0"/>
                  </a:moveTo>
                  <a:lnTo>
                    <a:pt x="746" y="0"/>
                  </a:lnTo>
                  <a:lnTo>
                    <a:pt x="746" y="146"/>
                  </a:lnTo>
                  <a:lnTo>
                    <a:pt x="746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0"/>
                  </a:lnTo>
                  <a:lnTo>
                    <a:pt x="0" y="0"/>
                  </a:lnTo>
                  <a:lnTo>
                    <a:pt x="746" y="0"/>
                  </a:lnTo>
                  <a:lnTo>
                    <a:pt x="746" y="0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4" name="Freeform 11"/>
            <p:cNvSpPr>
              <a:spLocks/>
            </p:cNvSpPr>
            <p:nvPr/>
          </p:nvSpPr>
          <p:spPr bwMode="auto">
            <a:xfrm>
              <a:off x="6039409" y="3004015"/>
              <a:ext cx="148347" cy="29431"/>
            </a:xfrm>
            <a:custGeom>
              <a:avLst/>
              <a:gdLst>
                <a:gd name="T0" fmla="*/ 746 w 746"/>
                <a:gd name="T1" fmla="*/ 0 h 148"/>
                <a:gd name="T2" fmla="*/ 746 w 746"/>
                <a:gd name="T3" fmla="*/ 0 h 148"/>
                <a:gd name="T4" fmla="*/ 746 w 746"/>
                <a:gd name="T5" fmla="*/ 148 h 148"/>
                <a:gd name="T6" fmla="*/ 746 w 746"/>
                <a:gd name="T7" fmla="*/ 148 h 148"/>
                <a:gd name="T8" fmla="*/ 0 w 746"/>
                <a:gd name="T9" fmla="*/ 148 h 148"/>
                <a:gd name="T10" fmla="*/ 0 w 746"/>
                <a:gd name="T11" fmla="*/ 148 h 148"/>
                <a:gd name="T12" fmla="*/ 0 w 746"/>
                <a:gd name="T13" fmla="*/ 0 h 148"/>
                <a:gd name="T14" fmla="*/ 0 w 746"/>
                <a:gd name="T15" fmla="*/ 0 h 148"/>
                <a:gd name="T16" fmla="*/ 746 w 746"/>
                <a:gd name="T17" fmla="*/ 0 h 148"/>
                <a:gd name="T18" fmla="*/ 746 w 746"/>
                <a:gd name="T19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6" h="148">
                  <a:moveTo>
                    <a:pt x="746" y="0"/>
                  </a:moveTo>
                  <a:lnTo>
                    <a:pt x="746" y="0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0"/>
                  </a:lnTo>
                  <a:lnTo>
                    <a:pt x="0" y="0"/>
                  </a:lnTo>
                  <a:lnTo>
                    <a:pt x="746" y="0"/>
                  </a:lnTo>
                  <a:lnTo>
                    <a:pt x="746" y="0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5" name="Freeform 12"/>
            <p:cNvSpPr>
              <a:spLocks noEditPoints="1"/>
            </p:cNvSpPr>
            <p:nvPr/>
          </p:nvSpPr>
          <p:spPr bwMode="auto">
            <a:xfrm>
              <a:off x="5949924" y="2810329"/>
              <a:ext cx="59259" cy="58861"/>
            </a:xfrm>
            <a:custGeom>
              <a:avLst/>
              <a:gdLst>
                <a:gd name="T0" fmla="*/ 298 w 298"/>
                <a:gd name="T1" fmla="*/ 0 h 296"/>
                <a:gd name="T2" fmla="*/ 298 w 298"/>
                <a:gd name="T3" fmla="*/ 0 h 296"/>
                <a:gd name="T4" fmla="*/ 298 w 298"/>
                <a:gd name="T5" fmla="*/ 296 h 296"/>
                <a:gd name="T6" fmla="*/ 298 w 298"/>
                <a:gd name="T7" fmla="*/ 296 h 296"/>
                <a:gd name="T8" fmla="*/ 0 w 298"/>
                <a:gd name="T9" fmla="*/ 296 h 296"/>
                <a:gd name="T10" fmla="*/ 0 w 298"/>
                <a:gd name="T11" fmla="*/ 296 h 296"/>
                <a:gd name="T12" fmla="*/ 0 w 298"/>
                <a:gd name="T13" fmla="*/ 0 h 296"/>
                <a:gd name="T14" fmla="*/ 0 w 298"/>
                <a:gd name="T15" fmla="*/ 0 h 296"/>
                <a:gd name="T16" fmla="*/ 298 w 298"/>
                <a:gd name="T17" fmla="*/ 0 h 296"/>
                <a:gd name="T18" fmla="*/ 298 w 298"/>
                <a:gd name="T19" fmla="*/ 0 h 296"/>
                <a:gd name="T20" fmla="*/ 220 w 298"/>
                <a:gd name="T21" fmla="*/ 76 h 296"/>
                <a:gd name="T22" fmla="*/ 220 w 298"/>
                <a:gd name="T23" fmla="*/ 76 h 296"/>
                <a:gd name="T24" fmla="*/ 76 w 298"/>
                <a:gd name="T25" fmla="*/ 76 h 296"/>
                <a:gd name="T26" fmla="*/ 76 w 298"/>
                <a:gd name="T27" fmla="*/ 76 h 296"/>
                <a:gd name="T28" fmla="*/ 76 w 298"/>
                <a:gd name="T29" fmla="*/ 220 h 296"/>
                <a:gd name="T30" fmla="*/ 76 w 298"/>
                <a:gd name="T31" fmla="*/ 220 h 296"/>
                <a:gd name="T32" fmla="*/ 220 w 298"/>
                <a:gd name="T33" fmla="*/ 220 h 296"/>
                <a:gd name="T34" fmla="*/ 220 w 298"/>
                <a:gd name="T35" fmla="*/ 220 h 296"/>
                <a:gd name="T36" fmla="*/ 220 w 298"/>
                <a:gd name="T37" fmla="*/ 76 h 296"/>
                <a:gd name="T38" fmla="*/ 220 w 298"/>
                <a:gd name="T39" fmla="*/ 7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8" h="296">
                  <a:moveTo>
                    <a:pt x="298" y="0"/>
                  </a:moveTo>
                  <a:lnTo>
                    <a:pt x="298" y="0"/>
                  </a:lnTo>
                  <a:lnTo>
                    <a:pt x="298" y="296"/>
                  </a:lnTo>
                  <a:lnTo>
                    <a:pt x="298" y="296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0"/>
                  </a:lnTo>
                  <a:lnTo>
                    <a:pt x="0" y="0"/>
                  </a:lnTo>
                  <a:lnTo>
                    <a:pt x="298" y="0"/>
                  </a:lnTo>
                  <a:lnTo>
                    <a:pt x="298" y="0"/>
                  </a:lnTo>
                  <a:close/>
                  <a:moveTo>
                    <a:pt x="220" y="76"/>
                  </a:moveTo>
                  <a:lnTo>
                    <a:pt x="220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220" y="220"/>
                  </a:lnTo>
                  <a:lnTo>
                    <a:pt x="220" y="220"/>
                  </a:lnTo>
                  <a:lnTo>
                    <a:pt x="220" y="76"/>
                  </a:lnTo>
                  <a:lnTo>
                    <a:pt x="220" y="76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6" name="Freeform 13"/>
            <p:cNvSpPr>
              <a:spLocks noEditPoints="1"/>
            </p:cNvSpPr>
            <p:nvPr/>
          </p:nvSpPr>
          <p:spPr bwMode="auto">
            <a:xfrm>
              <a:off x="5949924" y="2720844"/>
              <a:ext cx="58861" cy="58861"/>
            </a:xfrm>
            <a:custGeom>
              <a:avLst/>
              <a:gdLst>
                <a:gd name="T0" fmla="*/ 296 w 296"/>
                <a:gd name="T1" fmla="*/ 0 h 296"/>
                <a:gd name="T2" fmla="*/ 296 w 296"/>
                <a:gd name="T3" fmla="*/ 0 h 296"/>
                <a:gd name="T4" fmla="*/ 296 w 296"/>
                <a:gd name="T5" fmla="*/ 296 h 296"/>
                <a:gd name="T6" fmla="*/ 296 w 296"/>
                <a:gd name="T7" fmla="*/ 296 h 296"/>
                <a:gd name="T8" fmla="*/ 0 w 296"/>
                <a:gd name="T9" fmla="*/ 296 h 296"/>
                <a:gd name="T10" fmla="*/ 0 w 296"/>
                <a:gd name="T11" fmla="*/ 296 h 296"/>
                <a:gd name="T12" fmla="*/ 0 w 296"/>
                <a:gd name="T13" fmla="*/ 0 h 296"/>
                <a:gd name="T14" fmla="*/ 0 w 296"/>
                <a:gd name="T15" fmla="*/ 0 h 296"/>
                <a:gd name="T16" fmla="*/ 296 w 296"/>
                <a:gd name="T17" fmla="*/ 0 h 296"/>
                <a:gd name="T18" fmla="*/ 296 w 296"/>
                <a:gd name="T19" fmla="*/ 0 h 296"/>
                <a:gd name="T20" fmla="*/ 76 w 296"/>
                <a:gd name="T21" fmla="*/ 74 h 296"/>
                <a:gd name="T22" fmla="*/ 76 w 296"/>
                <a:gd name="T23" fmla="*/ 74 h 296"/>
                <a:gd name="T24" fmla="*/ 76 w 296"/>
                <a:gd name="T25" fmla="*/ 220 h 296"/>
                <a:gd name="T26" fmla="*/ 76 w 296"/>
                <a:gd name="T27" fmla="*/ 220 h 296"/>
                <a:gd name="T28" fmla="*/ 222 w 296"/>
                <a:gd name="T29" fmla="*/ 220 h 296"/>
                <a:gd name="T30" fmla="*/ 222 w 296"/>
                <a:gd name="T31" fmla="*/ 220 h 296"/>
                <a:gd name="T32" fmla="*/ 222 w 296"/>
                <a:gd name="T33" fmla="*/ 154 h 296"/>
                <a:gd name="T34" fmla="*/ 222 w 296"/>
                <a:gd name="T35" fmla="*/ 92 h 296"/>
                <a:gd name="T36" fmla="*/ 222 w 296"/>
                <a:gd name="T37" fmla="*/ 92 h 296"/>
                <a:gd name="T38" fmla="*/ 220 w 296"/>
                <a:gd name="T39" fmla="*/ 86 h 296"/>
                <a:gd name="T40" fmla="*/ 216 w 296"/>
                <a:gd name="T41" fmla="*/ 80 h 296"/>
                <a:gd name="T42" fmla="*/ 210 w 296"/>
                <a:gd name="T43" fmla="*/ 76 h 296"/>
                <a:gd name="T44" fmla="*/ 206 w 296"/>
                <a:gd name="T45" fmla="*/ 74 h 296"/>
                <a:gd name="T46" fmla="*/ 206 w 296"/>
                <a:gd name="T47" fmla="*/ 74 h 296"/>
                <a:gd name="T48" fmla="*/ 142 w 296"/>
                <a:gd name="T49" fmla="*/ 74 h 296"/>
                <a:gd name="T50" fmla="*/ 76 w 296"/>
                <a:gd name="T51" fmla="*/ 74 h 296"/>
                <a:gd name="T52" fmla="*/ 76 w 296"/>
                <a:gd name="T53" fmla="*/ 7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6" h="296">
                  <a:moveTo>
                    <a:pt x="296" y="0"/>
                  </a:moveTo>
                  <a:lnTo>
                    <a:pt x="296" y="0"/>
                  </a:lnTo>
                  <a:lnTo>
                    <a:pt x="296" y="296"/>
                  </a:lnTo>
                  <a:lnTo>
                    <a:pt x="296" y="296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0"/>
                  </a:lnTo>
                  <a:lnTo>
                    <a:pt x="0" y="0"/>
                  </a:lnTo>
                  <a:lnTo>
                    <a:pt x="296" y="0"/>
                  </a:lnTo>
                  <a:lnTo>
                    <a:pt x="296" y="0"/>
                  </a:lnTo>
                  <a:close/>
                  <a:moveTo>
                    <a:pt x="76" y="74"/>
                  </a:moveTo>
                  <a:lnTo>
                    <a:pt x="76" y="74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222" y="220"/>
                  </a:lnTo>
                  <a:lnTo>
                    <a:pt x="222" y="220"/>
                  </a:lnTo>
                  <a:lnTo>
                    <a:pt x="222" y="154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20" y="86"/>
                  </a:lnTo>
                  <a:lnTo>
                    <a:pt x="216" y="80"/>
                  </a:lnTo>
                  <a:lnTo>
                    <a:pt x="210" y="76"/>
                  </a:lnTo>
                  <a:lnTo>
                    <a:pt x="206" y="74"/>
                  </a:lnTo>
                  <a:lnTo>
                    <a:pt x="206" y="74"/>
                  </a:lnTo>
                  <a:lnTo>
                    <a:pt x="142" y="74"/>
                  </a:lnTo>
                  <a:lnTo>
                    <a:pt x="76" y="74"/>
                  </a:lnTo>
                  <a:lnTo>
                    <a:pt x="76" y="74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7" name="Freeform 14"/>
            <p:cNvSpPr>
              <a:spLocks noEditPoints="1"/>
            </p:cNvSpPr>
            <p:nvPr/>
          </p:nvSpPr>
          <p:spPr bwMode="auto">
            <a:xfrm>
              <a:off x="5949924" y="2899814"/>
              <a:ext cx="58861" cy="58861"/>
            </a:xfrm>
            <a:custGeom>
              <a:avLst/>
              <a:gdLst>
                <a:gd name="T0" fmla="*/ 0 w 296"/>
                <a:gd name="T1" fmla="*/ 0 h 296"/>
                <a:gd name="T2" fmla="*/ 0 w 296"/>
                <a:gd name="T3" fmla="*/ 0 h 296"/>
                <a:gd name="T4" fmla="*/ 296 w 296"/>
                <a:gd name="T5" fmla="*/ 0 h 296"/>
                <a:gd name="T6" fmla="*/ 296 w 296"/>
                <a:gd name="T7" fmla="*/ 0 h 296"/>
                <a:gd name="T8" fmla="*/ 296 w 296"/>
                <a:gd name="T9" fmla="*/ 296 h 296"/>
                <a:gd name="T10" fmla="*/ 296 w 296"/>
                <a:gd name="T11" fmla="*/ 296 h 296"/>
                <a:gd name="T12" fmla="*/ 0 w 296"/>
                <a:gd name="T13" fmla="*/ 296 h 296"/>
                <a:gd name="T14" fmla="*/ 0 w 296"/>
                <a:gd name="T15" fmla="*/ 296 h 296"/>
                <a:gd name="T16" fmla="*/ 0 w 296"/>
                <a:gd name="T17" fmla="*/ 0 h 296"/>
                <a:gd name="T18" fmla="*/ 0 w 296"/>
                <a:gd name="T19" fmla="*/ 0 h 296"/>
                <a:gd name="T20" fmla="*/ 76 w 296"/>
                <a:gd name="T21" fmla="*/ 222 h 296"/>
                <a:gd name="T22" fmla="*/ 76 w 296"/>
                <a:gd name="T23" fmla="*/ 222 h 296"/>
                <a:gd name="T24" fmla="*/ 140 w 296"/>
                <a:gd name="T25" fmla="*/ 222 h 296"/>
                <a:gd name="T26" fmla="*/ 202 w 296"/>
                <a:gd name="T27" fmla="*/ 222 h 296"/>
                <a:gd name="T28" fmla="*/ 202 w 296"/>
                <a:gd name="T29" fmla="*/ 222 h 296"/>
                <a:gd name="T30" fmla="*/ 208 w 296"/>
                <a:gd name="T31" fmla="*/ 220 h 296"/>
                <a:gd name="T32" fmla="*/ 214 w 296"/>
                <a:gd name="T33" fmla="*/ 216 h 296"/>
                <a:gd name="T34" fmla="*/ 220 w 296"/>
                <a:gd name="T35" fmla="*/ 210 h 296"/>
                <a:gd name="T36" fmla="*/ 222 w 296"/>
                <a:gd name="T37" fmla="*/ 204 h 296"/>
                <a:gd name="T38" fmla="*/ 222 w 296"/>
                <a:gd name="T39" fmla="*/ 204 h 296"/>
                <a:gd name="T40" fmla="*/ 222 w 296"/>
                <a:gd name="T41" fmla="*/ 148 h 296"/>
                <a:gd name="T42" fmla="*/ 222 w 296"/>
                <a:gd name="T43" fmla="*/ 92 h 296"/>
                <a:gd name="T44" fmla="*/ 222 w 296"/>
                <a:gd name="T45" fmla="*/ 92 h 296"/>
                <a:gd name="T46" fmla="*/ 220 w 296"/>
                <a:gd name="T47" fmla="*/ 86 h 296"/>
                <a:gd name="T48" fmla="*/ 216 w 296"/>
                <a:gd name="T49" fmla="*/ 80 h 296"/>
                <a:gd name="T50" fmla="*/ 212 w 296"/>
                <a:gd name="T51" fmla="*/ 76 h 296"/>
                <a:gd name="T52" fmla="*/ 208 w 296"/>
                <a:gd name="T53" fmla="*/ 74 h 296"/>
                <a:gd name="T54" fmla="*/ 208 w 296"/>
                <a:gd name="T55" fmla="*/ 74 h 296"/>
                <a:gd name="T56" fmla="*/ 142 w 296"/>
                <a:gd name="T57" fmla="*/ 74 h 296"/>
                <a:gd name="T58" fmla="*/ 76 w 296"/>
                <a:gd name="T59" fmla="*/ 74 h 296"/>
                <a:gd name="T60" fmla="*/ 76 w 296"/>
                <a:gd name="T61" fmla="*/ 74 h 296"/>
                <a:gd name="T62" fmla="*/ 76 w 296"/>
                <a:gd name="T63" fmla="*/ 222 h 296"/>
                <a:gd name="T64" fmla="*/ 76 w 296"/>
                <a:gd name="T65" fmla="*/ 22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6" h="296">
                  <a:moveTo>
                    <a:pt x="0" y="0"/>
                  </a:moveTo>
                  <a:lnTo>
                    <a:pt x="0" y="0"/>
                  </a:lnTo>
                  <a:lnTo>
                    <a:pt x="296" y="0"/>
                  </a:lnTo>
                  <a:lnTo>
                    <a:pt x="296" y="0"/>
                  </a:lnTo>
                  <a:lnTo>
                    <a:pt x="296" y="296"/>
                  </a:lnTo>
                  <a:lnTo>
                    <a:pt x="296" y="296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76" y="222"/>
                  </a:moveTo>
                  <a:lnTo>
                    <a:pt x="76" y="222"/>
                  </a:lnTo>
                  <a:lnTo>
                    <a:pt x="140" y="222"/>
                  </a:lnTo>
                  <a:lnTo>
                    <a:pt x="202" y="222"/>
                  </a:lnTo>
                  <a:lnTo>
                    <a:pt x="202" y="222"/>
                  </a:lnTo>
                  <a:lnTo>
                    <a:pt x="208" y="220"/>
                  </a:lnTo>
                  <a:lnTo>
                    <a:pt x="214" y="216"/>
                  </a:lnTo>
                  <a:lnTo>
                    <a:pt x="220" y="210"/>
                  </a:lnTo>
                  <a:lnTo>
                    <a:pt x="222" y="204"/>
                  </a:lnTo>
                  <a:lnTo>
                    <a:pt x="222" y="204"/>
                  </a:lnTo>
                  <a:lnTo>
                    <a:pt x="222" y="148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20" y="86"/>
                  </a:lnTo>
                  <a:lnTo>
                    <a:pt x="216" y="80"/>
                  </a:lnTo>
                  <a:lnTo>
                    <a:pt x="212" y="76"/>
                  </a:lnTo>
                  <a:lnTo>
                    <a:pt x="208" y="74"/>
                  </a:lnTo>
                  <a:lnTo>
                    <a:pt x="208" y="74"/>
                  </a:lnTo>
                  <a:lnTo>
                    <a:pt x="142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222"/>
                  </a:lnTo>
                  <a:lnTo>
                    <a:pt x="76" y="222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8" name="Freeform 15"/>
            <p:cNvSpPr>
              <a:spLocks noEditPoints="1"/>
            </p:cNvSpPr>
            <p:nvPr/>
          </p:nvSpPr>
          <p:spPr bwMode="auto">
            <a:xfrm>
              <a:off x="5949924" y="2989300"/>
              <a:ext cx="58861" cy="58861"/>
            </a:xfrm>
            <a:custGeom>
              <a:avLst/>
              <a:gdLst>
                <a:gd name="T0" fmla="*/ 296 w 296"/>
                <a:gd name="T1" fmla="*/ 0 h 296"/>
                <a:gd name="T2" fmla="*/ 296 w 296"/>
                <a:gd name="T3" fmla="*/ 0 h 296"/>
                <a:gd name="T4" fmla="*/ 296 w 296"/>
                <a:gd name="T5" fmla="*/ 296 h 296"/>
                <a:gd name="T6" fmla="*/ 296 w 296"/>
                <a:gd name="T7" fmla="*/ 296 h 296"/>
                <a:gd name="T8" fmla="*/ 0 w 296"/>
                <a:gd name="T9" fmla="*/ 296 h 296"/>
                <a:gd name="T10" fmla="*/ 0 w 296"/>
                <a:gd name="T11" fmla="*/ 296 h 296"/>
                <a:gd name="T12" fmla="*/ 0 w 296"/>
                <a:gd name="T13" fmla="*/ 0 h 296"/>
                <a:gd name="T14" fmla="*/ 0 w 296"/>
                <a:gd name="T15" fmla="*/ 0 h 296"/>
                <a:gd name="T16" fmla="*/ 296 w 296"/>
                <a:gd name="T17" fmla="*/ 0 h 296"/>
                <a:gd name="T18" fmla="*/ 296 w 296"/>
                <a:gd name="T19" fmla="*/ 0 h 296"/>
                <a:gd name="T20" fmla="*/ 76 w 296"/>
                <a:gd name="T21" fmla="*/ 74 h 296"/>
                <a:gd name="T22" fmla="*/ 76 w 296"/>
                <a:gd name="T23" fmla="*/ 74 h 296"/>
                <a:gd name="T24" fmla="*/ 76 w 296"/>
                <a:gd name="T25" fmla="*/ 220 h 296"/>
                <a:gd name="T26" fmla="*/ 76 w 296"/>
                <a:gd name="T27" fmla="*/ 220 h 296"/>
                <a:gd name="T28" fmla="*/ 220 w 296"/>
                <a:gd name="T29" fmla="*/ 220 h 296"/>
                <a:gd name="T30" fmla="*/ 220 w 296"/>
                <a:gd name="T31" fmla="*/ 220 h 296"/>
                <a:gd name="T32" fmla="*/ 220 w 296"/>
                <a:gd name="T33" fmla="*/ 74 h 296"/>
                <a:gd name="T34" fmla="*/ 220 w 296"/>
                <a:gd name="T35" fmla="*/ 74 h 296"/>
                <a:gd name="T36" fmla="*/ 76 w 296"/>
                <a:gd name="T37" fmla="*/ 74 h 296"/>
                <a:gd name="T38" fmla="*/ 76 w 296"/>
                <a:gd name="T39" fmla="*/ 7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6" h="296">
                  <a:moveTo>
                    <a:pt x="296" y="0"/>
                  </a:moveTo>
                  <a:lnTo>
                    <a:pt x="296" y="0"/>
                  </a:lnTo>
                  <a:lnTo>
                    <a:pt x="296" y="296"/>
                  </a:lnTo>
                  <a:lnTo>
                    <a:pt x="296" y="296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0"/>
                  </a:lnTo>
                  <a:lnTo>
                    <a:pt x="0" y="0"/>
                  </a:lnTo>
                  <a:lnTo>
                    <a:pt x="296" y="0"/>
                  </a:lnTo>
                  <a:lnTo>
                    <a:pt x="296" y="0"/>
                  </a:lnTo>
                  <a:close/>
                  <a:moveTo>
                    <a:pt x="76" y="74"/>
                  </a:moveTo>
                  <a:lnTo>
                    <a:pt x="76" y="74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220" y="220"/>
                  </a:lnTo>
                  <a:lnTo>
                    <a:pt x="220" y="220"/>
                  </a:lnTo>
                  <a:lnTo>
                    <a:pt x="220" y="74"/>
                  </a:lnTo>
                  <a:lnTo>
                    <a:pt x="220" y="74"/>
                  </a:lnTo>
                  <a:lnTo>
                    <a:pt x="76" y="74"/>
                  </a:lnTo>
                  <a:lnTo>
                    <a:pt x="76" y="74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9" name="Freeform 16"/>
            <p:cNvSpPr>
              <a:spLocks/>
            </p:cNvSpPr>
            <p:nvPr/>
          </p:nvSpPr>
          <p:spPr bwMode="auto">
            <a:xfrm>
              <a:off x="6147189" y="2843737"/>
              <a:ext cx="111757" cy="81929"/>
            </a:xfrm>
            <a:custGeom>
              <a:avLst/>
              <a:gdLst>
                <a:gd name="T0" fmla="*/ 206 w 562"/>
                <a:gd name="T1" fmla="*/ 278 h 412"/>
                <a:gd name="T2" fmla="*/ 206 w 562"/>
                <a:gd name="T3" fmla="*/ 278 h 412"/>
                <a:gd name="T4" fmla="*/ 382 w 562"/>
                <a:gd name="T5" fmla="*/ 100 h 412"/>
                <a:gd name="T6" fmla="*/ 382 w 562"/>
                <a:gd name="T7" fmla="*/ 100 h 412"/>
                <a:gd name="T8" fmla="*/ 462 w 562"/>
                <a:gd name="T9" fmla="*/ 20 h 412"/>
                <a:gd name="T10" fmla="*/ 462 w 562"/>
                <a:gd name="T11" fmla="*/ 20 h 412"/>
                <a:gd name="T12" fmla="*/ 472 w 562"/>
                <a:gd name="T13" fmla="*/ 12 h 412"/>
                <a:gd name="T14" fmla="*/ 482 w 562"/>
                <a:gd name="T15" fmla="*/ 6 h 412"/>
                <a:gd name="T16" fmla="*/ 494 w 562"/>
                <a:gd name="T17" fmla="*/ 0 h 412"/>
                <a:gd name="T18" fmla="*/ 504 w 562"/>
                <a:gd name="T19" fmla="*/ 0 h 412"/>
                <a:gd name="T20" fmla="*/ 514 w 562"/>
                <a:gd name="T21" fmla="*/ 0 h 412"/>
                <a:gd name="T22" fmla="*/ 526 w 562"/>
                <a:gd name="T23" fmla="*/ 2 h 412"/>
                <a:gd name="T24" fmla="*/ 534 w 562"/>
                <a:gd name="T25" fmla="*/ 8 h 412"/>
                <a:gd name="T26" fmla="*/ 544 w 562"/>
                <a:gd name="T27" fmla="*/ 14 h 412"/>
                <a:gd name="T28" fmla="*/ 544 w 562"/>
                <a:gd name="T29" fmla="*/ 14 h 412"/>
                <a:gd name="T30" fmla="*/ 552 w 562"/>
                <a:gd name="T31" fmla="*/ 24 h 412"/>
                <a:gd name="T32" fmla="*/ 558 w 562"/>
                <a:gd name="T33" fmla="*/ 34 h 412"/>
                <a:gd name="T34" fmla="*/ 560 w 562"/>
                <a:gd name="T35" fmla="*/ 44 h 412"/>
                <a:gd name="T36" fmla="*/ 562 w 562"/>
                <a:gd name="T37" fmla="*/ 56 h 412"/>
                <a:gd name="T38" fmla="*/ 560 w 562"/>
                <a:gd name="T39" fmla="*/ 66 h 412"/>
                <a:gd name="T40" fmla="*/ 556 w 562"/>
                <a:gd name="T41" fmla="*/ 78 h 412"/>
                <a:gd name="T42" fmla="*/ 550 w 562"/>
                <a:gd name="T43" fmla="*/ 90 h 412"/>
                <a:gd name="T44" fmla="*/ 540 w 562"/>
                <a:gd name="T45" fmla="*/ 100 h 412"/>
                <a:gd name="T46" fmla="*/ 540 w 562"/>
                <a:gd name="T47" fmla="*/ 100 h 412"/>
                <a:gd name="T48" fmla="*/ 250 w 562"/>
                <a:gd name="T49" fmla="*/ 390 h 412"/>
                <a:gd name="T50" fmla="*/ 250 w 562"/>
                <a:gd name="T51" fmla="*/ 390 h 412"/>
                <a:gd name="T52" fmla="*/ 238 w 562"/>
                <a:gd name="T53" fmla="*/ 400 h 412"/>
                <a:gd name="T54" fmla="*/ 228 w 562"/>
                <a:gd name="T55" fmla="*/ 406 h 412"/>
                <a:gd name="T56" fmla="*/ 218 w 562"/>
                <a:gd name="T57" fmla="*/ 410 h 412"/>
                <a:gd name="T58" fmla="*/ 206 w 562"/>
                <a:gd name="T59" fmla="*/ 412 h 412"/>
                <a:gd name="T60" fmla="*/ 196 w 562"/>
                <a:gd name="T61" fmla="*/ 410 h 412"/>
                <a:gd name="T62" fmla="*/ 184 w 562"/>
                <a:gd name="T63" fmla="*/ 406 h 412"/>
                <a:gd name="T64" fmla="*/ 174 w 562"/>
                <a:gd name="T65" fmla="*/ 400 h 412"/>
                <a:gd name="T66" fmla="*/ 162 w 562"/>
                <a:gd name="T67" fmla="*/ 390 h 412"/>
                <a:gd name="T68" fmla="*/ 162 w 562"/>
                <a:gd name="T69" fmla="*/ 390 h 412"/>
                <a:gd name="T70" fmla="*/ 20 w 562"/>
                <a:gd name="T71" fmla="*/ 248 h 412"/>
                <a:gd name="T72" fmla="*/ 20 w 562"/>
                <a:gd name="T73" fmla="*/ 248 h 412"/>
                <a:gd name="T74" fmla="*/ 12 w 562"/>
                <a:gd name="T75" fmla="*/ 238 h 412"/>
                <a:gd name="T76" fmla="*/ 6 w 562"/>
                <a:gd name="T77" fmla="*/ 228 h 412"/>
                <a:gd name="T78" fmla="*/ 2 w 562"/>
                <a:gd name="T79" fmla="*/ 216 h 412"/>
                <a:gd name="T80" fmla="*/ 0 w 562"/>
                <a:gd name="T81" fmla="*/ 206 h 412"/>
                <a:gd name="T82" fmla="*/ 2 w 562"/>
                <a:gd name="T83" fmla="*/ 196 h 412"/>
                <a:gd name="T84" fmla="*/ 4 w 562"/>
                <a:gd name="T85" fmla="*/ 184 h 412"/>
                <a:gd name="T86" fmla="*/ 8 w 562"/>
                <a:gd name="T87" fmla="*/ 176 h 412"/>
                <a:gd name="T88" fmla="*/ 16 w 562"/>
                <a:gd name="T89" fmla="*/ 166 h 412"/>
                <a:gd name="T90" fmla="*/ 16 w 562"/>
                <a:gd name="T91" fmla="*/ 166 h 412"/>
                <a:gd name="T92" fmla="*/ 26 w 562"/>
                <a:gd name="T93" fmla="*/ 158 h 412"/>
                <a:gd name="T94" fmla="*/ 36 w 562"/>
                <a:gd name="T95" fmla="*/ 152 h 412"/>
                <a:gd name="T96" fmla="*/ 46 w 562"/>
                <a:gd name="T97" fmla="*/ 150 h 412"/>
                <a:gd name="T98" fmla="*/ 56 w 562"/>
                <a:gd name="T99" fmla="*/ 148 h 412"/>
                <a:gd name="T100" fmla="*/ 68 w 562"/>
                <a:gd name="T101" fmla="*/ 150 h 412"/>
                <a:gd name="T102" fmla="*/ 78 w 562"/>
                <a:gd name="T103" fmla="*/ 154 h 412"/>
                <a:gd name="T104" fmla="*/ 88 w 562"/>
                <a:gd name="T105" fmla="*/ 160 h 412"/>
                <a:gd name="T106" fmla="*/ 98 w 562"/>
                <a:gd name="T107" fmla="*/ 170 h 412"/>
                <a:gd name="T108" fmla="*/ 98 w 562"/>
                <a:gd name="T109" fmla="*/ 170 h 412"/>
                <a:gd name="T110" fmla="*/ 152 w 562"/>
                <a:gd name="T111" fmla="*/ 222 h 412"/>
                <a:gd name="T112" fmla="*/ 206 w 562"/>
                <a:gd name="T113" fmla="*/ 278 h 412"/>
                <a:gd name="T114" fmla="*/ 206 w 562"/>
                <a:gd name="T115" fmla="*/ 278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62" h="412">
                  <a:moveTo>
                    <a:pt x="206" y="278"/>
                  </a:moveTo>
                  <a:lnTo>
                    <a:pt x="206" y="278"/>
                  </a:lnTo>
                  <a:lnTo>
                    <a:pt x="382" y="100"/>
                  </a:lnTo>
                  <a:lnTo>
                    <a:pt x="382" y="100"/>
                  </a:lnTo>
                  <a:lnTo>
                    <a:pt x="462" y="20"/>
                  </a:lnTo>
                  <a:lnTo>
                    <a:pt x="462" y="20"/>
                  </a:lnTo>
                  <a:lnTo>
                    <a:pt x="472" y="12"/>
                  </a:lnTo>
                  <a:lnTo>
                    <a:pt x="482" y="6"/>
                  </a:lnTo>
                  <a:lnTo>
                    <a:pt x="494" y="0"/>
                  </a:lnTo>
                  <a:lnTo>
                    <a:pt x="504" y="0"/>
                  </a:lnTo>
                  <a:lnTo>
                    <a:pt x="514" y="0"/>
                  </a:lnTo>
                  <a:lnTo>
                    <a:pt x="526" y="2"/>
                  </a:lnTo>
                  <a:lnTo>
                    <a:pt x="534" y="8"/>
                  </a:lnTo>
                  <a:lnTo>
                    <a:pt x="544" y="14"/>
                  </a:lnTo>
                  <a:lnTo>
                    <a:pt x="544" y="14"/>
                  </a:lnTo>
                  <a:lnTo>
                    <a:pt x="552" y="24"/>
                  </a:lnTo>
                  <a:lnTo>
                    <a:pt x="558" y="34"/>
                  </a:lnTo>
                  <a:lnTo>
                    <a:pt x="560" y="44"/>
                  </a:lnTo>
                  <a:lnTo>
                    <a:pt x="562" y="56"/>
                  </a:lnTo>
                  <a:lnTo>
                    <a:pt x="560" y="66"/>
                  </a:lnTo>
                  <a:lnTo>
                    <a:pt x="556" y="78"/>
                  </a:lnTo>
                  <a:lnTo>
                    <a:pt x="550" y="90"/>
                  </a:lnTo>
                  <a:lnTo>
                    <a:pt x="540" y="100"/>
                  </a:lnTo>
                  <a:lnTo>
                    <a:pt x="540" y="100"/>
                  </a:lnTo>
                  <a:lnTo>
                    <a:pt x="250" y="390"/>
                  </a:lnTo>
                  <a:lnTo>
                    <a:pt x="250" y="390"/>
                  </a:lnTo>
                  <a:lnTo>
                    <a:pt x="238" y="400"/>
                  </a:lnTo>
                  <a:lnTo>
                    <a:pt x="228" y="406"/>
                  </a:lnTo>
                  <a:lnTo>
                    <a:pt x="218" y="410"/>
                  </a:lnTo>
                  <a:lnTo>
                    <a:pt x="206" y="412"/>
                  </a:lnTo>
                  <a:lnTo>
                    <a:pt x="196" y="410"/>
                  </a:lnTo>
                  <a:lnTo>
                    <a:pt x="184" y="406"/>
                  </a:lnTo>
                  <a:lnTo>
                    <a:pt x="174" y="400"/>
                  </a:lnTo>
                  <a:lnTo>
                    <a:pt x="162" y="390"/>
                  </a:lnTo>
                  <a:lnTo>
                    <a:pt x="162" y="390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12" y="238"/>
                  </a:lnTo>
                  <a:lnTo>
                    <a:pt x="6" y="228"/>
                  </a:lnTo>
                  <a:lnTo>
                    <a:pt x="2" y="216"/>
                  </a:lnTo>
                  <a:lnTo>
                    <a:pt x="0" y="206"/>
                  </a:lnTo>
                  <a:lnTo>
                    <a:pt x="2" y="196"/>
                  </a:lnTo>
                  <a:lnTo>
                    <a:pt x="4" y="184"/>
                  </a:lnTo>
                  <a:lnTo>
                    <a:pt x="8" y="17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26" y="158"/>
                  </a:lnTo>
                  <a:lnTo>
                    <a:pt x="36" y="152"/>
                  </a:lnTo>
                  <a:lnTo>
                    <a:pt x="46" y="150"/>
                  </a:lnTo>
                  <a:lnTo>
                    <a:pt x="56" y="148"/>
                  </a:lnTo>
                  <a:lnTo>
                    <a:pt x="68" y="150"/>
                  </a:lnTo>
                  <a:lnTo>
                    <a:pt x="78" y="154"/>
                  </a:lnTo>
                  <a:lnTo>
                    <a:pt x="88" y="160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152" y="222"/>
                  </a:lnTo>
                  <a:lnTo>
                    <a:pt x="206" y="278"/>
                  </a:lnTo>
                  <a:lnTo>
                    <a:pt x="206" y="278"/>
                  </a:lnTo>
                  <a:close/>
                </a:path>
              </a:pathLst>
            </a:custGeom>
            <a:solidFill>
              <a:srgbClr val="3E9AC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0" name="Freeform 17"/>
            <p:cNvSpPr>
              <a:spLocks/>
            </p:cNvSpPr>
            <p:nvPr/>
          </p:nvSpPr>
          <p:spPr bwMode="auto">
            <a:xfrm>
              <a:off x="5965037" y="2825442"/>
              <a:ext cx="28635" cy="28635"/>
            </a:xfrm>
            <a:custGeom>
              <a:avLst/>
              <a:gdLst>
                <a:gd name="T0" fmla="*/ 144 w 144"/>
                <a:gd name="T1" fmla="*/ 0 h 144"/>
                <a:gd name="T2" fmla="*/ 144 w 144"/>
                <a:gd name="T3" fmla="*/ 0 h 144"/>
                <a:gd name="T4" fmla="*/ 144 w 144"/>
                <a:gd name="T5" fmla="*/ 144 h 144"/>
                <a:gd name="T6" fmla="*/ 144 w 144"/>
                <a:gd name="T7" fmla="*/ 144 h 144"/>
                <a:gd name="T8" fmla="*/ 0 w 144"/>
                <a:gd name="T9" fmla="*/ 144 h 144"/>
                <a:gd name="T10" fmla="*/ 0 w 144"/>
                <a:gd name="T11" fmla="*/ 144 h 144"/>
                <a:gd name="T12" fmla="*/ 0 w 144"/>
                <a:gd name="T13" fmla="*/ 0 h 144"/>
                <a:gd name="T14" fmla="*/ 0 w 144"/>
                <a:gd name="T15" fmla="*/ 0 h 144"/>
                <a:gd name="T16" fmla="*/ 144 w 144"/>
                <a:gd name="T17" fmla="*/ 0 h 144"/>
                <a:gd name="T18" fmla="*/ 144 w 144"/>
                <a:gd name="T1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44">
                  <a:moveTo>
                    <a:pt x="144" y="0"/>
                  </a:moveTo>
                  <a:lnTo>
                    <a:pt x="144" y="0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1" name="Freeform 18"/>
            <p:cNvSpPr>
              <a:spLocks/>
            </p:cNvSpPr>
            <p:nvPr/>
          </p:nvSpPr>
          <p:spPr bwMode="auto">
            <a:xfrm>
              <a:off x="5965037" y="2735559"/>
              <a:ext cx="29033" cy="29033"/>
            </a:xfrm>
            <a:custGeom>
              <a:avLst/>
              <a:gdLst>
                <a:gd name="T0" fmla="*/ 0 w 146"/>
                <a:gd name="T1" fmla="*/ 0 h 146"/>
                <a:gd name="T2" fmla="*/ 0 w 146"/>
                <a:gd name="T3" fmla="*/ 0 h 146"/>
                <a:gd name="T4" fmla="*/ 66 w 146"/>
                <a:gd name="T5" fmla="*/ 0 h 146"/>
                <a:gd name="T6" fmla="*/ 130 w 146"/>
                <a:gd name="T7" fmla="*/ 0 h 146"/>
                <a:gd name="T8" fmla="*/ 130 w 146"/>
                <a:gd name="T9" fmla="*/ 0 h 146"/>
                <a:gd name="T10" fmla="*/ 134 w 146"/>
                <a:gd name="T11" fmla="*/ 2 h 146"/>
                <a:gd name="T12" fmla="*/ 140 w 146"/>
                <a:gd name="T13" fmla="*/ 6 h 146"/>
                <a:gd name="T14" fmla="*/ 144 w 146"/>
                <a:gd name="T15" fmla="*/ 12 h 146"/>
                <a:gd name="T16" fmla="*/ 146 w 146"/>
                <a:gd name="T17" fmla="*/ 18 h 146"/>
                <a:gd name="T18" fmla="*/ 146 w 146"/>
                <a:gd name="T19" fmla="*/ 18 h 146"/>
                <a:gd name="T20" fmla="*/ 146 w 146"/>
                <a:gd name="T21" fmla="*/ 80 h 146"/>
                <a:gd name="T22" fmla="*/ 146 w 146"/>
                <a:gd name="T23" fmla="*/ 146 h 146"/>
                <a:gd name="T24" fmla="*/ 146 w 146"/>
                <a:gd name="T25" fmla="*/ 146 h 146"/>
                <a:gd name="T26" fmla="*/ 0 w 146"/>
                <a:gd name="T27" fmla="*/ 146 h 146"/>
                <a:gd name="T28" fmla="*/ 0 w 146"/>
                <a:gd name="T29" fmla="*/ 146 h 146"/>
                <a:gd name="T30" fmla="*/ 0 w 146"/>
                <a:gd name="T31" fmla="*/ 0 h 146"/>
                <a:gd name="T32" fmla="*/ 0 w 146"/>
                <a:gd name="T3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6" h="146">
                  <a:moveTo>
                    <a:pt x="0" y="0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4" y="2"/>
                  </a:lnTo>
                  <a:lnTo>
                    <a:pt x="140" y="6"/>
                  </a:lnTo>
                  <a:lnTo>
                    <a:pt x="144" y="12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80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2" name="Freeform 19"/>
            <p:cNvSpPr>
              <a:spLocks/>
            </p:cNvSpPr>
            <p:nvPr/>
          </p:nvSpPr>
          <p:spPr bwMode="auto">
            <a:xfrm>
              <a:off x="5965037" y="2914530"/>
              <a:ext cx="29033" cy="29431"/>
            </a:xfrm>
            <a:custGeom>
              <a:avLst/>
              <a:gdLst>
                <a:gd name="T0" fmla="*/ 0 w 146"/>
                <a:gd name="T1" fmla="*/ 148 h 148"/>
                <a:gd name="T2" fmla="*/ 0 w 146"/>
                <a:gd name="T3" fmla="*/ 148 h 148"/>
                <a:gd name="T4" fmla="*/ 0 w 146"/>
                <a:gd name="T5" fmla="*/ 0 h 148"/>
                <a:gd name="T6" fmla="*/ 0 w 146"/>
                <a:gd name="T7" fmla="*/ 0 h 148"/>
                <a:gd name="T8" fmla="*/ 66 w 146"/>
                <a:gd name="T9" fmla="*/ 0 h 148"/>
                <a:gd name="T10" fmla="*/ 132 w 146"/>
                <a:gd name="T11" fmla="*/ 0 h 148"/>
                <a:gd name="T12" fmla="*/ 132 w 146"/>
                <a:gd name="T13" fmla="*/ 0 h 148"/>
                <a:gd name="T14" fmla="*/ 136 w 146"/>
                <a:gd name="T15" fmla="*/ 2 h 148"/>
                <a:gd name="T16" fmla="*/ 140 w 146"/>
                <a:gd name="T17" fmla="*/ 6 h 148"/>
                <a:gd name="T18" fmla="*/ 144 w 146"/>
                <a:gd name="T19" fmla="*/ 12 h 148"/>
                <a:gd name="T20" fmla="*/ 146 w 146"/>
                <a:gd name="T21" fmla="*/ 18 h 148"/>
                <a:gd name="T22" fmla="*/ 146 w 146"/>
                <a:gd name="T23" fmla="*/ 18 h 148"/>
                <a:gd name="T24" fmla="*/ 146 w 146"/>
                <a:gd name="T25" fmla="*/ 74 h 148"/>
                <a:gd name="T26" fmla="*/ 146 w 146"/>
                <a:gd name="T27" fmla="*/ 130 h 148"/>
                <a:gd name="T28" fmla="*/ 146 w 146"/>
                <a:gd name="T29" fmla="*/ 130 h 148"/>
                <a:gd name="T30" fmla="*/ 144 w 146"/>
                <a:gd name="T31" fmla="*/ 136 h 148"/>
                <a:gd name="T32" fmla="*/ 138 w 146"/>
                <a:gd name="T33" fmla="*/ 142 h 148"/>
                <a:gd name="T34" fmla="*/ 132 w 146"/>
                <a:gd name="T35" fmla="*/ 146 h 148"/>
                <a:gd name="T36" fmla="*/ 126 w 146"/>
                <a:gd name="T37" fmla="*/ 148 h 148"/>
                <a:gd name="T38" fmla="*/ 126 w 146"/>
                <a:gd name="T39" fmla="*/ 148 h 148"/>
                <a:gd name="T40" fmla="*/ 64 w 146"/>
                <a:gd name="T41" fmla="*/ 148 h 148"/>
                <a:gd name="T42" fmla="*/ 0 w 146"/>
                <a:gd name="T43" fmla="*/ 148 h 148"/>
                <a:gd name="T44" fmla="*/ 0 w 146"/>
                <a:gd name="T4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6" h="148">
                  <a:moveTo>
                    <a:pt x="0" y="148"/>
                  </a:moveTo>
                  <a:lnTo>
                    <a:pt x="0" y="148"/>
                  </a:lnTo>
                  <a:lnTo>
                    <a:pt x="0" y="0"/>
                  </a:lnTo>
                  <a:lnTo>
                    <a:pt x="0" y="0"/>
                  </a:lnTo>
                  <a:lnTo>
                    <a:pt x="66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6" y="2"/>
                  </a:lnTo>
                  <a:lnTo>
                    <a:pt x="140" y="6"/>
                  </a:lnTo>
                  <a:lnTo>
                    <a:pt x="144" y="12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74"/>
                  </a:lnTo>
                  <a:lnTo>
                    <a:pt x="146" y="130"/>
                  </a:lnTo>
                  <a:lnTo>
                    <a:pt x="146" y="130"/>
                  </a:lnTo>
                  <a:lnTo>
                    <a:pt x="144" y="136"/>
                  </a:lnTo>
                  <a:lnTo>
                    <a:pt x="138" y="142"/>
                  </a:lnTo>
                  <a:lnTo>
                    <a:pt x="132" y="146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64" y="148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3" name="Freeform 20"/>
            <p:cNvSpPr>
              <a:spLocks/>
            </p:cNvSpPr>
            <p:nvPr/>
          </p:nvSpPr>
          <p:spPr bwMode="auto">
            <a:xfrm>
              <a:off x="5965037" y="3004015"/>
              <a:ext cx="28635" cy="29033"/>
            </a:xfrm>
            <a:custGeom>
              <a:avLst/>
              <a:gdLst>
                <a:gd name="T0" fmla="*/ 0 w 144"/>
                <a:gd name="T1" fmla="*/ 0 h 146"/>
                <a:gd name="T2" fmla="*/ 0 w 144"/>
                <a:gd name="T3" fmla="*/ 0 h 146"/>
                <a:gd name="T4" fmla="*/ 144 w 144"/>
                <a:gd name="T5" fmla="*/ 0 h 146"/>
                <a:gd name="T6" fmla="*/ 144 w 144"/>
                <a:gd name="T7" fmla="*/ 0 h 146"/>
                <a:gd name="T8" fmla="*/ 144 w 144"/>
                <a:gd name="T9" fmla="*/ 146 h 146"/>
                <a:gd name="T10" fmla="*/ 144 w 144"/>
                <a:gd name="T11" fmla="*/ 146 h 146"/>
                <a:gd name="T12" fmla="*/ 0 w 144"/>
                <a:gd name="T13" fmla="*/ 146 h 146"/>
                <a:gd name="T14" fmla="*/ 0 w 144"/>
                <a:gd name="T15" fmla="*/ 146 h 146"/>
                <a:gd name="T16" fmla="*/ 0 w 144"/>
                <a:gd name="T17" fmla="*/ 0 h 146"/>
                <a:gd name="T18" fmla="*/ 0 w 144"/>
                <a:gd name="T19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46">
                  <a:moveTo>
                    <a:pt x="0" y="0"/>
                  </a:moveTo>
                  <a:lnTo>
                    <a:pt x="0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84" name="texte 1 naissance"/>
          <p:cNvSpPr/>
          <p:nvPr/>
        </p:nvSpPr>
        <p:spPr>
          <a:xfrm>
            <a:off x="6540622" y="3080965"/>
            <a:ext cx="1140395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Приобретение</a:t>
            </a:r>
          </a:p>
        </p:txBody>
      </p:sp>
      <p:sp>
        <p:nvSpPr>
          <p:cNvPr id="85" name="texte 1 naissance"/>
          <p:cNvSpPr/>
          <p:nvPr/>
        </p:nvSpPr>
        <p:spPr>
          <a:xfrm>
            <a:off x="6538987" y="3200257"/>
            <a:ext cx="1068894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en-GB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UNIVEG</a:t>
            </a:r>
          </a:p>
          <a:p>
            <a:pPr algn="ctr" defTabSz="342900">
              <a:lnSpc>
                <a:spcPct val="85000"/>
              </a:lnSpc>
            </a:pPr>
            <a:r>
              <a:rPr lang="en-GB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Logistics Russia</a:t>
            </a:r>
          </a:p>
        </p:txBody>
      </p:sp>
      <p:sp>
        <p:nvSpPr>
          <p:cNvPr id="86" name="texte 1 naissance"/>
          <p:cNvSpPr/>
          <p:nvPr/>
        </p:nvSpPr>
        <p:spPr>
          <a:xfrm>
            <a:off x="7728830" y="3195706"/>
            <a:ext cx="1068894" cy="6809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Волгоград </a:t>
            </a:r>
            <a:endParaRPr lang="en-US" sz="900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Омск</a:t>
            </a:r>
            <a:endParaRPr lang="en-US" sz="900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раснодар</a:t>
            </a:r>
            <a:r>
              <a:rPr lang="en-US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расноярск Ростов-на-Дону</a:t>
            </a:r>
          </a:p>
        </p:txBody>
      </p:sp>
      <p:sp>
        <p:nvSpPr>
          <p:cNvPr id="154" name="Date 3"/>
          <p:cNvSpPr txBox="1"/>
          <p:nvPr/>
        </p:nvSpPr>
        <p:spPr>
          <a:xfrm>
            <a:off x="8571427" y="4107476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2014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55" name="trait3"/>
          <p:cNvCxnSpPr/>
          <p:nvPr/>
        </p:nvCxnSpPr>
        <p:spPr>
          <a:xfrm>
            <a:off x="9241039" y="4322731"/>
            <a:ext cx="0" cy="262155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e 1 naissance"/>
          <p:cNvSpPr/>
          <p:nvPr/>
        </p:nvSpPr>
        <p:spPr>
          <a:xfrm>
            <a:off x="8489769" y="3080687"/>
            <a:ext cx="1245490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клад </a:t>
            </a:r>
          </a:p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ласса </a:t>
            </a:r>
            <a:r>
              <a:rPr lang="en-GB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A</a:t>
            </a:r>
          </a:p>
        </p:txBody>
      </p:sp>
      <p:sp>
        <p:nvSpPr>
          <p:cNvPr id="159" name="texte 1 naissance"/>
          <p:cNvSpPr/>
          <p:nvPr/>
        </p:nvSpPr>
        <p:spPr>
          <a:xfrm>
            <a:off x="8649439" y="3322505"/>
            <a:ext cx="973700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Дмитров</a:t>
            </a:r>
          </a:p>
        </p:txBody>
      </p:sp>
      <p:sp>
        <p:nvSpPr>
          <p:cNvPr id="165" name="Date 4"/>
          <p:cNvSpPr txBox="1"/>
          <p:nvPr/>
        </p:nvSpPr>
        <p:spPr>
          <a:xfrm>
            <a:off x="9550317" y="4107476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2015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66" name="trait4"/>
          <p:cNvCxnSpPr/>
          <p:nvPr/>
        </p:nvCxnSpPr>
        <p:spPr>
          <a:xfrm>
            <a:off x="10235399" y="4328243"/>
            <a:ext cx="0" cy="256643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e 1 naissance"/>
          <p:cNvSpPr/>
          <p:nvPr/>
        </p:nvSpPr>
        <p:spPr>
          <a:xfrm>
            <a:off x="9708712" y="3074921"/>
            <a:ext cx="951831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клад </a:t>
            </a:r>
          </a:p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ласса </a:t>
            </a:r>
            <a:r>
              <a:rPr lang="en-GB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A</a:t>
            </a:r>
          </a:p>
        </p:txBody>
      </p:sp>
      <p:sp>
        <p:nvSpPr>
          <p:cNvPr id="170" name="texte 1 naissance"/>
          <p:cNvSpPr/>
          <p:nvPr/>
        </p:nvSpPr>
        <p:spPr>
          <a:xfrm>
            <a:off x="9697777" y="3308127"/>
            <a:ext cx="973700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Ульяновск</a:t>
            </a:r>
          </a:p>
        </p:txBody>
      </p:sp>
      <p:pic>
        <p:nvPicPr>
          <p:cNvPr id="175" name="Image 25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9725105" y="2404017"/>
            <a:ext cx="174114" cy="217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1" name="Bull1"/>
          <p:cNvSpPr/>
          <p:nvPr/>
        </p:nvSpPr>
        <p:spPr>
          <a:xfrm>
            <a:off x="674236" y="4891458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202" name="Bull1"/>
          <p:cNvSpPr/>
          <p:nvPr/>
        </p:nvSpPr>
        <p:spPr>
          <a:xfrm>
            <a:off x="1780357" y="4891459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203" name="Bull1"/>
          <p:cNvSpPr/>
          <p:nvPr/>
        </p:nvSpPr>
        <p:spPr>
          <a:xfrm>
            <a:off x="3032936" y="4891459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204" name="Bull1"/>
          <p:cNvSpPr/>
          <p:nvPr/>
        </p:nvSpPr>
        <p:spPr>
          <a:xfrm>
            <a:off x="4700910" y="4893180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205" name="Bull1"/>
          <p:cNvSpPr/>
          <p:nvPr/>
        </p:nvSpPr>
        <p:spPr>
          <a:xfrm>
            <a:off x="7065554" y="4897434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206" name="Bull1"/>
          <p:cNvSpPr/>
          <p:nvPr/>
        </p:nvSpPr>
        <p:spPr>
          <a:xfrm>
            <a:off x="9187863" y="4886101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207" name="Bull1"/>
          <p:cNvSpPr/>
          <p:nvPr/>
        </p:nvSpPr>
        <p:spPr>
          <a:xfrm>
            <a:off x="10172676" y="4889720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738152" y="2576509"/>
            <a:ext cx="591353" cy="527897"/>
            <a:chOff x="4738152" y="2576509"/>
            <a:chExt cx="591353" cy="527897"/>
          </a:xfrm>
        </p:grpSpPr>
        <p:grpSp>
          <p:nvGrpSpPr>
            <p:cNvPr id="215" name="Group 4"/>
            <p:cNvGrpSpPr>
              <a:grpSpLocks noChangeAspect="1"/>
            </p:cNvGrpSpPr>
            <p:nvPr/>
          </p:nvGrpSpPr>
          <p:grpSpPr bwMode="auto">
            <a:xfrm>
              <a:off x="4738152" y="2576509"/>
              <a:ext cx="591353" cy="527897"/>
              <a:chOff x="3149" y="573"/>
              <a:chExt cx="1589" cy="1353"/>
            </a:xfrm>
          </p:grpSpPr>
          <p:sp>
            <p:nvSpPr>
              <p:cNvPr id="217" name="Freeform 5"/>
              <p:cNvSpPr>
                <a:spLocks/>
              </p:cNvSpPr>
              <p:nvPr/>
            </p:nvSpPr>
            <p:spPr bwMode="auto">
              <a:xfrm>
                <a:off x="3149" y="853"/>
                <a:ext cx="777" cy="1073"/>
              </a:xfrm>
              <a:custGeom>
                <a:avLst/>
                <a:gdLst>
                  <a:gd name="T0" fmla="*/ 0 w 777"/>
                  <a:gd name="T1" fmla="*/ 641 h 1073"/>
                  <a:gd name="T2" fmla="*/ 777 w 777"/>
                  <a:gd name="T3" fmla="*/ 1073 h 1073"/>
                  <a:gd name="T4" fmla="*/ 777 w 777"/>
                  <a:gd name="T5" fmla="*/ 335 h 1073"/>
                  <a:gd name="T6" fmla="*/ 0 w 777"/>
                  <a:gd name="T7" fmla="*/ 0 h 1073"/>
                  <a:gd name="T8" fmla="*/ 0 w 777"/>
                  <a:gd name="T9" fmla="*/ 641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7" h="1073">
                    <a:moveTo>
                      <a:pt x="0" y="641"/>
                    </a:moveTo>
                    <a:lnTo>
                      <a:pt x="777" y="1073"/>
                    </a:lnTo>
                    <a:lnTo>
                      <a:pt x="777" y="335"/>
                    </a:lnTo>
                    <a:lnTo>
                      <a:pt x="0" y="0"/>
                    </a:lnTo>
                    <a:lnTo>
                      <a:pt x="0" y="641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18" name="Freeform 6"/>
              <p:cNvSpPr>
                <a:spLocks/>
              </p:cNvSpPr>
              <p:nvPr/>
            </p:nvSpPr>
            <p:spPr bwMode="auto">
              <a:xfrm>
                <a:off x="3658" y="1107"/>
                <a:ext cx="249" cy="736"/>
              </a:xfrm>
              <a:custGeom>
                <a:avLst/>
                <a:gdLst>
                  <a:gd name="T0" fmla="*/ 249 w 249"/>
                  <a:gd name="T1" fmla="*/ 736 h 736"/>
                  <a:gd name="T2" fmla="*/ 0 w 249"/>
                  <a:gd name="T3" fmla="*/ 601 h 736"/>
                  <a:gd name="T4" fmla="*/ 0 w 249"/>
                  <a:gd name="T5" fmla="*/ 0 h 736"/>
                  <a:gd name="T6" fmla="*/ 249 w 249"/>
                  <a:gd name="T7" fmla="*/ 114 h 736"/>
                  <a:gd name="T8" fmla="*/ 249 w 249"/>
                  <a:gd name="T9" fmla="*/ 73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736">
                    <a:moveTo>
                      <a:pt x="249" y="736"/>
                    </a:moveTo>
                    <a:lnTo>
                      <a:pt x="0" y="601"/>
                    </a:lnTo>
                    <a:lnTo>
                      <a:pt x="0" y="0"/>
                    </a:lnTo>
                    <a:lnTo>
                      <a:pt x="249" y="114"/>
                    </a:lnTo>
                    <a:lnTo>
                      <a:pt x="249" y="7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19" name="Freeform 7"/>
              <p:cNvSpPr>
                <a:spLocks/>
              </p:cNvSpPr>
              <p:nvPr/>
            </p:nvSpPr>
            <p:spPr bwMode="auto">
              <a:xfrm>
                <a:off x="3401" y="995"/>
                <a:ext cx="188" cy="675"/>
              </a:xfrm>
              <a:custGeom>
                <a:avLst/>
                <a:gdLst>
                  <a:gd name="T0" fmla="*/ 188 w 188"/>
                  <a:gd name="T1" fmla="*/ 675 h 675"/>
                  <a:gd name="T2" fmla="*/ 0 w 188"/>
                  <a:gd name="T3" fmla="*/ 573 h 675"/>
                  <a:gd name="T4" fmla="*/ 0 w 188"/>
                  <a:gd name="T5" fmla="*/ 0 h 675"/>
                  <a:gd name="T6" fmla="*/ 188 w 188"/>
                  <a:gd name="T7" fmla="*/ 84 h 675"/>
                  <a:gd name="T8" fmla="*/ 188 w 188"/>
                  <a:gd name="T9" fmla="*/ 675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8" h="675">
                    <a:moveTo>
                      <a:pt x="188" y="675"/>
                    </a:moveTo>
                    <a:lnTo>
                      <a:pt x="0" y="573"/>
                    </a:lnTo>
                    <a:lnTo>
                      <a:pt x="0" y="0"/>
                    </a:lnTo>
                    <a:lnTo>
                      <a:pt x="188" y="84"/>
                    </a:lnTo>
                    <a:lnTo>
                      <a:pt x="188" y="67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0" name="Freeform 8"/>
              <p:cNvSpPr>
                <a:spLocks/>
              </p:cNvSpPr>
              <p:nvPr/>
            </p:nvSpPr>
            <p:spPr bwMode="auto">
              <a:xfrm>
                <a:off x="3197" y="905"/>
                <a:ext cx="138" cy="627"/>
              </a:xfrm>
              <a:custGeom>
                <a:avLst/>
                <a:gdLst>
                  <a:gd name="T0" fmla="*/ 138 w 138"/>
                  <a:gd name="T1" fmla="*/ 627 h 627"/>
                  <a:gd name="T2" fmla="*/ 0 w 138"/>
                  <a:gd name="T3" fmla="*/ 551 h 627"/>
                  <a:gd name="T4" fmla="*/ 0 w 138"/>
                  <a:gd name="T5" fmla="*/ 0 h 627"/>
                  <a:gd name="T6" fmla="*/ 138 w 138"/>
                  <a:gd name="T7" fmla="*/ 59 h 627"/>
                  <a:gd name="T8" fmla="*/ 138 w 138"/>
                  <a:gd name="T9" fmla="*/ 627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627">
                    <a:moveTo>
                      <a:pt x="138" y="627"/>
                    </a:moveTo>
                    <a:lnTo>
                      <a:pt x="0" y="551"/>
                    </a:lnTo>
                    <a:lnTo>
                      <a:pt x="0" y="0"/>
                    </a:lnTo>
                    <a:lnTo>
                      <a:pt x="138" y="59"/>
                    </a:lnTo>
                    <a:lnTo>
                      <a:pt x="138" y="6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1" name="Freeform 9"/>
              <p:cNvSpPr>
                <a:spLocks/>
              </p:cNvSpPr>
              <p:nvPr/>
            </p:nvSpPr>
            <p:spPr bwMode="auto">
              <a:xfrm>
                <a:off x="3926" y="979"/>
                <a:ext cx="812" cy="947"/>
              </a:xfrm>
              <a:custGeom>
                <a:avLst/>
                <a:gdLst>
                  <a:gd name="T0" fmla="*/ 812 w 812"/>
                  <a:gd name="T1" fmla="*/ 627 h 947"/>
                  <a:gd name="T2" fmla="*/ 0 w 812"/>
                  <a:gd name="T3" fmla="*/ 947 h 947"/>
                  <a:gd name="T4" fmla="*/ 0 w 812"/>
                  <a:gd name="T5" fmla="*/ 209 h 947"/>
                  <a:gd name="T6" fmla="*/ 812 w 812"/>
                  <a:gd name="T7" fmla="*/ 0 h 947"/>
                  <a:gd name="T8" fmla="*/ 812 w 812"/>
                  <a:gd name="T9" fmla="*/ 627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2" h="947">
                    <a:moveTo>
                      <a:pt x="812" y="627"/>
                    </a:moveTo>
                    <a:lnTo>
                      <a:pt x="0" y="947"/>
                    </a:lnTo>
                    <a:lnTo>
                      <a:pt x="0" y="209"/>
                    </a:lnTo>
                    <a:lnTo>
                      <a:pt x="812" y="0"/>
                    </a:lnTo>
                    <a:lnTo>
                      <a:pt x="812" y="627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2" name="Freeform 10"/>
              <p:cNvSpPr>
                <a:spLocks/>
              </p:cNvSpPr>
              <p:nvPr/>
            </p:nvSpPr>
            <p:spPr bwMode="auto">
              <a:xfrm>
                <a:off x="3149" y="573"/>
                <a:ext cx="1247" cy="615"/>
              </a:xfrm>
              <a:custGeom>
                <a:avLst/>
                <a:gdLst>
                  <a:gd name="T0" fmla="*/ 1247 w 1247"/>
                  <a:gd name="T1" fmla="*/ 230 h 615"/>
                  <a:gd name="T2" fmla="*/ 509 w 1247"/>
                  <a:gd name="T3" fmla="*/ 0 h 615"/>
                  <a:gd name="T4" fmla="*/ 0 w 1247"/>
                  <a:gd name="T5" fmla="*/ 280 h 615"/>
                  <a:gd name="T6" fmla="*/ 777 w 1247"/>
                  <a:gd name="T7" fmla="*/ 615 h 615"/>
                  <a:gd name="T8" fmla="*/ 1247 w 1247"/>
                  <a:gd name="T9" fmla="*/ 23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7" h="615">
                    <a:moveTo>
                      <a:pt x="1247" y="230"/>
                    </a:moveTo>
                    <a:lnTo>
                      <a:pt x="509" y="0"/>
                    </a:lnTo>
                    <a:lnTo>
                      <a:pt x="0" y="280"/>
                    </a:lnTo>
                    <a:lnTo>
                      <a:pt x="777" y="615"/>
                    </a:lnTo>
                    <a:lnTo>
                      <a:pt x="1247" y="230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3" name="Freeform 11"/>
              <p:cNvSpPr>
                <a:spLocks/>
              </p:cNvSpPr>
              <p:nvPr/>
            </p:nvSpPr>
            <p:spPr bwMode="auto">
              <a:xfrm>
                <a:off x="3168" y="596"/>
                <a:ext cx="1202" cy="592"/>
              </a:xfrm>
              <a:custGeom>
                <a:avLst/>
                <a:gdLst>
                  <a:gd name="T0" fmla="*/ 758 w 1202"/>
                  <a:gd name="T1" fmla="*/ 592 h 592"/>
                  <a:gd name="T2" fmla="*/ 1202 w 1202"/>
                  <a:gd name="T3" fmla="*/ 228 h 592"/>
                  <a:gd name="T4" fmla="*/ 485 w 1202"/>
                  <a:gd name="T5" fmla="*/ 0 h 592"/>
                  <a:gd name="T6" fmla="*/ 0 w 1202"/>
                  <a:gd name="T7" fmla="*/ 266 h 592"/>
                  <a:gd name="T8" fmla="*/ 758 w 1202"/>
                  <a:gd name="T9" fmla="*/ 592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2" h="592">
                    <a:moveTo>
                      <a:pt x="758" y="592"/>
                    </a:moveTo>
                    <a:lnTo>
                      <a:pt x="1202" y="228"/>
                    </a:lnTo>
                    <a:lnTo>
                      <a:pt x="485" y="0"/>
                    </a:lnTo>
                    <a:lnTo>
                      <a:pt x="0" y="266"/>
                    </a:lnTo>
                    <a:lnTo>
                      <a:pt x="758" y="5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4" name="Freeform 12"/>
              <p:cNvSpPr>
                <a:spLocks/>
              </p:cNvSpPr>
              <p:nvPr/>
            </p:nvSpPr>
            <p:spPr bwMode="auto">
              <a:xfrm>
                <a:off x="3233" y="625"/>
                <a:ext cx="1063" cy="522"/>
              </a:xfrm>
              <a:custGeom>
                <a:avLst/>
                <a:gdLst>
                  <a:gd name="T0" fmla="*/ 669 w 1063"/>
                  <a:gd name="T1" fmla="*/ 522 h 522"/>
                  <a:gd name="T2" fmla="*/ 0 w 1063"/>
                  <a:gd name="T3" fmla="*/ 233 h 522"/>
                  <a:gd name="T4" fmla="*/ 422 w 1063"/>
                  <a:gd name="T5" fmla="*/ 0 h 522"/>
                  <a:gd name="T6" fmla="*/ 1063 w 1063"/>
                  <a:gd name="T7" fmla="*/ 206 h 522"/>
                  <a:gd name="T8" fmla="*/ 669 w 1063"/>
                  <a:gd name="T9" fmla="*/ 522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3" h="522">
                    <a:moveTo>
                      <a:pt x="669" y="522"/>
                    </a:moveTo>
                    <a:lnTo>
                      <a:pt x="0" y="233"/>
                    </a:lnTo>
                    <a:lnTo>
                      <a:pt x="422" y="0"/>
                    </a:lnTo>
                    <a:lnTo>
                      <a:pt x="1063" y="206"/>
                    </a:lnTo>
                    <a:lnTo>
                      <a:pt x="669" y="522"/>
                    </a:lnTo>
                    <a:close/>
                  </a:path>
                </a:pathLst>
              </a:custGeom>
              <a:solidFill>
                <a:srgbClr val="3E9A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25" name="Freeform 13"/>
              <p:cNvSpPr>
                <a:spLocks/>
              </p:cNvSpPr>
              <p:nvPr/>
            </p:nvSpPr>
            <p:spPr bwMode="auto">
              <a:xfrm>
                <a:off x="3926" y="803"/>
                <a:ext cx="812" cy="385"/>
              </a:xfrm>
              <a:custGeom>
                <a:avLst/>
                <a:gdLst>
                  <a:gd name="T0" fmla="*/ 0 w 812"/>
                  <a:gd name="T1" fmla="*/ 385 h 385"/>
                  <a:gd name="T2" fmla="*/ 812 w 812"/>
                  <a:gd name="T3" fmla="*/ 176 h 385"/>
                  <a:gd name="T4" fmla="*/ 470 w 812"/>
                  <a:gd name="T5" fmla="*/ 0 h 385"/>
                  <a:gd name="T6" fmla="*/ 0 w 812"/>
                  <a:gd name="T7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2" h="385">
                    <a:moveTo>
                      <a:pt x="0" y="385"/>
                    </a:moveTo>
                    <a:lnTo>
                      <a:pt x="812" y="176"/>
                    </a:lnTo>
                    <a:lnTo>
                      <a:pt x="470" y="0"/>
                    </a:lnTo>
                    <a:lnTo>
                      <a:pt x="0" y="385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solidFill>
                  <a:srgbClr val="BFBFB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216" name="Freeform 6"/>
            <p:cNvSpPr>
              <a:spLocks/>
            </p:cNvSpPr>
            <p:nvPr/>
          </p:nvSpPr>
          <p:spPr bwMode="auto">
            <a:xfrm>
              <a:off x="5124159" y="2802799"/>
              <a:ext cx="155195" cy="239958"/>
            </a:xfrm>
            <a:custGeom>
              <a:avLst/>
              <a:gdLst>
                <a:gd name="T0" fmla="*/ 249 w 249"/>
                <a:gd name="T1" fmla="*/ 736 h 736"/>
                <a:gd name="T2" fmla="*/ 0 w 249"/>
                <a:gd name="T3" fmla="*/ 601 h 736"/>
                <a:gd name="T4" fmla="*/ 0 w 249"/>
                <a:gd name="T5" fmla="*/ 0 h 736"/>
                <a:gd name="T6" fmla="*/ 249 w 249"/>
                <a:gd name="T7" fmla="*/ 114 h 736"/>
                <a:gd name="T8" fmla="*/ 249 w 249"/>
                <a:gd name="T9" fmla="*/ 736 h 736"/>
                <a:gd name="connsiteX0" fmla="*/ 10321 w 10321"/>
                <a:gd name="connsiteY0" fmla="*/ 8451 h 8451"/>
                <a:gd name="connsiteX1" fmla="*/ 321 w 10321"/>
                <a:gd name="connsiteY1" fmla="*/ 6617 h 8451"/>
                <a:gd name="connsiteX2" fmla="*/ 0 w 10321"/>
                <a:gd name="connsiteY2" fmla="*/ 1060 h 8451"/>
                <a:gd name="connsiteX3" fmla="*/ 10321 w 10321"/>
                <a:gd name="connsiteY3" fmla="*/ 0 h 8451"/>
                <a:gd name="connsiteX4" fmla="*/ 10321 w 10321"/>
                <a:gd name="connsiteY4" fmla="*/ 8451 h 8451"/>
                <a:gd name="connsiteX0" fmla="*/ 10000 w 10000"/>
                <a:gd name="connsiteY0" fmla="*/ 10000 h 11045"/>
                <a:gd name="connsiteX1" fmla="*/ 467 w 10000"/>
                <a:gd name="connsiteY1" fmla="*/ 11045 h 11045"/>
                <a:gd name="connsiteX2" fmla="*/ 0 w 10000"/>
                <a:gd name="connsiteY2" fmla="*/ 1254 h 11045"/>
                <a:gd name="connsiteX3" fmla="*/ 10000 w 10000"/>
                <a:gd name="connsiteY3" fmla="*/ 0 h 11045"/>
                <a:gd name="connsiteX4" fmla="*/ 10000 w 10000"/>
                <a:gd name="connsiteY4" fmla="*/ 10000 h 11045"/>
                <a:gd name="connsiteX0" fmla="*/ 10156 w 10156"/>
                <a:gd name="connsiteY0" fmla="*/ 9421 h 11045"/>
                <a:gd name="connsiteX1" fmla="*/ 467 w 10156"/>
                <a:gd name="connsiteY1" fmla="*/ 11045 h 11045"/>
                <a:gd name="connsiteX2" fmla="*/ 0 w 10156"/>
                <a:gd name="connsiteY2" fmla="*/ 1254 h 11045"/>
                <a:gd name="connsiteX3" fmla="*/ 10000 w 10156"/>
                <a:gd name="connsiteY3" fmla="*/ 0 h 11045"/>
                <a:gd name="connsiteX4" fmla="*/ 10156 w 10156"/>
                <a:gd name="connsiteY4" fmla="*/ 9421 h 11045"/>
                <a:gd name="connsiteX0" fmla="*/ 10156 w 16226"/>
                <a:gd name="connsiteY0" fmla="*/ 8328 h 9952"/>
                <a:gd name="connsiteX1" fmla="*/ 467 w 16226"/>
                <a:gd name="connsiteY1" fmla="*/ 9952 h 9952"/>
                <a:gd name="connsiteX2" fmla="*/ 0 w 16226"/>
                <a:gd name="connsiteY2" fmla="*/ 161 h 9952"/>
                <a:gd name="connsiteX3" fmla="*/ 16226 w 16226"/>
                <a:gd name="connsiteY3" fmla="*/ 0 h 9952"/>
                <a:gd name="connsiteX4" fmla="*/ 10156 w 16226"/>
                <a:gd name="connsiteY4" fmla="*/ 8328 h 9952"/>
                <a:gd name="connsiteX0" fmla="*/ 10096 w 10096"/>
                <a:gd name="connsiteY0" fmla="*/ 7205 h 10000"/>
                <a:gd name="connsiteX1" fmla="*/ 288 w 10096"/>
                <a:gd name="connsiteY1" fmla="*/ 10000 h 10000"/>
                <a:gd name="connsiteX2" fmla="*/ 0 w 10096"/>
                <a:gd name="connsiteY2" fmla="*/ 162 h 10000"/>
                <a:gd name="connsiteX3" fmla="*/ 10000 w 10096"/>
                <a:gd name="connsiteY3" fmla="*/ 0 h 10000"/>
                <a:gd name="connsiteX4" fmla="*/ 10096 w 10096"/>
                <a:gd name="connsiteY4" fmla="*/ 7205 h 10000"/>
                <a:gd name="connsiteX0" fmla="*/ 10000 w 10000"/>
                <a:gd name="connsiteY0" fmla="*/ 7205 h 10000"/>
                <a:gd name="connsiteX1" fmla="*/ 192 w 10000"/>
                <a:gd name="connsiteY1" fmla="*/ 10000 h 10000"/>
                <a:gd name="connsiteX2" fmla="*/ 0 w 10000"/>
                <a:gd name="connsiteY2" fmla="*/ 2424 h 10000"/>
                <a:gd name="connsiteX3" fmla="*/ 9904 w 10000"/>
                <a:gd name="connsiteY3" fmla="*/ 0 h 10000"/>
                <a:gd name="connsiteX4" fmla="*/ 10000 w 10000"/>
                <a:gd name="connsiteY4" fmla="*/ 7205 h 10000"/>
                <a:gd name="connsiteX0" fmla="*/ 10000 w 10000"/>
                <a:gd name="connsiteY0" fmla="*/ 7205 h 10000"/>
                <a:gd name="connsiteX1" fmla="*/ 192 w 10000"/>
                <a:gd name="connsiteY1" fmla="*/ 10000 h 10000"/>
                <a:gd name="connsiteX2" fmla="*/ 0 w 10000"/>
                <a:gd name="connsiteY2" fmla="*/ 1972 h 10000"/>
                <a:gd name="connsiteX3" fmla="*/ 9904 w 10000"/>
                <a:gd name="connsiteY3" fmla="*/ 0 h 10000"/>
                <a:gd name="connsiteX4" fmla="*/ 10000 w 10000"/>
                <a:gd name="connsiteY4" fmla="*/ 7205 h 10000"/>
                <a:gd name="connsiteX0" fmla="*/ 10000 w 10000"/>
                <a:gd name="connsiteY0" fmla="*/ 7205 h 9806"/>
                <a:gd name="connsiteX1" fmla="*/ 288 w 10000"/>
                <a:gd name="connsiteY1" fmla="*/ 9806 h 9806"/>
                <a:gd name="connsiteX2" fmla="*/ 0 w 10000"/>
                <a:gd name="connsiteY2" fmla="*/ 1972 h 9806"/>
                <a:gd name="connsiteX3" fmla="*/ 9904 w 10000"/>
                <a:gd name="connsiteY3" fmla="*/ 0 h 9806"/>
                <a:gd name="connsiteX4" fmla="*/ 10000 w 10000"/>
                <a:gd name="connsiteY4" fmla="*/ 7205 h 9806"/>
                <a:gd name="connsiteX0" fmla="*/ 10000 w 10000"/>
                <a:gd name="connsiteY0" fmla="*/ 7480 h 10132"/>
                <a:gd name="connsiteX1" fmla="*/ 288 w 10000"/>
                <a:gd name="connsiteY1" fmla="*/ 10132 h 10132"/>
                <a:gd name="connsiteX2" fmla="*/ 0 w 10000"/>
                <a:gd name="connsiteY2" fmla="*/ 2143 h 10132"/>
                <a:gd name="connsiteX3" fmla="*/ 9808 w 10000"/>
                <a:gd name="connsiteY3" fmla="*/ 0 h 10132"/>
                <a:gd name="connsiteX4" fmla="*/ 10000 w 10000"/>
                <a:gd name="connsiteY4" fmla="*/ 7480 h 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132">
                  <a:moveTo>
                    <a:pt x="10000" y="7480"/>
                  </a:moveTo>
                  <a:lnTo>
                    <a:pt x="288" y="10132"/>
                  </a:lnTo>
                  <a:lnTo>
                    <a:pt x="0" y="2143"/>
                  </a:lnTo>
                  <a:lnTo>
                    <a:pt x="9808" y="0"/>
                  </a:lnTo>
                  <a:cubicBezTo>
                    <a:pt x="9840" y="2450"/>
                    <a:pt x="9968" y="5030"/>
                    <a:pt x="10000" y="74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33" name="Parallélogramme 7" hidden="1"/>
          <p:cNvSpPr/>
          <p:nvPr/>
        </p:nvSpPr>
        <p:spPr>
          <a:xfrm>
            <a:off x="1119414" y="2594136"/>
            <a:ext cx="1480082" cy="656434"/>
          </a:xfrm>
          <a:prstGeom prst="parallelogram">
            <a:avLst>
              <a:gd name="adj" fmla="val 67967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254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E7E6E6">
                  <a:lumMod val="25000"/>
                </a:srgbClr>
              </a:solidFill>
              <a:latin typeface="Calibri Light"/>
            </a:endParaRPr>
          </a:p>
        </p:txBody>
      </p:sp>
      <p:grpSp>
        <p:nvGrpSpPr>
          <p:cNvPr id="234" name="Groupe 19"/>
          <p:cNvGrpSpPr/>
          <p:nvPr/>
        </p:nvGrpSpPr>
        <p:grpSpPr>
          <a:xfrm>
            <a:off x="1560921" y="2660080"/>
            <a:ext cx="560218" cy="496680"/>
            <a:chOff x="2312334" y="3934865"/>
            <a:chExt cx="461751" cy="409382"/>
          </a:xfrm>
        </p:grpSpPr>
        <p:sp>
          <p:nvSpPr>
            <p:cNvPr id="235" name="Freeform 5"/>
            <p:cNvSpPr>
              <a:spLocks/>
            </p:cNvSpPr>
            <p:nvPr/>
          </p:nvSpPr>
          <p:spPr bwMode="auto">
            <a:xfrm>
              <a:off x="2334382" y="3934865"/>
              <a:ext cx="437839" cy="368436"/>
            </a:xfrm>
            <a:custGeom>
              <a:avLst/>
              <a:gdLst>
                <a:gd name="T0" fmla="*/ 1594 w 1626"/>
                <a:gd name="T1" fmla="*/ 389 h 1367"/>
                <a:gd name="T2" fmla="*/ 840 w 1626"/>
                <a:gd name="T3" fmla="*/ 9 h 1367"/>
                <a:gd name="T4" fmla="*/ 787 w 1626"/>
                <a:gd name="T5" fmla="*/ 9 h 1367"/>
                <a:gd name="T6" fmla="*/ 33 w 1626"/>
                <a:gd name="T7" fmla="*/ 389 h 1367"/>
                <a:gd name="T8" fmla="*/ 0 w 1626"/>
                <a:gd name="T9" fmla="*/ 441 h 1367"/>
                <a:gd name="T10" fmla="*/ 0 w 1626"/>
                <a:gd name="T11" fmla="*/ 1367 h 1367"/>
                <a:gd name="T12" fmla="*/ 252 w 1626"/>
                <a:gd name="T13" fmla="*/ 1367 h 1367"/>
                <a:gd name="T14" fmla="*/ 252 w 1626"/>
                <a:gd name="T15" fmla="*/ 511 h 1367"/>
                <a:gd name="T16" fmla="*/ 1374 w 1626"/>
                <a:gd name="T17" fmla="*/ 511 h 1367"/>
                <a:gd name="T18" fmla="*/ 1374 w 1626"/>
                <a:gd name="T19" fmla="*/ 1367 h 1367"/>
                <a:gd name="T20" fmla="*/ 1626 w 1626"/>
                <a:gd name="T21" fmla="*/ 1367 h 1367"/>
                <a:gd name="T22" fmla="*/ 1626 w 1626"/>
                <a:gd name="T23" fmla="*/ 441 h 1367"/>
                <a:gd name="T24" fmla="*/ 1594 w 1626"/>
                <a:gd name="T25" fmla="*/ 389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26" h="1367">
                  <a:moveTo>
                    <a:pt x="1594" y="389"/>
                  </a:moveTo>
                  <a:cubicBezTo>
                    <a:pt x="840" y="9"/>
                    <a:pt x="840" y="9"/>
                    <a:pt x="840" y="9"/>
                  </a:cubicBezTo>
                  <a:cubicBezTo>
                    <a:pt x="823" y="0"/>
                    <a:pt x="804" y="0"/>
                    <a:pt x="787" y="9"/>
                  </a:cubicBezTo>
                  <a:cubicBezTo>
                    <a:pt x="33" y="389"/>
                    <a:pt x="33" y="389"/>
                    <a:pt x="33" y="389"/>
                  </a:cubicBezTo>
                  <a:cubicBezTo>
                    <a:pt x="13" y="398"/>
                    <a:pt x="0" y="419"/>
                    <a:pt x="0" y="441"/>
                  </a:cubicBezTo>
                  <a:cubicBezTo>
                    <a:pt x="0" y="1367"/>
                    <a:pt x="0" y="1367"/>
                    <a:pt x="0" y="1367"/>
                  </a:cubicBezTo>
                  <a:cubicBezTo>
                    <a:pt x="252" y="1367"/>
                    <a:pt x="252" y="1367"/>
                    <a:pt x="252" y="1367"/>
                  </a:cubicBezTo>
                  <a:cubicBezTo>
                    <a:pt x="252" y="511"/>
                    <a:pt x="252" y="511"/>
                    <a:pt x="252" y="511"/>
                  </a:cubicBezTo>
                  <a:cubicBezTo>
                    <a:pt x="1374" y="511"/>
                    <a:pt x="1374" y="511"/>
                    <a:pt x="1374" y="511"/>
                  </a:cubicBezTo>
                  <a:cubicBezTo>
                    <a:pt x="1374" y="1367"/>
                    <a:pt x="1374" y="1367"/>
                    <a:pt x="1374" y="1367"/>
                  </a:cubicBezTo>
                  <a:cubicBezTo>
                    <a:pt x="1626" y="1367"/>
                    <a:pt x="1626" y="1367"/>
                    <a:pt x="1626" y="1367"/>
                  </a:cubicBezTo>
                  <a:cubicBezTo>
                    <a:pt x="1626" y="441"/>
                    <a:pt x="1626" y="441"/>
                    <a:pt x="1626" y="441"/>
                  </a:cubicBezTo>
                  <a:cubicBezTo>
                    <a:pt x="1626" y="419"/>
                    <a:pt x="1614" y="398"/>
                    <a:pt x="1594" y="389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2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6" name="texte 2installationce"/>
            <p:cNvSpPr/>
            <p:nvPr/>
          </p:nvSpPr>
          <p:spPr>
            <a:xfrm>
              <a:off x="2312334" y="4095640"/>
              <a:ext cx="461751" cy="248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42900">
                <a:lnSpc>
                  <a:spcPct val="85000"/>
                </a:lnSpc>
              </a:pPr>
              <a:r>
                <a:rPr lang="en-GB" sz="16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  <a:r>
                <a:rPr lang="en-GB" sz="1600" b="1" baseline="30000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st</a:t>
              </a:r>
            </a:p>
          </p:txBody>
        </p:sp>
      </p:grpSp>
      <p:sp>
        <p:nvSpPr>
          <p:cNvPr id="238" name="Parallélogramme 7" hidden="1"/>
          <p:cNvSpPr/>
          <p:nvPr/>
        </p:nvSpPr>
        <p:spPr>
          <a:xfrm>
            <a:off x="8729501" y="2631068"/>
            <a:ext cx="1480082" cy="656434"/>
          </a:xfrm>
          <a:prstGeom prst="parallelogram">
            <a:avLst>
              <a:gd name="adj" fmla="val 67967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254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E7E6E6">
                  <a:lumMod val="25000"/>
                </a:srgbClr>
              </a:solidFill>
              <a:latin typeface="Calibri Light"/>
            </a:endParaRPr>
          </a:p>
        </p:txBody>
      </p:sp>
      <p:grpSp>
        <p:nvGrpSpPr>
          <p:cNvPr id="239" name="Groupe 19"/>
          <p:cNvGrpSpPr/>
          <p:nvPr/>
        </p:nvGrpSpPr>
        <p:grpSpPr>
          <a:xfrm>
            <a:off x="8842532" y="2661500"/>
            <a:ext cx="560218" cy="496680"/>
            <a:chOff x="2312334" y="3934865"/>
            <a:chExt cx="461751" cy="409382"/>
          </a:xfrm>
        </p:grpSpPr>
        <p:sp>
          <p:nvSpPr>
            <p:cNvPr id="240" name="Freeform 5"/>
            <p:cNvSpPr>
              <a:spLocks/>
            </p:cNvSpPr>
            <p:nvPr/>
          </p:nvSpPr>
          <p:spPr bwMode="auto">
            <a:xfrm>
              <a:off x="2334382" y="3934865"/>
              <a:ext cx="437839" cy="368436"/>
            </a:xfrm>
            <a:custGeom>
              <a:avLst/>
              <a:gdLst>
                <a:gd name="T0" fmla="*/ 1594 w 1626"/>
                <a:gd name="T1" fmla="*/ 389 h 1367"/>
                <a:gd name="T2" fmla="*/ 840 w 1626"/>
                <a:gd name="T3" fmla="*/ 9 h 1367"/>
                <a:gd name="T4" fmla="*/ 787 w 1626"/>
                <a:gd name="T5" fmla="*/ 9 h 1367"/>
                <a:gd name="T6" fmla="*/ 33 w 1626"/>
                <a:gd name="T7" fmla="*/ 389 h 1367"/>
                <a:gd name="T8" fmla="*/ 0 w 1626"/>
                <a:gd name="T9" fmla="*/ 441 h 1367"/>
                <a:gd name="T10" fmla="*/ 0 w 1626"/>
                <a:gd name="T11" fmla="*/ 1367 h 1367"/>
                <a:gd name="T12" fmla="*/ 252 w 1626"/>
                <a:gd name="T13" fmla="*/ 1367 h 1367"/>
                <a:gd name="T14" fmla="*/ 252 w 1626"/>
                <a:gd name="T15" fmla="*/ 511 h 1367"/>
                <a:gd name="T16" fmla="*/ 1374 w 1626"/>
                <a:gd name="T17" fmla="*/ 511 h 1367"/>
                <a:gd name="T18" fmla="*/ 1374 w 1626"/>
                <a:gd name="T19" fmla="*/ 1367 h 1367"/>
                <a:gd name="T20" fmla="*/ 1626 w 1626"/>
                <a:gd name="T21" fmla="*/ 1367 h 1367"/>
                <a:gd name="T22" fmla="*/ 1626 w 1626"/>
                <a:gd name="T23" fmla="*/ 441 h 1367"/>
                <a:gd name="T24" fmla="*/ 1594 w 1626"/>
                <a:gd name="T25" fmla="*/ 389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26" h="1367">
                  <a:moveTo>
                    <a:pt x="1594" y="389"/>
                  </a:moveTo>
                  <a:cubicBezTo>
                    <a:pt x="840" y="9"/>
                    <a:pt x="840" y="9"/>
                    <a:pt x="840" y="9"/>
                  </a:cubicBezTo>
                  <a:cubicBezTo>
                    <a:pt x="823" y="0"/>
                    <a:pt x="804" y="0"/>
                    <a:pt x="787" y="9"/>
                  </a:cubicBezTo>
                  <a:cubicBezTo>
                    <a:pt x="33" y="389"/>
                    <a:pt x="33" y="389"/>
                    <a:pt x="33" y="389"/>
                  </a:cubicBezTo>
                  <a:cubicBezTo>
                    <a:pt x="13" y="398"/>
                    <a:pt x="0" y="419"/>
                    <a:pt x="0" y="441"/>
                  </a:cubicBezTo>
                  <a:cubicBezTo>
                    <a:pt x="0" y="1367"/>
                    <a:pt x="0" y="1367"/>
                    <a:pt x="0" y="1367"/>
                  </a:cubicBezTo>
                  <a:cubicBezTo>
                    <a:pt x="252" y="1367"/>
                    <a:pt x="252" y="1367"/>
                    <a:pt x="252" y="1367"/>
                  </a:cubicBezTo>
                  <a:cubicBezTo>
                    <a:pt x="252" y="511"/>
                    <a:pt x="252" y="511"/>
                    <a:pt x="252" y="511"/>
                  </a:cubicBezTo>
                  <a:cubicBezTo>
                    <a:pt x="1374" y="511"/>
                    <a:pt x="1374" y="511"/>
                    <a:pt x="1374" y="511"/>
                  </a:cubicBezTo>
                  <a:cubicBezTo>
                    <a:pt x="1374" y="1367"/>
                    <a:pt x="1374" y="1367"/>
                    <a:pt x="1374" y="1367"/>
                  </a:cubicBezTo>
                  <a:cubicBezTo>
                    <a:pt x="1626" y="1367"/>
                    <a:pt x="1626" y="1367"/>
                    <a:pt x="1626" y="1367"/>
                  </a:cubicBezTo>
                  <a:cubicBezTo>
                    <a:pt x="1626" y="441"/>
                    <a:pt x="1626" y="441"/>
                    <a:pt x="1626" y="441"/>
                  </a:cubicBezTo>
                  <a:cubicBezTo>
                    <a:pt x="1626" y="419"/>
                    <a:pt x="1614" y="398"/>
                    <a:pt x="1594" y="389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2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1" name="texte 2installationce"/>
            <p:cNvSpPr/>
            <p:nvPr/>
          </p:nvSpPr>
          <p:spPr>
            <a:xfrm>
              <a:off x="2312334" y="4095640"/>
              <a:ext cx="461751" cy="248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42900">
                <a:lnSpc>
                  <a:spcPct val="85000"/>
                </a:lnSpc>
              </a:pPr>
              <a:r>
                <a:rPr lang="en-GB" sz="16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  <a:r>
                <a:rPr lang="en-GB" sz="1600" b="1" baseline="30000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st</a:t>
              </a:r>
            </a:p>
          </p:txBody>
        </p:sp>
      </p:grpSp>
      <p:sp>
        <p:nvSpPr>
          <p:cNvPr id="243" name="Parallélogramme 7" hidden="1"/>
          <p:cNvSpPr/>
          <p:nvPr/>
        </p:nvSpPr>
        <p:spPr>
          <a:xfrm>
            <a:off x="10508621" y="2615233"/>
            <a:ext cx="1480082" cy="656434"/>
          </a:xfrm>
          <a:prstGeom prst="parallelogram">
            <a:avLst>
              <a:gd name="adj" fmla="val 67967"/>
            </a:avLst>
          </a:prstGeom>
          <a:solidFill>
            <a:schemeClr val="bg1"/>
          </a:solidFill>
          <a:ln w="19050">
            <a:solidFill>
              <a:schemeClr val="bg1">
                <a:lumMod val="95000"/>
              </a:schemeClr>
            </a:solidFill>
          </a:ln>
          <a:effectLst>
            <a:innerShdw blurRad="63500" dist="254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rgbClr val="E7E6E6">
                  <a:lumMod val="25000"/>
                </a:srgbClr>
              </a:solidFill>
              <a:latin typeface="Calibri Light"/>
            </a:endParaRPr>
          </a:p>
        </p:txBody>
      </p:sp>
      <p:grpSp>
        <p:nvGrpSpPr>
          <p:cNvPr id="244" name="Groupe 19"/>
          <p:cNvGrpSpPr/>
          <p:nvPr/>
        </p:nvGrpSpPr>
        <p:grpSpPr>
          <a:xfrm>
            <a:off x="9893686" y="2663421"/>
            <a:ext cx="560218" cy="496680"/>
            <a:chOff x="2312334" y="3934865"/>
            <a:chExt cx="461751" cy="409382"/>
          </a:xfrm>
        </p:grpSpPr>
        <p:sp>
          <p:nvSpPr>
            <p:cNvPr id="245" name="Freeform 5"/>
            <p:cNvSpPr>
              <a:spLocks/>
            </p:cNvSpPr>
            <p:nvPr/>
          </p:nvSpPr>
          <p:spPr bwMode="auto">
            <a:xfrm>
              <a:off x="2334382" y="3934865"/>
              <a:ext cx="437839" cy="368436"/>
            </a:xfrm>
            <a:custGeom>
              <a:avLst/>
              <a:gdLst>
                <a:gd name="T0" fmla="*/ 1594 w 1626"/>
                <a:gd name="T1" fmla="*/ 389 h 1367"/>
                <a:gd name="T2" fmla="*/ 840 w 1626"/>
                <a:gd name="T3" fmla="*/ 9 h 1367"/>
                <a:gd name="T4" fmla="*/ 787 w 1626"/>
                <a:gd name="T5" fmla="*/ 9 h 1367"/>
                <a:gd name="T6" fmla="*/ 33 w 1626"/>
                <a:gd name="T7" fmla="*/ 389 h 1367"/>
                <a:gd name="T8" fmla="*/ 0 w 1626"/>
                <a:gd name="T9" fmla="*/ 441 h 1367"/>
                <a:gd name="T10" fmla="*/ 0 w 1626"/>
                <a:gd name="T11" fmla="*/ 1367 h 1367"/>
                <a:gd name="T12" fmla="*/ 252 w 1626"/>
                <a:gd name="T13" fmla="*/ 1367 h 1367"/>
                <a:gd name="T14" fmla="*/ 252 w 1626"/>
                <a:gd name="T15" fmla="*/ 511 h 1367"/>
                <a:gd name="T16" fmla="*/ 1374 w 1626"/>
                <a:gd name="T17" fmla="*/ 511 h 1367"/>
                <a:gd name="T18" fmla="*/ 1374 w 1626"/>
                <a:gd name="T19" fmla="*/ 1367 h 1367"/>
                <a:gd name="T20" fmla="*/ 1626 w 1626"/>
                <a:gd name="T21" fmla="*/ 1367 h 1367"/>
                <a:gd name="T22" fmla="*/ 1626 w 1626"/>
                <a:gd name="T23" fmla="*/ 441 h 1367"/>
                <a:gd name="T24" fmla="*/ 1594 w 1626"/>
                <a:gd name="T25" fmla="*/ 389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26" h="1367">
                  <a:moveTo>
                    <a:pt x="1594" y="389"/>
                  </a:moveTo>
                  <a:cubicBezTo>
                    <a:pt x="840" y="9"/>
                    <a:pt x="840" y="9"/>
                    <a:pt x="840" y="9"/>
                  </a:cubicBezTo>
                  <a:cubicBezTo>
                    <a:pt x="823" y="0"/>
                    <a:pt x="804" y="0"/>
                    <a:pt x="787" y="9"/>
                  </a:cubicBezTo>
                  <a:cubicBezTo>
                    <a:pt x="33" y="389"/>
                    <a:pt x="33" y="389"/>
                    <a:pt x="33" y="389"/>
                  </a:cubicBezTo>
                  <a:cubicBezTo>
                    <a:pt x="13" y="398"/>
                    <a:pt x="0" y="419"/>
                    <a:pt x="0" y="441"/>
                  </a:cubicBezTo>
                  <a:cubicBezTo>
                    <a:pt x="0" y="1367"/>
                    <a:pt x="0" y="1367"/>
                    <a:pt x="0" y="1367"/>
                  </a:cubicBezTo>
                  <a:cubicBezTo>
                    <a:pt x="252" y="1367"/>
                    <a:pt x="252" y="1367"/>
                    <a:pt x="252" y="1367"/>
                  </a:cubicBezTo>
                  <a:cubicBezTo>
                    <a:pt x="252" y="511"/>
                    <a:pt x="252" y="511"/>
                    <a:pt x="252" y="511"/>
                  </a:cubicBezTo>
                  <a:cubicBezTo>
                    <a:pt x="1374" y="511"/>
                    <a:pt x="1374" y="511"/>
                    <a:pt x="1374" y="511"/>
                  </a:cubicBezTo>
                  <a:cubicBezTo>
                    <a:pt x="1374" y="1367"/>
                    <a:pt x="1374" y="1367"/>
                    <a:pt x="1374" y="1367"/>
                  </a:cubicBezTo>
                  <a:cubicBezTo>
                    <a:pt x="1626" y="1367"/>
                    <a:pt x="1626" y="1367"/>
                    <a:pt x="1626" y="1367"/>
                  </a:cubicBezTo>
                  <a:cubicBezTo>
                    <a:pt x="1626" y="441"/>
                    <a:pt x="1626" y="441"/>
                    <a:pt x="1626" y="441"/>
                  </a:cubicBezTo>
                  <a:cubicBezTo>
                    <a:pt x="1626" y="419"/>
                    <a:pt x="1614" y="398"/>
                    <a:pt x="1594" y="389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2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6" name="texte 2installationce"/>
            <p:cNvSpPr/>
            <p:nvPr/>
          </p:nvSpPr>
          <p:spPr>
            <a:xfrm>
              <a:off x="2312334" y="4095640"/>
              <a:ext cx="461751" cy="248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42900">
                <a:lnSpc>
                  <a:spcPct val="85000"/>
                </a:lnSpc>
              </a:pPr>
              <a:r>
                <a:rPr lang="en-GB" sz="16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  <a:r>
                <a:rPr lang="en-GB" sz="1600" b="1" baseline="30000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st</a:t>
              </a:r>
            </a:p>
          </p:txBody>
        </p:sp>
      </p:grpSp>
      <p:sp>
        <p:nvSpPr>
          <p:cNvPr id="249" name="Freeform 6"/>
          <p:cNvSpPr>
            <a:spLocks/>
          </p:cNvSpPr>
          <p:nvPr/>
        </p:nvSpPr>
        <p:spPr bwMode="auto">
          <a:xfrm>
            <a:off x="8366105" y="2797593"/>
            <a:ext cx="155195" cy="239958"/>
          </a:xfrm>
          <a:custGeom>
            <a:avLst/>
            <a:gdLst>
              <a:gd name="T0" fmla="*/ 249 w 249"/>
              <a:gd name="T1" fmla="*/ 736 h 736"/>
              <a:gd name="T2" fmla="*/ 0 w 249"/>
              <a:gd name="T3" fmla="*/ 601 h 736"/>
              <a:gd name="T4" fmla="*/ 0 w 249"/>
              <a:gd name="T5" fmla="*/ 0 h 736"/>
              <a:gd name="T6" fmla="*/ 249 w 249"/>
              <a:gd name="T7" fmla="*/ 114 h 736"/>
              <a:gd name="T8" fmla="*/ 249 w 249"/>
              <a:gd name="T9" fmla="*/ 736 h 736"/>
              <a:gd name="connsiteX0" fmla="*/ 10321 w 10321"/>
              <a:gd name="connsiteY0" fmla="*/ 8451 h 8451"/>
              <a:gd name="connsiteX1" fmla="*/ 321 w 10321"/>
              <a:gd name="connsiteY1" fmla="*/ 6617 h 8451"/>
              <a:gd name="connsiteX2" fmla="*/ 0 w 10321"/>
              <a:gd name="connsiteY2" fmla="*/ 1060 h 8451"/>
              <a:gd name="connsiteX3" fmla="*/ 10321 w 10321"/>
              <a:gd name="connsiteY3" fmla="*/ 0 h 8451"/>
              <a:gd name="connsiteX4" fmla="*/ 10321 w 10321"/>
              <a:gd name="connsiteY4" fmla="*/ 8451 h 8451"/>
              <a:gd name="connsiteX0" fmla="*/ 10000 w 10000"/>
              <a:gd name="connsiteY0" fmla="*/ 10000 h 11045"/>
              <a:gd name="connsiteX1" fmla="*/ 467 w 10000"/>
              <a:gd name="connsiteY1" fmla="*/ 11045 h 11045"/>
              <a:gd name="connsiteX2" fmla="*/ 0 w 10000"/>
              <a:gd name="connsiteY2" fmla="*/ 1254 h 11045"/>
              <a:gd name="connsiteX3" fmla="*/ 10000 w 10000"/>
              <a:gd name="connsiteY3" fmla="*/ 0 h 11045"/>
              <a:gd name="connsiteX4" fmla="*/ 10000 w 10000"/>
              <a:gd name="connsiteY4" fmla="*/ 10000 h 11045"/>
              <a:gd name="connsiteX0" fmla="*/ 10156 w 10156"/>
              <a:gd name="connsiteY0" fmla="*/ 9421 h 11045"/>
              <a:gd name="connsiteX1" fmla="*/ 467 w 10156"/>
              <a:gd name="connsiteY1" fmla="*/ 11045 h 11045"/>
              <a:gd name="connsiteX2" fmla="*/ 0 w 10156"/>
              <a:gd name="connsiteY2" fmla="*/ 1254 h 11045"/>
              <a:gd name="connsiteX3" fmla="*/ 10000 w 10156"/>
              <a:gd name="connsiteY3" fmla="*/ 0 h 11045"/>
              <a:gd name="connsiteX4" fmla="*/ 10156 w 10156"/>
              <a:gd name="connsiteY4" fmla="*/ 9421 h 11045"/>
              <a:gd name="connsiteX0" fmla="*/ 10156 w 16226"/>
              <a:gd name="connsiteY0" fmla="*/ 8328 h 9952"/>
              <a:gd name="connsiteX1" fmla="*/ 467 w 16226"/>
              <a:gd name="connsiteY1" fmla="*/ 9952 h 9952"/>
              <a:gd name="connsiteX2" fmla="*/ 0 w 16226"/>
              <a:gd name="connsiteY2" fmla="*/ 161 h 9952"/>
              <a:gd name="connsiteX3" fmla="*/ 16226 w 16226"/>
              <a:gd name="connsiteY3" fmla="*/ 0 h 9952"/>
              <a:gd name="connsiteX4" fmla="*/ 10156 w 16226"/>
              <a:gd name="connsiteY4" fmla="*/ 8328 h 9952"/>
              <a:gd name="connsiteX0" fmla="*/ 10096 w 10096"/>
              <a:gd name="connsiteY0" fmla="*/ 7205 h 10000"/>
              <a:gd name="connsiteX1" fmla="*/ 288 w 10096"/>
              <a:gd name="connsiteY1" fmla="*/ 10000 h 10000"/>
              <a:gd name="connsiteX2" fmla="*/ 0 w 10096"/>
              <a:gd name="connsiteY2" fmla="*/ 162 h 10000"/>
              <a:gd name="connsiteX3" fmla="*/ 10000 w 10096"/>
              <a:gd name="connsiteY3" fmla="*/ 0 h 10000"/>
              <a:gd name="connsiteX4" fmla="*/ 10096 w 10096"/>
              <a:gd name="connsiteY4" fmla="*/ 7205 h 10000"/>
              <a:gd name="connsiteX0" fmla="*/ 10000 w 10000"/>
              <a:gd name="connsiteY0" fmla="*/ 7205 h 10000"/>
              <a:gd name="connsiteX1" fmla="*/ 192 w 10000"/>
              <a:gd name="connsiteY1" fmla="*/ 10000 h 10000"/>
              <a:gd name="connsiteX2" fmla="*/ 0 w 10000"/>
              <a:gd name="connsiteY2" fmla="*/ 2424 h 10000"/>
              <a:gd name="connsiteX3" fmla="*/ 9904 w 10000"/>
              <a:gd name="connsiteY3" fmla="*/ 0 h 10000"/>
              <a:gd name="connsiteX4" fmla="*/ 10000 w 10000"/>
              <a:gd name="connsiteY4" fmla="*/ 7205 h 10000"/>
              <a:gd name="connsiteX0" fmla="*/ 10000 w 10000"/>
              <a:gd name="connsiteY0" fmla="*/ 7205 h 10000"/>
              <a:gd name="connsiteX1" fmla="*/ 192 w 10000"/>
              <a:gd name="connsiteY1" fmla="*/ 10000 h 10000"/>
              <a:gd name="connsiteX2" fmla="*/ 0 w 10000"/>
              <a:gd name="connsiteY2" fmla="*/ 1972 h 10000"/>
              <a:gd name="connsiteX3" fmla="*/ 9904 w 10000"/>
              <a:gd name="connsiteY3" fmla="*/ 0 h 10000"/>
              <a:gd name="connsiteX4" fmla="*/ 10000 w 10000"/>
              <a:gd name="connsiteY4" fmla="*/ 7205 h 10000"/>
              <a:gd name="connsiteX0" fmla="*/ 10000 w 10000"/>
              <a:gd name="connsiteY0" fmla="*/ 7205 h 9806"/>
              <a:gd name="connsiteX1" fmla="*/ 288 w 10000"/>
              <a:gd name="connsiteY1" fmla="*/ 9806 h 9806"/>
              <a:gd name="connsiteX2" fmla="*/ 0 w 10000"/>
              <a:gd name="connsiteY2" fmla="*/ 1972 h 9806"/>
              <a:gd name="connsiteX3" fmla="*/ 9904 w 10000"/>
              <a:gd name="connsiteY3" fmla="*/ 0 h 9806"/>
              <a:gd name="connsiteX4" fmla="*/ 10000 w 10000"/>
              <a:gd name="connsiteY4" fmla="*/ 7205 h 9806"/>
              <a:gd name="connsiteX0" fmla="*/ 10000 w 10000"/>
              <a:gd name="connsiteY0" fmla="*/ 7480 h 10132"/>
              <a:gd name="connsiteX1" fmla="*/ 288 w 10000"/>
              <a:gd name="connsiteY1" fmla="*/ 10132 h 10132"/>
              <a:gd name="connsiteX2" fmla="*/ 0 w 10000"/>
              <a:gd name="connsiteY2" fmla="*/ 2143 h 10132"/>
              <a:gd name="connsiteX3" fmla="*/ 9808 w 10000"/>
              <a:gd name="connsiteY3" fmla="*/ 0 h 10132"/>
              <a:gd name="connsiteX4" fmla="*/ 10000 w 10000"/>
              <a:gd name="connsiteY4" fmla="*/ 7480 h 10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132">
                <a:moveTo>
                  <a:pt x="10000" y="7480"/>
                </a:moveTo>
                <a:lnTo>
                  <a:pt x="288" y="10132"/>
                </a:lnTo>
                <a:lnTo>
                  <a:pt x="0" y="2143"/>
                </a:lnTo>
                <a:lnTo>
                  <a:pt x="9808" y="0"/>
                </a:lnTo>
                <a:cubicBezTo>
                  <a:pt x="9840" y="2450"/>
                  <a:pt x="9968" y="5030"/>
                  <a:pt x="10000" y="748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20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609600" y="576943"/>
            <a:ext cx="323915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FM LOGISTIC </a:t>
            </a:r>
            <a:r>
              <a:rPr lang="ru-RU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В РОССИИ</a:t>
            </a:r>
            <a:endParaRPr lang="en-US" sz="2000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ru-RU" sz="3000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</a:rPr>
              <a:t>ИСТОРИЯ</a:t>
            </a:r>
          </a:p>
        </p:txBody>
      </p:sp>
      <p:grpSp>
        <p:nvGrpSpPr>
          <p:cNvPr id="129" name="Группа 128"/>
          <p:cNvGrpSpPr/>
          <p:nvPr/>
        </p:nvGrpSpPr>
        <p:grpSpPr>
          <a:xfrm>
            <a:off x="696684" y="576943"/>
            <a:ext cx="3885859" cy="783771"/>
            <a:chOff x="696685" y="576943"/>
            <a:chExt cx="2939144" cy="783771"/>
          </a:xfrm>
        </p:grpSpPr>
        <p:cxnSp>
          <p:nvCxnSpPr>
            <p:cNvPr id="130" name="Прямая соединительная линия 129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Прямая соединительная линия 130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Группа 142"/>
          <p:cNvGrpSpPr/>
          <p:nvPr/>
        </p:nvGrpSpPr>
        <p:grpSpPr>
          <a:xfrm>
            <a:off x="7929947" y="2576509"/>
            <a:ext cx="591353" cy="527897"/>
            <a:chOff x="4738152" y="2576509"/>
            <a:chExt cx="591353" cy="527897"/>
          </a:xfrm>
        </p:grpSpPr>
        <p:grpSp>
          <p:nvGrpSpPr>
            <p:cNvPr id="144" name="Group 4"/>
            <p:cNvGrpSpPr>
              <a:grpSpLocks noChangeAspect="1"/>
            </p:cNvGrpSpPr>
            <p:nvPr/>
          </p:nvGrpSpPr>
          <p:grpSpPr bwMode="auto">
            <a:xfrm>
              <a:off x="4738152" y="2576509"/>
              <a:ext cx="591353" cy="527897"/>
              <a:chOff x="3149" y="573"/>
              <a:chExt cx="1589" cy="1353"/>
            </a:xfrm>
          </p:grpSpPr>
          <p:sp>
            <p:nvSpPr>
              <p:cNvPr id="146" name="Freeform 5"/>
              <p:cNvSpPr>
                <a:spLocks/>
              </p:cNvSpPr>
              <p:nvPr/>
            </p:nvSpPr>
            <p:spPr bwMode="auto">
              <a:xfrm>
                <a:off x="3149" y="853"/>
                <a:ext cx="777" cy="1073"/>
              </a:xfrm>
              <a:custGeom>
                <a:avLst/>
                <a:gdLst>
                  <a:gd name="T0" fmla="*/ 0 w 777"/>
                  <a:gd name="T1" fmla="*/ 641 h 1073"/>
                  <a:gd name="T2" fmla="*/ 777 w 777"/>
                  <a:gd name="T3" fmla="*/ 1073 h 1073"/>
                  <a:gd name="T4" fmla="*/ 777 w 777"/>
                  <a:gd name="T5" fmla="*/ 335 h 1073"/>
                  <a:gd name="T6" fmla="*/ 0 w 777"/>
                  <a:gd name="T7" fmla="*/ 0 h 1073"/>
                  <a:gd name="T8" fmla="*/ 0 w 777"/>
                  <a:gd name="T9" fmla="*/ 641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7" h="1073">
                    <a:moveTo>
                      <a:pt x="0" y="641"/>
                    </a:moveTo>
                    <a:lnTo>
                      <a:pt x="777" y="1073"/>
                    </a:lnTo>
                    <a:lnTo>
                      <a:pt x="777" y="335"/>
                    </a:lnTo>
                    <a:lnTo>
                      <a:pt x="0" y="0"/>
                    </a:lnTo>
                    <a:lnTo>
                      <a:pt x="0" y="641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47" name="Freeform 6"/>
              <p:cNvSpPr>
                <a:spLocks/>
              </p:cNvSpPr>
              <p:nvPr/>
            </p:nvSpPr>
            <p:spPr bwMode="auto">
              <a:xfrm>
                <a:off x="3658" y="1107"/>
                <a:ext cx="249" cy="736"/>
              </a:xfrm>
              <a:custGeom>
                <a:avLst/>
                <a:gdLst>
                  <a:gd name="T0" fmla="*/ 249 w 249"/>
                  <a:gd name="T1" fmla="*/ 736 h 736"/>
                  <a:gd name="T2" fmla="*/ 0 w 249"/>
                  <a:gd name="T3" fmla="*/ 601 h 736"/>
                  <a:gd name="T4" fmla="*/ 0 w 249"/>
                  <a:gd name="T5" fmla="*/ 0 h 736"/>
                  <a:gd name="T6" fmla="*/ 249 w 249"/>
                  <a:gd name="T7" fmla="*/ 114 h 736"/>
                  <a:gd name="T8" fmla="*/ 249 w 249"/>
                  <a:gd name="T9" fmla="*/ 73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736">
                    <a:moveTo>
                      <a:pt x="249" y="736"/>
                    </a:moveTo>
                    <a:lnTo>
                      <a:pt x="0" y="601"/>
                    </a:lnTo>
                    <a:lnTo>
                      <a:pt x="0" y="0"/>
                    </a:lnTo>
                    <a:lnTo>
                      <a:pt x="249" y="114"/>
                    </a:lnTo>
                    <a:lnTo>
                      <a:pt x="249" y="7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48" name="Freeform 7"/>
              <p:cNvSpPr>
                <a:spLocks/>
              </p:cNvSpPr>
              <p:nvPr/>
            </p:nvSpPr>
            <p:spPr bwMode="auto">
              <a:xfrm>
                <a:off x="3401" y="995"/>
                <a:ext cx="188" cy="675"/>
              </a:xfrm>
              <a:custGeom>
                <a:avLst/>
                <a:gdLst>
                  <a:gd name="T0" fmla="*/ 188 w 188"/>
                  <a:gd name="T1" fmla="*/ 675 h 675"/>
                  <a:gd name="T2" fmla="*/ 0 w 188"/>
                  <a:gd name="T3" fmla="*/ 573 h 675"/>
                  <a:gd name="T4" fmla="*/ 0 w 188"/>
                  <a:gd name="T5" fmla="*/ 0 h 675"/>
                  <a:gd name="T6" fmla="*/ 188 w 188"/>
                  <a:gd name="T7" fmla="*/ 84 h 675"/>
                  <a:gd name="T8" fmla="*/ 188 w 188"/>
                  <a:gd name="T9" fmla="*/ 675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8" h="675">
                    <a:moveTo>
                      <a:pt x="188" y="675"/>
                    </a:moveTo>
                    <a:lnTo>
                      <a:pt x="0" y="573"/>
                    </a:lnTo>
                    <a:lnTo>
                      <a:pt x="0" y="0"/>
                    </a:lnTo>
                    <a:lnTo>
                      <a:pt x="188" y="84"/>
                    </a:lnTo>
                    <a:lnTo>
                      <a:pt x="188" y="67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49" name="Freeform 8"/>
              <p:cNvSpPr>
                <a:spLocks/>
              </p:cNvSpPr>
              <p:nvPr/>
            </p:nvSpPr>
            <p:spPr bwMode="auto">
              <a:xfrm>
                <a:off x="3197" y="905"/>
                <a:ext cx="138" cy="627"/>
              </a:xfrm>
              <a:custGeom>
                <a:avLst/>
                <a:gdLst>
                  <a:gd name="T0" fmla="*/ 138 w 138"/>
                  <a:gd name="T1" fmla="*/ 627 h 627"/>
                  <a:gd name="T2" fmla="*/ 0 w 138"/>
                  <a:gd name="T3" fmla="*/ 551 h 627"/>
                  <a:gd name="T4" fmla="*/ 0 w 138"/>
                  <a:gd name="T5" fmla="*/ 0 h 627"/>
                  <a:gd name="T6" fmla="*/ 138 w 138"/>
                  <a:gd name="T7" fmla="*/ 59 h 627"/>
                  <a:gd name="T8" fmla="*/ 138 w 138"/>
                  <a:gd name="T9" fmla="*/ 627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627">
                    <a:moveTo>
                      <a:pt x="138" y="627"/>
                    </a:moveTo>
                    <a:lnTo>
                      <a:pt x="0" y="551"/>
                    </a:lnTo>
                    <a:lnTo>
                      <a:pt x="0" y="0"/>
                    </a:lnTo>
                    <a:lnTo>
                      <a:pt x="138" y="59"/>
                    </a:lnTo>
                    <a:lnTo>
                      <a:pt x="138" y="6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50" name="Freeform 9"/>
              <p:cNvSpPr>
                <a:spLocks/>
              </p:cNvSpPr>
              <p:nvPr/>
            </p:nvSpPr>
            <p:spPr bwMode="auto">
              <a:xfrm>
                <a:off x="3926" y="979"/>
                <a:ext cx="812" cy="947"/>
              </a:xfrm>
              <a:custGeom>
                <a:avLst/>
                <a:gdLst>
                  <a:gd name="T0" fmla="*/ 812 w 812"/>
                  <a:gd name="T1" fmla="*/ 627 h 947"/>
                  <a:gd name="T2" fmla="*/ 0 w 812"/>
                  <a:gd name="T3" fmla="*/ 947 h 947"/>
                  <a:gd name="T4" fmla="*/ 0 w 812"/>
                  <a:gd name="T5" fmla="*/ 209 h 947"/>
                  <a:gd name="T6" fmla="*/ 812 w 812"/>
                  <a:gd name="T7" fmla="*/ 0 h 947"/>
                  <a:gd name="T8" fmla="*/ 812 w 812"/>
                  <a:gd name="T9" fmla="*/ 627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2" h="947">
                    <a:moveTo>
                      <a:pt x="812" y="627"/>
                    </a:moveTo>
                    <a:lnTo>
                      <a:pt x="0" y="947"/>
                    </a:lnTo>
                    <a:lnTo>
                      <a:pt x="0" y="209"/>
                    </a:lnTo>
                    <a:lnTo>
                      <a:pt x="812" y="0"/>
                    </a:lnTo>
                    <a:lnTo>
                      <a:pt x="812" y="627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51" name="Freeform 10"/>
              <p:cNvSpPr>
                <a:spLocks/>
              </p:cNvSpPr>
              <p:nvPr/>
            </p:nvSpPr>
            <p:spPr bwMode="auto">
              <a:xfrm>
                <a:off x="3149" y="573"/>
                <a:ext cx="1247" cy="615"/>
              </a:xfrm>
              <a:custGeom>
                <a:avLst/>
                <a:gdLst>
                  <a:gd name="T0" fmla="*/ 1247 w 1247"/>
                  <a:gd name="T1" fmla="*/ 230 h 615"/>
                  <a:gd name="T2" fmla="*/ 509 w 1247"/>
                  <a:gd name="T3" fmla="*/ 0 h 615"/>
                  <a:gd name="T4" fmla="*/ 0 w 1247"/>
                  <a:gd name="T5" fmla="*/ 280 h 615"/>
                  <a:gd name="T6" fmla="*/ 777 w 1247"/>
                  <a:gd name="T7" fmla="*/ 615 h 615"/>
                  <a:gd name="T8" fmla="*/ 1247 w 1247"/>
                  <a:gd name="T9" fmla="*/ 23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7" h="615">
                    <a:moveTo>
                      <a:pt x="1247" y="230"/>
                    </a:moveTo>
                    <a:lnTo>
                      <a:pt x="509" y="0"/>
                    </a:lnTo>
                    <a:lnTo>
                      <a:pt x="0" y="280"/>
                    </a:lnTo>
                    <a:lnTo>
                      <a:pt x="777" y="615"/>
                    </a:lnTo>
                    <a:lnTo>
                      <a:pt x="1247" y="230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52" name="Freeform 11"/>
              <p:cNvSpPr>
                <a:spLocks/>
              </p:cNvSpPr>
              <p:nvPr/>
            </p:nvSpPr>
            <p:spPr bwMode="auto">
              <a:xfrm>
                <a:off x="3168" y="596"/>
                <a:ext cx="1202" cy="592"/>
              </a:xfrm>
              <a:custGeom>
                <a:avLst/>
                <a:gdLst>
                  <a:gd name="T0" fmla="*/ 758 w 1202"/>
                  <a:gd name="T1" fmla="*/ 592 h 592"/>
                  <a:gd name="T2" fmla="*/ 1202 w 1202"/>
                  <a:gd name="T3" fmla="*/ 228 h 592"/>
                  <a:gd name="T4" fmla="*/ 485 w 1202"/>
                  <a:gd name="T5" fmla="*/ 0 h 592"/>
                  <a:gd name="T6" fmla="*/ 0 w 1202"/>
                  <a:gd name="T7" fmla="*/ 266 h 592"/>
                  <a:gd name="T8" fmla="*/ 758 w 1202"/>
                  <a:gd name="T9" fmla="*/ 592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2" h="592">
                    <a:moveTo>
                      <a:pt x="758" y="592"/>
                    </a:moveTo>
                    <a:lnTo>
                      <a:pt x="1202" y="228"/>
                    </a:lnTo>
                    <a:lnTo>
                      <a:pt x="485" y="0"/>
                    </a:lnTo>
                    <a:lnTo>
                      <a:pt x="0" y="266"/>
                    </a:lnTo>
                    <a:lnTo>
                      <a:pt x="758" y="5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53" name="Freeform 12"/>
              <p:cNvSpPr>
                <a:spLocks/>
              </p:cNvSpPr>
              <p:nvPr/>
            </p:nvSpPr>
            <p:spPr bwMode="auto">
              <a:xfrm>
                <a:off x="3233" y="625"/>
                <a:ext cx="1063" cy="522"/>
              </a:xfrm>
              <a:custGeom>
                <a:avLst/>
                <a:gdLst>
                  <a:gd name="T0" fmla="*/ 669 w 1063"/>
                  <a:gd name="T1" fmla="*/ 522 h 522"/>
                  <a:gd name="T2" fmla="*/ 0 w 1063"/>
                  <a:gd name="T3" fmla="*/ 233 h 522"/>
                  <a:gd name="T4" fmla="*/ 422 w 1063"/>
                  <a:gd name="T5" fmla="*/ 0 h 522"/>
                  <a:gd name="T6" fmla="*/ 1063 w 1063"/>
                  <a:gd name="T7" fmla="*/ 206 h 522"/>
                  <a:gd name="T8" fmla="*/ 669 w 1063"/>
                  <a:gd name="T9" fmla="*/ 522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3" h="522">
                    <a:moveTo>
                      <a:pt x="669" y="522"/>
                    </a:moveTo>
                    <a:lnTo>
                      <a:pt x="0" y="233"/>
                    </a:lnTo>
                    <a:lnTo>
                      <a:pt x="422" y="0"/>
                    </a:lnTo>
                    <a:lnTo>
                      <a:pt x="1063" y="206"/>
                    </a:lnTo>
                    <a:lnTo>
                      <a:pt x="669" y="522"/>
                    </a:lnTo>
                    <a:close/>
                  </a:path>
                </a:pathLst>
              </a:custGeom>
              <a:solidFill>
                <a:srgbClr val="3E9A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156" name="Freeform 13"/>
              <p:cNvSpPr>
                <a:spLocks/>
              </p:cNvSpPr>
              <p:nvPr/>
            </p:nvSpPr>
            <p:spPr bwMode="auto">
              <a:xfrm>
                <a:off x="3926" y="803"/>
                <a:ext cx="812" cy="385"/>
              </a:xfrm>
              <a:custGeom>
                <a:avLst/>
                <a:gdLst>
                  <a:gd name="T0" fmla="*/ 0 w 812"/>
                  <a:gd name="T1" fmla="*/ 385 h 385"/>
                  <a:gd name="T2" fmla="*/ 812 w 812"/>
                  <a:gd name="T3" fmla="*/ 176 h 385"/>
                  <a:gd name="T4" fmla="*/ 470 w 812"/>
                  <a:gd name="T5" fmla="*/ 0 h 385"/>
                  <a:gd name="T6" fmla="*/ 0 w 812"/>
                  <a:gd name="T7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2" h="385">
                    <a:moveTo>
                      <a:pt x="0" y="385"/>
                    </a:moveTo>
                    <a:lnTo>
                      <a:pt x="812" y="176"/>
                    </a:lnTo>
                    <a:lnTo>
                      <a:pt x="470" y="0"/>
                    </a:lnTo>
                    <a:lnTo>
                      <a:pt x="0" y="385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solidFill>
                  <a:srgbClr val="BFBFB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20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145" name="Freeform 6"/>
            <p:cNvSpPr>
              <a:spLocks/>
            </p:cNvSpPr>
            <p:nvPr/>
          </p:nvSpPr>
          <p:spPr bwMode="auto">
            <a:xfrm>
              <a:off x="5124159" y="2802799"/>
              <a:ext cx="155195" cy="239958"/>
            </a:xfrm>
            <a:custGeom>
              <a:avLst/>
              <a:gdLst>
                <a:gd name="T0" fmla="*/ 249 w 249"/>
                <a:gd name="T1" fmla="*/ 736 h 736"/>
                <a:gd name="T2" fmla="*/ 0 w 249"/>
                <a:gd name="T3" fmla="*/ 601 h 736"/>
                <a:gd name="T4" fmla="*/ 0 w 249"/>
                <a:gd name="T5" fmla="*/ 0 h 736"/>
                <a:gd name="T6" fmla="*/ 249 w 249"/>
                <a:gd name="T7" fmla="*/ 114 h 736"/>
                <a:gd name="T8" fmla="*/ 249 w 249"/>
                <a:gd name="T9" fmla="*/ 736 h 736"/>
                <a:gd name="connsiteX0" fmla="*/ 10321 w 10321"/>
                <a:gd name="connsiteY0" fmla="*/ 8451 h 8451"/>
                <a:gd name="connsiteX1" fmla="*/ 321 w 10321"/>
                <a:gd name="connsiteY1" fmla="*/ 6617 h 8451"/>
                <a:gd name="connsiteX2" fmla="*/ 0 w 10321"/>
                <a:gd name="connsiteY2" fmla="*/ 1060 h 8451"/>
                <a:gd name="connsiteX3" fmla="*/ 10321 w 10321"/>
                <a:gd name="connsiteY3" fmla="*/ 0 h 8451"/>
                <a:gd name="connsiteX4" fmla="*/ 10321 w 10321"/>
                <a:gd name="connsiteY4" fmla="*/ 8451 h 8451"/>
                <a:gd name="connsiteX0" fmla="*/ 10000 w 10000"/>
                <a:gd name="connsiteY0" fmla="*/ 10000 h 11045"/>
                <a:gd name="connsiteX1" fmla="*/ 467 w 10000"/>
                <a:gd name="connsiteY1" fmla="*/ 11045 h 11045"/>
                <a:gd name="connsiteX2" fmla="*/ 0 w 10000"/>
                <a:gd name="connsiteY2" fmla="*/ 1254 h 11045"/>
                <a:gd name="connsiteX3" fmla="*/ 10000 w 10000"/>
                <a:gd name="connsiteY3" fmla="*/ 0 h 11045"/>
                <a:gd name="connsiteX4" fmla="*/ 10000 w 10000"/>
                <a:gd name="connsiteY4" fmla="*/ 10000 h 11045"/>
                <a:gd name="connsiteX0" fmla="*/ 10156 w 10156"/>
                <a:gd name="connsiteY0" fmla="*/ 9421 h 11045"/>
                <a:gd name="connsiteX1" fmla="*/ 467 w 10156"/>
                <a:gd name="connsiteY1" fmla="*/ 11045 h 11045"/>
                <a:gd name="connsiteX2" fmla="*/ 0 w 10156"/>
                <a:gd name="connsiteY2" fmla="*/ 1254 h 11045"/>
                <a:gd name="connsiteX3" fmla="*/ 10000 w 10156"/>
                <a:gd name="connsiteY3" fmla="*/ 0 h 11045"/>
                <a:gd name="connsiteX4" fmla="*/ 10156 w 10156"/>
                <a:gd name="connsiteY4" fmla="*/ 9421 h 11045"/>
                <a:gd name="connsiteX0" fmla="*/ 10156 w 16226"/>
                <a:gd name="connsiteY0" fmla="*/ 8328 h 9952"/>
                <a:gd name="connsiteX1" fmla="*/ 467 w 16226"/>
                <a:gd name="connsiteY1" fmla="*/ 9952 h 9952"/>
                <a:gd name="connsiteX2" fmla="*/ 0 w 16226"/>
                <a:gd name="connsiteY2" fmla="*/ 161 h 9952"/>
                <a:gd name="connsiteX3" fmla="*/ 16226 w 16226"/>
                <a:gd name="connsiteY3" fmla="*/ 0 h 9952"/>
                <a:gd name="connsiteX4" fmla="*/ 10156 w 16226"/>
                <a:gd name="connsiteY4" fmla="*/ 8328 h 9952"/>
                <a:gd name="connsiteX0" fmla="*/ 10096 w 10096"/>
                <a:gd name="connsiteY0" fmla="*/ 7205 h 10000"/>
                <a:gd name="connsiteX1" fmla="*/ 288 w 10096"/>
                <a:gd name="connsiteY1" fmla="*/ 10000 h 10000"/>
                <a:gd name="connsiteX2" fmla="*/ 0 w 10096"/>
                <a:gd name="connsiteY2" fmla="*/ 162 h 10000"/>
                <a:gd name="connsiteX3" fmla="*/ 10000 w 10096"/>
                <a:gd name="connsiteY3" fmla="*/ 0 h 10000"/>
                <a:gd name="connsiteX4" fmla="*/ 10096 w 10096"/>
                <a:gd name="connsiteY4" fmla="*/ 7205 h 10000"/>
                <a:gd name="connsiteX0" fmla="*/ 10000 w 10000"/>
                <a:gd name="connsiteY0" fmla="*/ 7205 h 10000"/>
                <a:gd name="connsiteX1" fmla="*/ 192 w 10000"/>
                <a:gd name="connsiteY1" fmla="*/ 10000 h 10000"/>
                <a:gd name="connsiteX2" fmla="*/ 0 w 10000"/>
                <a:gd name="connsiteY2" fmla="*/ 2424 h 10000"/>
                <a:gd name="connsiteX3" fmla="*/ 9904 w 10000"/>
                <a:gd name="connsiteY3" fmla="*/ 0 h 10000"/>
                <a:gd name="connsiteX4" fmla="*/ 10000 w 10000"/>
                <a:gd name="connsiteY4" fmla="*/ 7205 h 10000"/>
                <a:gd name="connsiteX0" fmla="*/ 10000 w 10000"/>
                <a:gd name="connsiteY0" fmla="*/ 7205 h 10000"/>
                <a:gd name="connsiteX1" fmla="*/ 192 w 10000"/>
                <a:gd name="connsiteY1" fmla="*/ 10000 h 10000"/>
                <a:gd name="connsiteX2" fmla="*/ 0 w 10000"/>
                <a:gd name="connsiteY2" fmla="*/ 1972 h 10000"/>
                <a:gd name="connsiteX3" fmla="*/ 9904 w 10000"/>
                <a:gd name="connsiteY3" fmla="*/ 0 h 10000"/>
                <a:gd name="connsiteX4" fmla="*/ 10000 w 10000"/>
                <a:gd name="connsiteY4" fmla="*/ 7205 h 10000"/>
                <a:gd name="connsiteX0" fmla="*/ 10000 w 10000"/>
                <a:gd name="connsiteY0" fmla="*/ 7205 h 9806"/>
                <a:gd name="connsiteX1" fmla="*/ 288 w 10000"/>
                <a:gd name="connsiteY1" fmla="*/ 9806 h 9806"/>
                <a:gd name="connsiteX2" fmla="*/ 0 w 10000"/>
                <a:gd name="connsiteY2" fmla="*/ 1972 h 9806"/>
                <a:gd name="connsiteX3" fmla="*/ 9904 w 10000"/>
                <a:gd name="connsiteY3" fmla="*/ 0 h 9806"/>
                <a:gd name="connsiteX4" fmla="*/ 10000 w 10000"/>
                <a:gd name="connsiteY4" fmla="*/ 7205 h 9806"/>
                <a:gd name="connsiteX0" fmla="*/ 10000 w 10000"/>
                <a:gd name="connsiteY0" fmla="*/ 7480 h 10132"/>
                <a:gd name="connsiteX1" fmla="*/ 288 w 10000"/>
                <a:gd name="connsiteY1" fmla="*/ 10132 h 10132"/>
                <a:gd name="connsiteX2" fmla="*/ 0 w 10000"/>
                <a:gd name="connsiteY2" fmla="*/ 2143 h 10132"/>
                <a:gd name="connsiteX3" fmla="*/ 9808 w 10000"/>
                <a:gd name="connsiteY3" fmla="*/ 0 h 10132"/>
                <a:gd name="connsiteX4" fmla="*/ 10000 w 10000"/>
                <a:gd name="connsiteY4" fmla="*/ 7480 h 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132">
                  <a:moveTo>
                    <a:pt x="10000" y="7480"/>
                  </a:moveTo>
                  <a:lnTo>
                    <a:pt x="288" y="10132"/>
                  </a:lnTo>
                  <a:lnTo>
                    <a:pt x="0" y="2143"/>
                  </a:lnTo>
                  <a:lnTo>
                    <a:pt x="9808" y="0"/>
                  </a:lnTo>
                  <a:cubicBezTo>
                    <a:pt x="9840" y="2450"/>
                    <a:pt x="9968" y="5030"/>
                    <a:pt x="10000" y="74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20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pic>
        <p:nvPicPr>
          <p:cNvPr id="122" name="Image 25"/>
          <p:cNvPicPr preferRelativeResize="0"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10781107" y="2427342"/>
            <a:ext cx="174114" cy="217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Date 4"/>
          <p:cNvSpPr txBox="1"/>
          <p:nvPr/>
        </p:nvSpPr>
        <p:spPr>
          <a:xfrm>
            <a:off x="10750282" y="4108953"/>
            <a:ext cx="1370165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>
              <a:lnSpc>
                <a:spcPct val="80000"/>
              </a:lnSpc>
            </a:pPr>
            <a:r>
              <a:rPr lang="en-GB" sz="1200" b="1" cap="all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2016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24" name="trait4"/>
          <p:cNvCxnSpPr/>
          <p:nvPr/>
        </p:nvCxnSpPr>
        <p:spPr>
          <a:xfrm>
            <a:off x="11435364" y="4329720"/>
            <a:ext cx="0" cy="256643"/>
          </a:xfrm>
          <a:prstGeom prst="line">
            <a:avLst/>
          </a:prstGeom>
          <a:ln w="19050">
            <a:solidFill>
              <a:srgbClr val="007F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Bull1"/>
          <p:cNvSpPr/>
          <p:nvPr/>
        </p:nvSpPr>
        <p:spPr>
          <a:xfrm>
            <a:off x="11372641" y="4891197"/>
            <a:ext cx="148181" cy="148181"/>
          </a:xfrm>
          <a:prstGeom prst="diamond">
            <a:avLst/>
          </a:prstGeom>
          <a:solidFill>
            <a:schemeClr val="bg1"/>
          </a:solidFill>
          <a:ln w="285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126" name="texte 1 naissance"/>
          <p:cNvSpPr/>
          <p:nvPr/>
        </p:nvSpPr>
        <p:spPr>
          <a:xfrm>
            <a:off x="10882043" y="3076400"/>
            <a:ext cx="951831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клад </a:t>
            </a:r>
          </a:p>
          <a:p>
            <a:pPr algn="ctr" defTabSz="342900">
              <a:lnSpc>
                <a:spcPct val="85000"/>
              </a:lnSpc>
            </a:pPr>
            <a:r>
              <a:rPr lang="ru-RU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класса </a:t>
            </a:r>
            <a:r>
              <a:rPr lang="en-GB" sz="900" b="1" i="1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A</a:t>
            </a:r>
          </a:p>
        </p:txBody>
      </p:sp>
      <p:sp>
        <p:nvSpPr>
          <p:cNvPr id="127" name="texte 1 naissance"/>
          <p:cNvSpPr/>
          <p:nvPr/>
        </p:nvSpPr>
        <p:spPr>
          <a:xfrm>
            <a:off x="10871108" y="3309608"/>
            <a:ext cx="973700" cy="21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Ногинск</a:t>
            </a:r>
          </a:p>
        </p:txBody>
      </p:sp>
      <p:grpSp>
        <p:nvGrpSpPr>
          <p:cNvPr id="132" name="Groupe 19"/>
          <p:cNvGrpSpPr/>
          <p:nvPr/>
        </p:nvGrpSpPr>
        <p:grpSpPr>
          <a:xfrm>
            <a:off x="11067017" y="2656022"/>
            <a:ext cx="560218" cy="496680"/>
            <a:chOff x="2312334" y="3934865"/>
            <a:chExt cx="461751" cy="409382"/>
          </a:xfrm>
        </p:grpSpPr>
        <p:sp>
          <p:nvSpPr>
            <p:cNvPr id="133" name="Freeform 5"/>
            <p:cNvSpPr>
              <a:spLocks/>
            </p:cNvSpPr>
            <p:nvPr/>
          </p:nvSpPr>
          <p:spPr bwMode="auto">
            <a:xfrm>
              <a:off x="2334382" y="3934865"/>
              <a:ext cx="437839" cy="368436"/>
            </a:xfrm>
            <a:custGeom>
              <a:avLst/>
              <a:gdLst>
                <a:gd name="T0" fmla="*/ 1594 w 1626"/>
                <a:gd name="T1" fmla="*/ 389 h 1367"/>
                <a:gd name="T2" fmla="*/ 840 w 1626"/>
                <a:gd name="T3" fmla="*/ 9 h 1367"/>
                <a:gd name="T4" fmla="*/ 787 w 1626"/>
                <a:gd name="T5" fmla="*/ 9 h 1367"/>
                <a:gd name="T6" fmla="*/ 33 w 1626"/>
                <a:gd name="T7" fmla="*/ 389 h 1367"/>
                <a:gd name="T8" fmla="*/ 0 w 1626"/>
                <a:gd name="T9" fmla="*/ 441 h 1367"/>
                <a:gd name="T10" fmla="*/ 0 w 1626"/>
                <a:gd name="T11" fmla="*/ 1367 h 1367"/>
                <a:gd name="T12" fmla="*/ 252 w 1626"/>
                <a:gd name="T13" fmla="*/ 1367 h 1367"/>
                <a:gd name="T14" fmla="*/ 252 w 1626"/>
                <a:gd name="T15" fmla="*/ 511 h 1367"/>
                <a:gd name="T16" fmla="*/ 1374 w 1626"/>
                <a:gd name="T17" fmla="*/ 511 h 1367"/>
                <a:gd name="T18" fmla="*/ 1374 w 1626"/>
                <a:gd name="T19" fmla="*/ 1367 h 1367"/>
                <a:gd name="T20" fmla="*/ 1626 w 1626"/>
                <a:gd name="T21" fmla="*/ 1367 h 1367"/>
                <a:gd name="T22" fmla="*/ 1626 w 1626"/>
                <a:gd name="T23" fmla="*/ 441 h 1367"/>
                <a:gd name="T24" fmla="*/ 1594 w 1626"/>
                <a:gd name="T25" fmla="*/ 389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26" h="1367">
                  <a:moveTo>
                    <a:pt x="1594" y="389"/>
                  </a:moveTo>
                  <a:cubicBezTo>
                    <a:pt x="840" y="9"/>
                    <a:pt x="840" y="9"/>
                    <a:pt x="840" y="9"/>
                  </a:cubicBezTo>
                  <a:cubicBezTo>
                    <a:pt x="823" y="0"/>
                    <a:pt x="804" y="0"/>
                    <a:pt x="787" y="9"/>
                  </a:cubicBezTo>
                  <a:cubicBezTo>
                    <a:pt x="33" y="389"/>
                    <a:pt x="33" y="389"/>
                    <a:pt x="33" y="389"/>
                  </a:cubicBezTo>
                  <a:cubicBezTo>
                    <a:pt x="13" y="398"/>
                    <a:pt x="0" y="419"/>
                    <a:pt x="0" y="441"/>
                  </a:cubicBezTo>
                  <a:cubicBezTo>
                    <a:pt x="0" y="1367"/>
                    <a:pt x="0" y="1367"/>
                    <a:pt x="0" y="1367"/>
                  </a:cubicBezTo>
                  <a:cubicBezTo>
                    <a:pt x="252" y="1367"/>
                    <a:pt x="252" y="1367"/>
                    <a:pt x="252" y="1367"/>
                  </a:cubicBezTo>
                  <a:cubicBezTo>
                    <a:pt x="252" y="511"/>
                    <a:pt x="252" y="511"/>
                    <a:pt x="252" y="511"/>
                  </a:cubicBezTo>
                  <a:cubicBezTo>
                    <a:pt x="1374" y="511"/>
                    <a:pt x="1374" y="511"/>
                    <a:pt x="1374" y="511"/>
                  </a:cubicBezTo>
                  <a:cubicBezTo>
                    <a:pt x="1374" y="1367"/>
                    <a:pt x="1374" y="1367"/>
                    <a:pt x="1374" y="1367"/>
                  </a:cubicBezTo>
                  <a:cubicBezTo>
                    <a:pt x="1626" y="1367"/>
                    <a:pt x="1626" y="1367"/>
                    <a:pt x="1626" y="1367"/>
                  </a:cubicBezTo>
                  <a:cubicBezTo>
                    <a:pt x="1626" y="441"/>
                    <a:pt x="1626" y="441"/>
                    <a:pt x="1626" y="441"/>
                  </a:cubicBezTo>
                  <a:cubicBezTo>
                    <a:pt x="1626" y="419"/>
                    <a:pt x="1614" y="398"/>
                    <a:pt x="1594" y="389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2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4" name="texte 2installationce"/>
            <p:cNvSpPr/>
            <p:nvPr/>
          </p:nvSpPr>
          <p:spPr>
            <a:xfrm>
              <a:off x="2312334" y="4095640"/>
              <a:ext cx="461751" cy="248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42900">
                <a:lnSpc>
                  <a:spcPct val="85000"/>
                </a:lnSpc>
              </a:pPr>
              <a:r>
                <a:rPr lang="en-GB" sz="16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  <a:r>
                <a:rPr lang="en-GB" sz="1600" b="1" baseline="30000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st</a:t>
              </a:r>
            </a:p>
          </p:txBody>
        </p:sp>
      </p:grpSp>
      <p:sp>
        <p:nvSpPr>
          <p:cNvPr id="15" name="Прямоугольник 14"/>
          <p:cNvSpPr/>
          <p:nvPr/>
        </p:nvSpPr>
        <p:spPr>
          <a:xfrm>
            <a:off x="20962" y="3249220"/>
            <a:ext cx="1460499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Начало операций </a:t>
            </a:r>
          </a:p>
          <a:p>
            <a:pPr algn="ctr" defTabSz="342900">
              <a:lnSpc>
                <a:spcPct val="85000"/>
              </a:lnSpc>
            </a:pPr>
            <a:r>
              <a:rPr lang="ru-RU" sz="9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в России</a:t>
            </a:r>
            <a:endParaRPr lang="en-GB" sz="900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5192" y="130356"/>
            <a:ext cx="2710179" cy="1971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913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/>
        </p:nvGrpSpPr>
        <p:grpSpPr>
          <a:xfrm>
            <a:off x="95059" y="-142887"/>
            <a:ext cx="11351333" cy="6023972"/>
            <a:chOff x="-230319" y="35424"/>
            <a:chExt cx="11351333" cy="6023972"/>
          </a:xfrm>
        </p:grpSpPr>
        <p:sp>
          <p:nvSpPr>
            <p:cNvPr id="303" name="Прямоугольник 302"/>
            <p:cNvSpPr/>
            <p:nvPr/>
          </p:nvSpPr>
          <p:spPr>
            <a:xfrm>
              <a:off x="-8472" y="2552808"/>
              <a:ext cx="2606379" cy="18815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30000"/>
                </a:lnSpc>
                <a:spcBef>
                  <a:spcPts val="800"/>
                </a:spcBef>
              </a:pPr>
              <a:r>
                <a:rPr lang="ru-RU" sz="1200" spc="-141" dirty="0" err="1">
                  <a:solidFill>
                    <a:srgbClr val="E7E6E6">
                      <a:lumMod val="25000"/>
                    </a:srgbClr>
                  </a:solidFill>
                </a:rPr>
                <a:t>Му</a:t>
              </a:r>
              <a:r>
                <a:rPr lang="ru-RU" sz="1200" spc="-141" dirty="0">
                  <a:solidFill>
                    <a:srgbClr val="E7E6E6">
                      <a:lumMod val="25000"/>
                    </a:srgbClr>
                  </a:solidFill>
                </a:rPr>
                <a:t> </a:t>
              </a:r>
              <a:r>
                <a:rPr lang="ru-RU" sz="1200" spc="-141" dirty="0" err="1">
                  <a:solidFill>
                    <a:srgbClr val="E7E6E6">
                      <a:lumMod val="25000"/>
                    </a:srgbClr>
                  </a:solidFill>
                </a:rPr>
                <a:t>льтиклиентские</a:t>
              </a:r>
              <a:r>
                <a:rPr lang="ru-RU" sz="1200" spc="-141" dirty="0">
                  <a:solidFill>
                    <a:srgbClr val="E7E6E6">
                      <a:lumMod val="25000"/>
                    </a:srgbClr>
                  </a:solidFill>
                </a:rPr>
                <a:t> склады категории </a:t>
              </a:r>
              <a:r>
                <a:rPr lang="en-US" sz="1200" spc="-141" dirty="0">
                  <a:solidFill>
                    <a:srgbClr val="E7E6E6">
                      <a:lumMod val="25000"/>
                    </a:srgbClr>
                  </a:solidFill>
                </a:rPr>
                <a:t>Dry  </a:t>
              </a:r>
            </a:p>
            <a:p>
              <a:pPr>
                <a:lnSpc>
                  <a:spcPct val="130000"/>
                </a:lnSpc>
                <a:spcBef>
                  <a:spcPts val="675"/>
                </a:spcBef>
              </a:pPr>
              <a:r>
                <a:rPr lang="ru-RU" sz="1100" spc="-119" dirty="0" err="1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Мультиклиентские</a:t>
              </a:r>
              <a:r>
                <a:rPr lang="ru-RU" sz="1100" spc="-119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 склады категории  </a:t>
              </a:r>
              <a:r>
                <a:rPr lang="en-US" sz="1100" spc="-119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Fresh </a:t>
              </a:r>
              <a:endParaRPr lang="ru-RU" sz="1100" spc="-119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>
                <a:lnSpc>
                  <a:spcPct val="130000"/>
                </a:lnSpc>
                <a:spcBef>
                  <a:spcPts val="675"/>
                </a:spcBef>
              </a:pPr>
              <a:r>
                <a:rPr lang="ru-RU" sz="1100" spc="-119" dirty="0" err="1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Копакинг</a:t>
              </a:r>
              <a:endParaRPr lang="en-US" sz="1100" spc="-119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>
                <a:lnSpc>
                  <a:spcPct val="130000"/>
                </a:lnSpc>
                <a:spcBef>
                  <a:spcPts val="675"/>
                </a:spcBef>
              </a:pPr>
              <a:r>
                <a:rPr lang="ru-RU" sz="1100" spc="-119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Кросс-док</a:t>
              </a:r>
            </a:p>
            <a:p>
              <a:pPr>
                <a:lnSpc>
                  <a:spcPct val="130000"/>
                </a:lnSpc>
                <a:spcBef>
                  <a:spcPts val="675"/>
                </a:spcBef>
              </a:pPr>
              <a:r>
                <a:rPr lang="ru-RU" sz="1100" spc="-119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Таможня</a:t>
              </a:r>
              <a:endParaRPr lang="en-US" sz="1100" spc="-119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>
                <a:lnSpc>
                  <a:spcPct val="130000"/>
                </a:lnSpc>
                <a:spcBef>
                  <a:spcPts val="675"/>
                </a:spcBef>
              </a:pPr>
              <a:r>
                <a:rPr lang="ru-RU" sz="1100" spc="-119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</a:rPr>
                <a:t>Здравоохранение</a:t>
              </a:r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3551" y="35424"/>
              <a:ext cx="8826911" cy="6023972"/>
            </a:xfrm>
            <a:prstGeom prst="rect">
              <a:avLst/>
            </a:prstGeom>
          </p:spPr>
        </p:pic>
        <p:sp>
          <p:nvSpPr>
            <p:cNvPr id="141" name="Shape 234"/>
            <p:cNvSpPr/>
            <p:nvPr/>
          </p:nvSpPr>
          <p:spPr>
            <a:xfrm>
              <a:off x="2366858" y="2069855"/>
              <a:ext cx="1059811" cy="23896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 algn="r"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Санкт-Петербург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7" name="Shape 240"/>
            <p:cNvSpPr/>
            <p:nvPr/>
          </p:nvSpPr>
          <p:spPr>
            <a:xfrm>
              <a:off x="3206059" y="3619465"/>
              <a:ext cx="513145" cy="2031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Самара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5" name="Shape 243"/>
            <p:cNvSpPr/>
            <p:nvPr/>
          </p:nvSpPr>
          <p:spPr>
            <a:xfrm>
              <a:off x="4799131" y="3401151"/>
              <a:ext cx="985800" cy="2602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Екатеринбург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0" name="Shape 246"/>
            <p:cNvSpPr/>
            <p:nvPr/>
          </p:nvSpPr>
          <p:spPr>
            <a:xfrm>
              <a:off x="1837979" y="3537621"/>
              <a:ext cx="1065006" cy="16353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Ростов-на-Дону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8" name="Shape 249"/>
            <p:cNvSpPr/>
            <p:nvPr/>
          </p:nvSpPr>
          <p:spPr>
            <a:xfrm>
              <a:off x="3507001" y="3993759"/>
              <a:ext cx="764869" cy="1807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Волгоград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6" name="Shape 252"/>
            <p:cNvSpPr/>
            <p:nvPr/>
          </p:nvSpPr>
          <p:spPr>
            <a:xfrm>
              <a:off x="6079856" y="3965356"/>
              <a:ext cx="811995" cy="17763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Новосибир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4" name="Shape 255"/>
            <p:cNvSpPr/>
            <p:nvPr/>
          </p:nvSpPr>
          <p:spPr>
            <a:xfrm>
              <a:off x="8939574" y="3676907"/>
              <a:ext cx="1019512" cy="23364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Хабаров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2" name="Shape 258"/>
            <p:cNvSpPr/>
            <p:nvPr/>
          </p:nvSpPr>
          <p:spPr>
            <a:xfrm>
              <a:off x="10013516" y="4368190"/>
              <a:ext cx="1107498" cy="26355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Владивосто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9" name="Shape 260"/>
            <p:cNvSpPr/>
            <p:nvPr/>
          </p:nvSpPr>
          <p:spPr>
            <a:xfrm>
              <a:off x="4930579" y="3894432"/>
              <a:ext cx="501154" cy="2174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Ом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Shape 264"/>
            <p:cNvSpPr/>
            <p:nvPr/>
          </p:nvSpPr>
          <p:spPr>
            <a:xfrm>
              <a:off x="6768882" y="3644295"/>
              <a:ext cx="735933" cy="2303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Краснояр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6" name="Shape 267"/>
            <p:cNvSpPr/>
            <p:nvPr/>
          </p:nvSpPr>
          <p:spPr>
            <a:xfrm>
              <a:off x="3688227" y="2601208"/>
              <a:ext cx="1403900" cy="2288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b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 algn="ctr">
                <a:defRPr sz="1800"/>
              </a:pPr>
              <a:r>
                <a:rPr lang="ru-RU" sz="1350" b="1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Московская область</a:t>
              </a:r>
              <a:endParaRPr sz="1350" b="1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4" name="Shape 279"/>
            <p:cNvSpPr/>
            <p:nvPr/>
          </p:nvSpPr>
          <p:spPr>
            <a:xfrm>
              <a:off x="3844140" y="3450332"/>
              <a:ext cx="752484" cy="2021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Ульянов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2" name="Freeform 6"/>
            <p:cNvSpPr>
              <a:spLocks/>
            </p:cNvSpPr>
            <p:nvPr/>
          </p:nvSpPr>
          <p:spPr bwMode="auto">
            <a:xfrm rot="10800000" flipV="1">
              <a:off x="2494445" y="2271173"/>
              <a:ext cx="1008587" cy="172399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3" name="Freeform 6"/>
            <p:cNvSpPr>
              <a:spLocks/>
            </p:cNvSpPr>
            <p:nvPr/>
          </p:nvSpPr>
          <p:spPr bwMode="auto">
            <a:xfrm>
              <a:off x="3425017" y="2784516"/>
              <a:ext cx="1577527" cy="373409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6" name="Freeform 6"/>
            <p:cNvSpPr>
              <a:spLocks/>
            </p:cNvSpPr>
            <p:nvPr/>
          </p:nvSpPr>
          <p:spPr bwMode="auto">
            <a:xfrm>
              <a:off x="3821638" y="3635702"/>
              <a:ext cx="602986" cy="96531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7" name="Freeform 6"/>
            <p:cNvSpPr>
              <a:spLocks/>
            </p:cNvSpPr>
            <p:nvPr/>
          </p:nvSpPr>
          <p:spPr bwMode="auto">
            <a:xfrm flipH="1">
              <a:off x="3244360" y="3798383"/>
              <a:ext cx="661849" cy="119403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6" name="Freeform 6"/>
            <p:cNvSpPr>
              <a:spLocks/>
            </p:cNvSpPr>
            <p:nvPr/>
          </p:nvSpPr>
          <p:spPr bwMode="auto">
            <a:xfrm flipV="1">
              <a:off x="3363785" y="4030479"/>
              <a:ext cx="710906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7" name="Freeform 6"/>
            <p:cNvSpPr>
              <a:spLocks/>
            </p:cNvSpPr>
            <p:nvPr/>
          </p:nvSpPr>
          <p:spPr bwMode="auto">
            <a:xfrm flipH="1">
              <a:off x="1873263" y="3718080"/>
              <a:ext cx="990843" cy="21908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8" name="Freeform 6"/>
            <p:cNvSpPr>
              <a:spLocks/>
            </p:cNvSpPr>
            <p:nvPr/>
          </p:nvSpPr>
          <p:spPr bwMode="auto">
            <a:xfrm>
              <a:off x="4785878" y="3615253"/>
              <a:ext cx="861008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9" name="Freeform 6"/>
            <p:cNvSpPr>
              <a:spLocks/>
            </p:cNvSpPr>
            <p:nvPr/>
          </p:nvSpPr>
          <p:spPr bwMode="auto">
            <a:xfrm flipH="1">
              <a:off x="5027513" y="4089076"/>
              <a:ext cx="438731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0" name="Freeform 6"/>
            <p:cNvSpPr>
              <a:spLocks/>
            </p:cNvSpPr>
            <p:nvPr/>
          </p:nvSpPr>
          <p:spPr bwMode="auto">
            <a:xfrm>
              <a:off x="6755336" y="3834051"/>
              <a:ext cx="783648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1" name="Freeform 6"/>
            <p:cNvSpPr>
              <a:spLocks/>
            </p:cNvSpPr>
            <p:nvPr/>
          </p:nvSpPr>
          <p:spPr bwMode="auto">
            <a:xfrm>
              <a:off x="6117658" y="4142991"/>
              <a:ext cx="680390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2" name="Freeform 6"/>
            <p:cNvSpPr>
              <a:spLocks/>
            </p:cNvSpPr>
            <p:nvPr/>
          </p:nvSpPr>
          <p:spPr bwMode="auto">
            <a:xfrm flipH="1">
              <a:off x="9049757" y="3907411"/>
              <a:ext cx="697573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3" name="Freeform 6"/>
            <p:cNvSpPr>
              <a:spLocks/>
            </p:cNvSpPr>
            <p:nvPr/>
          </p:nvSpPr>
          <p:spPr bwMode="auto">
            <a:xfrm>
              <a:off x="9973756" y="4553255"/>
              <a:ext cx="715928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4" name="Shape 249"/>
            <p:cNvSpPr/>
            <p:nvPr/>
          </p:nvSpPr>
          <p:spPr>
            <a:xfrm>
              <a:off x="2465931" y="3106656"/>
              <a:ext cx="516008" cy="16935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Брян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05" name="Freeform 6"/>
            <p:cNvSpPr>
              <a:spLocks/>
            </p:cNvSpPr>
            <p:nvPr/>
          </p:nvSpPr>
          <p:spPr bwMode="auto">
            <a:xfrm flipH="1" flipV="1">
              <a:off x="2339750" y="3132426"/>
              <a:ext cx="624057" cy="164474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13" name="Shape 246"/>
            <p:cNvSpPr/>
            <p:nvPr/>
          </p:nvSpPr>
          <p:spPr>
            <a:xfrm flipH="1">
              <a:off x="1514711" y="3972580"/>
              <a:ext cx="1019182" cy="26765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Новороссий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314" name="Freeform 6"/>
            <p:cNvSpPr>
              <a:spLocks/>
            </p:cNvSpPr>
            <p:nvPr/>
          </p:nvSpPr>
          <p:spPr bwMode="auto">
            <a:xfrm flipH="1" flipV="1">
              <a:off x="1755631" y="4030478"/>
              <a:ext cx="811078" cy="15489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3627365" y="2822661"/>
              <a:ext cx="1183218" cy="158865"/>
              <a:chOff x="660708" y="2247701"/>
              <a:chExt cx="2233240" cy="299846"/>
            </a:xfrm>
          </p:grpSpPr>
          <p:pic>
            <p:nvPicPr>
              <p:cNvPr id="100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0" b="100000" l="0" r="100000">
                            <a14:foregroundMark x1="16456" y1="78481" x2="78481" y2="89873"/>
                            <a14:foregroundMark x1="75949" y1="86076" x2="89873" y2="37975"/>
                            <a14:foregroundMark x1="91139" y1="27848" x2="54430" y2="11392"/>
                            <a14:foregroundMark x1="58228" y1="3797" x2="8861" y2="20253"/>
                            <a14:foregroundMark x1="51899" y1="30380" x2="46835" y2="60759"/>
                            <a14:backgroundMark x1="6329" y1="3797" x2="6329" y2="3797"/>
                            <a14:backgroundMark x1="97468" y1="3797" x2="97468" y2="3797"/>
                            <a14:backgroundMark x1="97468" y1="98734" x2="97468" y2="98734"/>
                            <a14:backgroundMark x1="6329" y1="94937" x2="6329" y2="9493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9915" y="2247701"/>
                <a:ext cx="316524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1" name="Picture 3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0" b="100000" l="0" r="100000">
                            <a14:foregroundMark x1="64474" y1="15789" x2="64474" y2="84211"/>
                            <a14:foregroundMark x1="14474" y1="46053" x2="48684" y2="86842"/>
                            <a14:foregroundMark x1="36842" y1="47368" x2="75000" y2="6710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75002" y="2247701"/>
                <a:ext cx="301587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2" name="Picture 4"/>
              <p:cNvPicPr>
                <a:picLocks noChangeAspect="1" noChangeArrowheads="1"/>
              </p:cNvPicPr>
              <p:nvPr/>
            </p:nvPicPr>
            <p:blipFill>
              <a:blip r:embed="rId8" cstate="print">
                <a:duotone>
                  <a:prstClr val="black"/>
                  <a:srgbClr val="FFC00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4209" y="2247701"/>
                <a:ext cx="305773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3" name="Picture 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0" b="100000" l="0" r="100000">
                            <a14:foregroundMark x1="13158" y1="9211" x2="81579" y2="92105"/>
                            <a14:foregroundMark x1="13158" y1="90789" x2="90789" y2="13158"/>
                            <a14:backgroundMark x1="93421" y1="5263" x2="93421" y2="5263"/>
                            <a14:backgroundMark x1="3947" y1="5263" x2="3947" y2="5263"/>
                            <a14:backgroundMark x1="3947" y1="94737" x2="3947" y2="94737"/>
                            <a14:backgroundMark x1="94737" y1="94737" x2="94737" y2="9473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708" y="2247701"/>
                <a:ext cx="303414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4" name="Picture 10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0" b="100000" l="0" r="100000">
                            <a14:foregroundMark x1="12987" y1="12987" x2="88312" y2="12987"/>
                            <a14:foregroundMark x1="92208" y1="18182" x2="90909" y2="76623"/>
                            <a14:foregroundMark x1="89610" y1="80519" x2="12987" y2="79221"/>
                            <a14:foregroundMark x1="12987" y1="79221" x2="12987" y2="79221"/>
                            <a14:backgroundMark x1="2597" y1="3896" x2="2597" y2="3896"/>
                            <a14:backgroundMark x1="97403" y1="3896" x2="97403" y2="3896"/>
                            <a14:backgroundMark x1="96104" y1="94805" x2="96104" y2="94805"/>
                            <a14:backgroundMark x1="2597" y1="96104" x2="2597" y2="9610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96372" y="2247701"/>
                <a:ext cx="308697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5" name="Picture 5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ackgroundRemoval t="0" b="100000" l="0" r="100000">
                            <a14:foregroundMark x1="12195" y1="15854" x2="85366" y2="86585"/>
                            <a14:foregroundMark x1="12195" y1="89024" x2="85366" y2="7317"/>
                            <a14:foregroundMark x1="89024" y1="12195" x2="89024" y2="84146"/>
                            <a14:backgroundMark x1="97561" y1="4878" x2="97561" y2="4878"/>
                            <a14:backgroundMark x1="4878" y1="4878" x2="4878" y2="4878"/>
                            <a14:backgroundMark x1="97561" y1="96341" x2="97561" y2="96341"/>
                            <a14:backgroundMark x1="3659" y1="92683" x2="3659" y2="9268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7068" y="2247701"/>
                <a:ext cx="326880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5" name="Группа 114"/>
            <p:cNvGrpSpPr/>
            <p:nvPr/>
          </p:nvGrpSpPr>
          <p:grpSpPr>
            <a:xfrm>
              <a:off x="2625774" y="2302433"/>
              <a:ext cx="594652" cy="131345"/>
              <a:chOff x="1339401" y="2247701"/>
              <a:chExt cx="1357528" cy="299846"/>
            </a:xfrm>
          </p:grpSpPr>
          <p:pic>
            <p:nvPicPr>
              <p:cNvPr id="120" name="Picture 2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ackgroundRemoval t="0" b="100000" l="0" r="100000">
                            <a14:foregroundMark x1="16456" y1="78481" x2="78481" y2="89873"/>
                            <a14:foregroundMark x1="75949" y1="86076" x2="89873" y2="37975"/>
                            <a14:foregroundMark x1="91139" y1="27848" x2="54430" y2="11392"/>
                            <a14:foregroundMark x1="58228" y1="3797" x2="8861" y2="20253"/>
                            <a14:foregroundMark x1="51899" y1="30380" x2="46835" y2="60759"/>
                            <a14:backgroundMark x1="6329" y1="3797" x2="6329" y2="3797"/>
                            <a14:backgroundMark x1="97468" y1="3797" x2="97468" y2="3797"/>
                            <a14:backgroundMark x1="97468" y1="98734" x2="97468" y2="98734"/>
                            <a14:backgroundMark x1="6329" y1="94937" x2="6329" y2="9493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88687" y="2247701"/>
                <a:ext cx="316523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1" name="Picture 3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BEBA8EAE-BF5A-486C-A8C5-ECC9F3942E4B}">
                    <a14:imgProps xmlns:a14="http://schemas.microsoft.com/office/drawing/2010/main">
                      <a14:imgLayer r:embed="rId18">
                        <a14:imgEffect>
                          <a14:backgroundRemoval t="0" b="100000" l="0" r="100000">
                            <a14:foregroundMark x1="64474" y1="15789" x2="64474" y2="84211"/>
                            <a14:foregroundMark x1="14474" y1="46053" x2="48684" y2="86842"/>
                            <a14:foregroundMark x1="36842" y1="47368" x2="75000" y2="6710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95343" y="2247701"/>
                <a:ext cx="301586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5" name="Picture 7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BEBA8EAE-BF5A-486C-A8C5-ECC9F3942E4B}">
                    <a14:imgProps xmlns:a14="http://schemas.microsoft.com/office/drawing/2010/main">
                      <a14:imgLayer r:embed="rId20">
                        <a14:imgEffect>
                          <a14:backgroundRemoval t="0" b="100000" l="0" r="100000">
                            <a14:foregroundMark x1="13158" y1="9211" x2="81579" y2="92105"/>
                            <a14:foregroundMark x1="13158" y1="90789" x2="90789" y2="13158"/>
                            <a14:backgroundMark x1="93421" y1="5263" x2="93421" y2="5263"/>
                            <a14:backgroundMark x1="3947" y1="5263" x2="3947" y2="5263"/>
                            <a14:backgroundMark x1="3947" y1="94737" x2="3947" y2="94737"/>
                            <a14:backgroundMark x1="94737" y1="94737" x2="94737" y2="9473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39401" y="2247701"/>
                <a:ext cx="303413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7" name="Picture 10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ackgroundRemoval t="0" b="100000" l="0" r="100000">
                            <a14:foregroundMark x1="12987" y1="12987" x2="88312" y2="12987"/>
                            <a14:foregroundMark x1="92208" y1="18182" x2="90909" y2="76623"/>
                            <a14:foregroundMark x1="89610" y1="80519" x2="12987" y2="79221"/>
                            <a14:foregroundMark x1="12987" y1="79221" x2="12987" y2="79221"/>
                            <a14:backgroundMark x1="2597" y1="3896" x2="2597" y2="3896"/>
                            <a14:backgroundMark x1="97403" y1="3896" x2="97403" y2="3896"/>
                            <a14:backgroundMark x1="96104" y1="94805" x2="96104" y2="94805"/>
                            <a14:backgroundMark x1="2597" y1="96104" x2="2597" y2="96104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45460" y="2247701"/>
                <a:ext cx="308695" cy="29984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170" name="Picture 3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0" b="100000" l="0" r="100000">
                          <a14:foregroundMark x1="64474" y1="15789" x2="64474" y2="84211"/>
                          <a14:foregroundMark x1="14474" y1="46053" x2="48684" y2="86842"/>
                          <a14:foregroundMark x1="36842" y1="47368" x2="75000" y2="6710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1786" y="3335479"/>
              <a:ext cx="1321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6" name="Picture 3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0" b="100000" l="0" r="100000">
                          <a14:foregroundMark x1="64474" y1="15789" x2="64474" y2="84211"/>
                          <a14:foregroundMark x1="14474" y1="46053" x2="48684" y2="86842"/>
                          <a14:foregroundMark x1="36842" y1="47368" x2="75000" y2="6710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9502" y="4229430"/>
              <a:ext cx="1321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8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1000" y="4224496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9" name="Picture 7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0" b="100000" l="0" r="100000">
                          <a14:foregroundMark x1="13158" y1="9211" x2="81579" y2="92105"/>
                          <a14:foregroundMark x1="13158" y1="90789" x2="90789" y2="13158"/>
                          <a14:backgroundMark x1="93421" y1="5263" x2="93421" y2="5263"/>
                          <a14:backgroundMark x1="3947" y1="5263" x2="3947" y2="5263"/>
                          <a14:backgroundMark x1="3947" y1="94737" x2="3947" y2="94737"/>
                          <a14:backgroundMark x1="94737" y1="94737" x2="94737" y2="947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9992" y="3835640"/>
              <a:ext cx="1329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0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1139" y="3835640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1" name="Picture 7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0" b="100000" l="0" r="100000">
                          <a14:foregroundMark x1="13158" y1="9211" x2="81579" y2="92105"/>
                          <a14:foregroundMark x1="13158" y1="90789" x2="90789" y2="13158"/>
                          <a14:backgroundMark x1="93421" y1="5263" x2="93421" y2="5263"/>
                          <a14:backgroundMark x1="3947" y1="5263" x2="3947" y2="5263"/>
                          <a14:backgroundMark x1="3947" y1="94737" x2="3947" y2="94737"/>
                          <a14:backgroundMark x1="94737" y1="94737" x2="94737" y2="947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8146" y="3750526"/>
              <a:ext cx="1329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2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9294" y="3750526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5" name="Picture 7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0" b="100000" l="0" r="100000">
                          <a14:foregroundMark x1="13158" y1="9211" x2="81579" y2="92105"/>
                          <a14:foregroundMark x1="13158" y1="90789" x2="90789" y2="13158"/>
                          <a14:backgroundMark x1="93421" y1="5263" x2="93421" y2="5263"/>
                          <a14:backgroundMark x1="3947" y1="5263" x2="3947" y2="5263"/>
                          <a14:backgroundMark x1="3947" y1="94737" x2="3947" y2="94737"/>
                          <a14:backgroundMark x1="94737" y1="94737" x2="94737" y2="947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3648" y="3674807"/>
              <a:ext cx="1329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6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4795" y="3674807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7" name="Picture 7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0" b="100000" l="0" r="100000">
                          <a14:foregroundMark x1="13158" y1="9211" x2="81579" y2="92105"/>
                          <a14:foregroundMark x1="13158" y1="90789" x2="90789" y2="13158"/>
                          <a14:backgroundMark x1="93421" y1="5263" x2="93421" y2="5263"/>
                          <a14:backgroundMark x1="3947" y1="5263" x2="3947" y2="5263"/>
                          <a14:backgroundMark x1="3947" y1="94737" x2="3947" y2="94737"/>
                          <a14:backgroundMark x1="94737" y1="94737" x2="94737" y2="947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3018" y="3654242"/>
              <a:ext cx="1329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8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4166" y="3654242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9" name="Picture 7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0" b="100000" l="0" r="100000">
                          <a14:foregroundMark x1="13158" y1="9211" x2="81579" y2="92105"/>
                          <a14:foregroundMark x1="13158" y1="90789" x2="90789" y2="13158"/>
                          <a14:backgroundMark x1="93421" y1="5263" x2="93421" y2="5263"/>
                          <a14:backgroundMark x1="3947" y1="5263" x2="3947" y2="5263"/>
                          <a14:backgroundMark x1="3947" y1="94737" x2="3947" y2="94737"/>
                          <a14:backgroundMark x1="94737" y1="94737" x2="94737" y2="947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4986" y="4184593"/>
              <a:ext cx="1329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0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6133" y="4184593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1" name="Picture 7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0" b="100000" l="0" r="100000">
                          <a14:foregroundMark x1="13158" y1="9211" x2="81579" y2="92105"/>
                          <a14:foregroundMark x1="13158" y1="90789" x2="90789" y2="13158"/>
                          <a14:backgroundMark x1="93421" y1="5263" x2="93421" y2="5263"/>
                          <a14:backgroundMark x1="3947" y1="5263" x2="3947" y2="5263"/>
                          <a14:backgroundMark x1="3947" y1="94737" x2="3947" y2="94737"/>
                          <a14:backgroundMark x1="94737" y1="94737" x2="94737" y2="947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40585" y="3942952"/>
              <a:ext cx="1329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2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12618" y="3942952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3" name="Picture 7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0" b="100000" l="0" r="100000">
                          <a14:foregroundMark x1="13158" y1="9211" x2="81579" y2="92105"/>
                          <a14:foregroundMark x1="13158" y1="90789" x2="90789" y2="13158"/>
                          <a14:backgroundMark x1="93421" y1="5263" x2="93421" y2="5263"/>
                          <a14:backgroundMark x1="3947" y1="5263" x2="3947" y2="5263"/>
                          <a14:backgroundMark x1="3947" y1="94737" x2="3947" y2="94737"/>
                          <a14:backgroundMark x1="94737" y1="94737" x2="94737" y2="9473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78766" y="4594187"/>
              <a:ext cx="1329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39913" y="4594187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6696" y="4138102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6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5609" y="3871495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7" name="Shape 249"/>
            <p:cNvSpPr/>
            <p:nvPr/>
          </p:nvSpPr>
          <p:spPr>
            <a:xfrm>
              <a:off x="2416651" y="2630969"/>
              <a:ext cx="698222" cy="15354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568" tIns="38568" rIns="38568" bIns="38568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Смоленск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8" name="Freeform 6"/>
            <p:cNvSpPr>
              <a:spLocks/>
            </p:cNvSpPr>
            <p:nvPr/>
          </p:nvSpPr>
          <p:spPr bwMode="auto">
            <a:xfrm flipH="1">
              <a:off x="2352981" y="2814064"/>
              <a:ext cx="705300" cy="155458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4243" tIns="27122" rIns="54243" bIns="27122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542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199" name="Picture 3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0" b="100000" l="0" r="100000">
                          <a14:foregroundMark x1="64474" y1="15789" x2="64474" y2="84211"/>
                          <a14:foregroundMark x1="14474" y1="46053" x2="48684" y2="86842"/>
                          <a14:foregroundMark x1="36842" y1="47368" x2="75000" y2="6710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3473" y="2847497"/>
              <a:ext cx="1321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7" name="Picture 3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0" b="100000" l="0" r="100000">
                          <a14:foregroundMark x1="64474" y1="15789" x2="64474" y2="84211"/>
                          <a14:foregroundMark x1="14474" y1="46053" x2="48684" y2="86842"/>
                          <a14:foregroundMark x1="36842" y1="47368" x2="75000" y2="6710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0078" y="4596945"/>
              <a:ext cx="132107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7" name="Picture 2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28162" y="3178916"/>
              <a:ext cx="278064" cy="2780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8" name="Picture 3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15041" y="3783663"/>
              <a:ext cx="264943" cy="2649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9" name="Picture 4"/>
            <p:cNvPicPr>
              <a:picLocks noChangeAspect="1" noChangeArrowheads="1"/>
            </p:cNvPicPr>
            <p:nvPr/>
          </p:nvPicPr>
          <p:blipFill>
            <a:blip r:embed="rId25" cstate="print">
              <a:duotone>
                <a:prstClr val="black"/>
                <a:srgbClr val="FFC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29604" y="2894563"/>
              <a:ext cx="268620" cy="268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1" name="Picture 7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23368" y="2603782"/>
              <a:ext cx="266547" cy="266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2" name="Picture 10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21286" y="3483434"/>
              <a:ext cx="271188" cy="271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6" name="Picture 5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30319" y="4076566"/>
              <a:ext cx="287164" cy="287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8" name="Shape 249"/>
            <p:cNvSpPr/>
            <p:nvPr/>
          </p:nvSpPr>
          <p:spPr>
            <a:xfrm>
              <a:off x="2711224" y="4030000"/>
              <a:ext cx="702685" cy="13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2535" tIns="32535" rIns="32535" bIns="32535" numCol="1" anchor="t">
              <a:noAutofit/>
            </a:bodyPr>
            <a:lstStyle>
              <a:lvl1pPr algn="l" defTabSz="914400">
                <a:defRPr sz="1400">
                  <a:latin typeface="Arial Rounded MT Bold"/>
                  <a:ea typeface="Arial Rounded MT Bold"/>
                  <a:cs typeface="Arial Rounded MT Bold"/>
                  <a:sym typeface="Arial Rounded MT Bold"/>
                </a:defRPr>
              </a:lvl1pPr>
            </a:lstStyle>
            <a:p>
              <a:pPr>
                <a:defRPr sz="1800"/>
              </a:pPr>
              <a:r>
                <a:rPr lang="ru-RU" sz="928" dirty="0" smtClean="0">
                  <a:solidFill>
                    <a:prstClr val="black"/>
                  </a:solidFill>
                  <a:latin typeface="Arial" charset="0"/>
                  <a:ea typeface="Arial" charset="0"/>
                  <a:cs typeface="Arial" charset="0"/>
                </a:rPr>
                <a:t>Краснодар</a:t>
              </a:r>
              <a:endParaRPr sz="928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9" name="Freeform 6"/>
            <p:cNvSpPr>
              <a:spLocks/>
            </p:cNvSpPr>
            <p:nvPr/>
          </p:nvSpPr>
          <p:spPr bwMode="auto">
            <a:xfrm flipV="1">
              <a:off x="2656979" y="4064562"/>
              <a:ext cx="599710" cy="130670"/>
            </a:xfrm>
            <a:custGeom>
              <a:avLst/>
              <a:gdLst>
                <a:gd name="T0" fmla="*/ 1554 w 1554"/>
                <a:gd name="T1" fmla="*/ 0 h 159"/>
                <a:gd name="T2" fmla="*/ 157 w 1554"/>
                <a:gd name="T3" fmla="*/ 0 h 159"/>
                <a:gd name="T4" fmla="*/ 0 w 1554"/>
                <a:gd name="T5" fmla="*/ 159 h 159"/>
                <a:gd name="connsiteX0" fmla="*/ 8283 w 8283"/>
                <a:gd name="connsiteY0" fmla="*/ 0 h 10000"/>
                <a:gd name="connsiteX1" fmla="*/ 1010 w 8283"/>
                <a:gd name="connsiteY1" fmla="*/ 0 h 10000"/>
                <a:gd name="connsiteX2" fmla="*/ 0 w 8283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3" h="10000">
                  <a:moveTo>
                    <a:pt x="8283" y="0"/>
                  </a:moveTo>
                  <a:lnTo>
                    <a:pt x="1010" y="0"/>
                  </a:lnTo>
                  <a:cubicBezTo>
                    <a:pt x="673" y="3333"/>
                    <a:pt x="337" y="6667"/>
                    <a:pt x="0" y="10000"/>
                  </a:cubicBezTo>
                </a:path>
              </a:pathLst>
            </a:custGeom>
            <a:noFill/>
            <a:ln w="6350" cap="flat">
              <a:solidFill>
                <a:schemeClr val="tx2"/>
              </a:solidFill>
              <a:prstDash val="solid"/>
              <a:miter lim="800000"/>
              <a:headEnd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59" tIns="22880" rIns="45759" bIns="2288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01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pic>
          <p:nvPicPr>
            <p:cNvPr id="112" name="Picture 10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0" b="100000" l="0" r="100000">
                          <a14:foregroundMark x1="12987" y1="12987" x2="88312" y2="12987"/>
                          <a14:foregroundMark x1="92208" y1="18182" x2="90909" y2="76623"/>
                          <a14:foregroundMark x1="89610" y1="80519" x2="12987" y2="79221"/>
                          <a14:foregroundMark x1="12987" y1="79221" x2="12987" y2="79221"/>
                          <a14:backgroundMark x1="2597" y1="3896" x2="2597" y2="3896"/>
                          <a14:backgroundMark x1="97403" y1="3896" x2="97403" y2="3896"/>
                          <a14:backgroundMark x1="96104" y1="94805" x2="96104" y2="94805"/>
                          <a14:backgroundMark x1="2597" y1="96104" x2="2597" y2="961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7037" y="4224496"/>
              <a:ext cx="135222" cy="131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1" name="Picture 2"/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0783" y="3652433"/>
              <a:ext cx="133154" cy="133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0" name="Picture 2"/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1960" y="3755143"/>
              <a:ext cx="133154" cy="133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6" name="Groupe 770"/>
          <p:cNvGrpSpPr/>
          <p:nvPr/>
        </p:nvGrpSpPr>
        <p:grpSpPr>
          <a:xfrm>
            <a:off x="9347062" y="1938928"/>
            <a:ext cx="988190" cy="343122"/>
            <a:chOff x="7764807" y="3051749"/>
            <a:chExt cx="887456" cy="308144"/>
          </a:xfrm>
        </p:grpSpPr>
        <p:sp>
          <p:nvSpPr>
            <p:cNvPr id="87" name="Freeform 164"/>
            <p:cNvSpPr>
              <a:spLocks/>
            </p:cNvSpPr>
            <p:nvPr/>
          </p:nvSpPr>
          <p:spPr bwMode="auto">
            <a:xfrm>
              <a:off x="8028099" y="3216092"/>
              <a:ext cx="624164" cy="143800"/>
            </a:xfrm>
            <a:custGeom>
              <a:avLst/>
              <a:gdLst>
                <a:gd name="T0" fmla="*/ 0 w 770"/>
                <a:gd name="T1" fmla="*/ 177 h 177"/>
                <a:gd name="T2" fmla="*/ 33 w 770"/>
                <a:gd name="T3" fmla="*/ 168 h 177"/>
                <a:gd name="T4" fmla="*/ 120 w 770"/>
                <a:gd name="T5" fmla="*/ 147 h 177"/>
                <a:gd name="T6" fmla="*/ 243 w 770"/>
                <a:gd name="T7" fmla="*/ 118 h 177"/>
                <a:gd name="T8" fmla="*/ 384 w 770"/>
                <a:gd name="T9" fmla="*/ 85 h 177"/>
                <a:gd name="T10" fmla="*/ 525 w 770"/>
                <a:gd name="T11" fmla="*/ 53 h 177"/>
                <a:gd name="T12" fmla="*/ 648 w 770"/>
                <a:gd name="T13" fmla="*/ 26 h 177"/>
                <a:gd name="T14" fmla="*/ 769 w 770"/>
                <a:gd name="T15" fmla="*/ 0 h 177"/>
                <a:gd name="T16" fmla="*/ 770 w 770"/>
                <a:gd name="T17" fmla="*/ 6 h 177"/>
                <a:gd name="T18" fmla="*/ 650 w 770"/>
                <a:gd name="T19" fmla="*/ 35 h 177"/>
                <a:gd name="T20" fmla="*/ 527 w 770"/>
                <a:gd name="T21" fmla="*/ 63 h 177"/>
                <a:gd name="T22" fmla="*/ 386 w 770"/>
                <a:gd name="T23" fmla="*/ 94 h 177"/>
                <a:gd name="T24" fmla="*/ 244 w 770"/>
                <a:gd name="T25" fmla="*/ 125 h 177"/>
                <a:gd name="T26" fmla="*/ 121 w 770"/>
                <a:gd name="T27" fmla="*/ 152 h 177"/>
                <a:gd name="T28" fmla="*/ 33 w 770"/>
                <a:gd name="T29" fmla="*/ 170 h 177"/>
                <a:gd name="T30" fmla="*/ 0 w 770"/>
                <a:gd name="T31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0" h="177">
                  <a:moveTo>
                    <a:pt x="0" y="177"/>
                  </a:moveTo>
                  <a:cubicBezTo>
                    <a:pt x="0" y="177"/>
                    <a:pt x="12" y="174"/>
                    <a:pt x="33" y="168"/>
                  </a:cubicBezTo>
                  <a:cubicBezTo>
                    <a:pt x="54" y="163"/>
                    <a:pt x="84" y="156"/>
                    <a:pt x="120" y="147"/>
                  </a:cubicBezTo>
                  <a:cubicBezTo>
                    <a:pt x="156" y="139"/>
                    <a:pt x="198" y="129"/>
                    <a:pt x="243" y="118"/>
                  </a:cubicBezTo>
                  <a:cubicBezTo>
                    <a:pt x="288" y="108"/>
                    <a:pt x="336" y="96"/>
                    <a:pt x="384" y="85"/>
                  </a:cubicBezTo>
                  <a:cubicBezTo>
                    <a:pt x="432" y="74"/>
                    <a:pt x="480" y="64"/>
                    <a:pt x="525" y="53"/>
                  </a:cubicBezTo>
                  <a:cubicBezTo>
                    <a:pt x="570" y="43"/>
                    <a:pt x="612" y="34"/>
                    <a:pt x="648" y="26"/>
                  </a:cubicBezTo>
                  <a:cubicBezTo>
                    <a:pt x="720" y="10"/>
                    <a:pt x="769" y="0"/>
                    <a:pt x="769" y="0"/>
                  </a:cubicBezTo>
                  <a:cubicBezTo>
                    <a:pt x="770" y="6"/>
                    <a:pt x="770" y="6"/>
                    <a:pt x="770" y="6"/>
                  </a:cubicBezTo>
                  <a:cubicBezTo>
                    <a:pt x="770" y="6"/>
                    <a:pt x="722" y="18"/>
                    <a:pt x="650" y="35"/>
                  </a:cubicBezTo>
                  <a:cubicBezTo>
                    <a:pt x="614" y="43"/>
                    <a:pt x="572" y="53"/>
                    <a:pt x="527" y="63"/>
                  </a:cubicBezTo>
                  <a:cubicBezTo>
                    <a:pt x="482" y="73"/>
                    <a:pt x="434" y="84"/>
                    <a:pt x="386" y="94"/>
                  </a:cubicBezTo>
                  <a:cubicBezTo>
                    <a:pt x="338" y="105"/>
                    <a:pt x="289" y="116"/>
                    <a:pt x="244" y="125"/>
                  </a:cubicBezTo>
                  <a:cubicBezTo>
                    <a:pt x="199" y="135"/>
                    <a:pt x="157" y="144"/>
                    <a:pt x="121" y="152"/>
                  </a:cubicBezTo>
                  <a:cubicBezTo>
                    <a:pt x="85" y="159"/>
                    <a:pt x="55" y="165"/>
                    <a:pt x="33" y="170"/>
                  </a:cubicBezTo>
                  <a:cubicBezTo>
                    <a:pt x="12" y="174"/>
                    <a:pt x="0" y="177"/>
                    <a:pt x="0" y="1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8804" tIns="24402" rIns="48804" bIns="24402" numCol="1" anchor="t" anchorCtr="0" compatLnSpc="1">
              <a:prstTxWarp prst="textNoShape">
                <a:avLst/>
              </a:prstTxWarp>
            </a:bodyPr>
            <a:lstStyle/>
            <a:p>
              <a:endParaRPr lang="fr-FR" sz="961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8" name="Freeform 166"/>
            <p:cNvSpPr>
              <a:spLocks/>
            </p:cNvSpPr>
            <p:nvPr/>
          </p:nvSpPr>
          <p:spPr bwMode="auto">
            <a:xfrm>
              <a:off x="7764807" y="3051749"/>
              <a:ext cx="615261" cy="308144"/>
            </a:xfrm>
            <a:custGeom>
              <a:avLst/>
              <a:gdLst>
                <a:gd name="T0" fmla="*/ 759 w 759"/>
                <a:gd name="T1" fmla="*/ 0 h 380"/>
                <a:gd name="T2" fmla="*/ 665 w 759"/>
                <a:gd name="T3" fmla="*/ 21 h 380"/>
                <a:gd name="T4" fmla="*/ 570 w 759"/>
                <a:gd name="T5" fmla="*/ 40 h 380"/>
                <a:gd name="T6" fmla="*/ 475 w 759"/>
                <a:gd name="T7" fmla="*/ 59 h 380"/>
                <a:gd name="T8" fmla="*/ 380 w 759"/>
                <a:gd name="T9" fmla="*/ 78 h 380"/>
                <a:gd name="T10" fmla="*/ 285 w 759"/>
                <a:gd name="T11" fmla="*/ 96 h 380"/>
                <a:gd name="T12" fmla="*/ 190 w 759"/>
                <a:gd name="T13" fmla="*/ 114 h 380"/>
                <a:gd name="T14" fmla="*/ 95 w 759"/>
                <a:gd name="T15" fmla="*/ 131 h 380"/>
                <a:gd name="T16" fmla="*/ 0 w 759"/>
                <a:gd name="T17" fmla="*/ 147 h 380"/>
                <a:gd name="T18" fmla="*/ 0 w 759"/>
                <a:gd name="T19" fmla="*/ 147 h 380"/>
                <a:gd name="T20" fmla="*/ 21 w 759"/>
                <a:gd name="T21" fmla="*/ 160 h 380"/>
                <a:gd name="T22" fmla="*/ 42 w 759"/>
                <a:gd name="T23" fmla="*/ 174 h 380"/>
                <a:gd name="T24" fmla="*/ 83 w 759"/>
                <a:gd name="T25" fmla="*/ 202 h 380"/>
                <a:gd name="T26" fmla="*/ 124 w 759"/>
                <a:gd name="T27" fmla="*/ 231 h 380"/>
                <a:gd name="T28" fmla="*/ 165 w 759"/>
                <a:gd name="T29" fmla="*/ 260 h 380"/>
                <a:gd name="T30" fmla="*/ 246 w 759"/>
                <a:gd name="T31" fmla="*/ 319 h 380"/>
                <a:gd name="T32" fmla="*/ 266 w 759"/>
                <a:gd name="T33" fmla="*/ 334 h 380"/>
                <a:gd name="T34" fmla="*/ 286 w 759"/>
                <a:gd name="T35" fmla="*/ 349 h 380"/>
                <a:gd name="T36" fmla="*/ 325 w 759"/>
                <a:gd name="T37" fmla="*/ 380 h 380"/>
                <a:gd name="T38" fmla="*/ 283 w 759"/>
                <a:gd name="T39" fmla="*/ 352 h 380"/>
                <a:gd name="T40" fmla="*/ 263 w 759"/>
                <a:gd name="T41" fmla="*/ 338 h 380"/>
                <a:gd name="T42" fmla="*/ 242 w 759"/>
                <a:gd name="T43" fmla="*/ 324 h 380"/>
                <a:gd name="T44" fmla="*/ 160 w 759"/>
                <a:gd name="T45" fmla="*/ 267 h 380"/>
                <a:gd name="T46" fmla="*/ 119 w 759"/>
                <a:gd name="T47" fmla="*/ 237 h 380"/>
                <a:gd name="T48" fmla="*/ 79 w 759"/>
                <a:gd name="T49" fmla="*/ 208 h 380"/>
                <a:gd name="T50" fmla="*/ 39 w 759"/>
                <a:gd name="T51" fmla="*/ 178 h 380"/>
                <a:gd name="T52" fmla="*/ 19 w 759"/>
                <a:gd name="T53" fmla="*/ 162 h 380"/>
                <a:gd name="T54" fmla="*/ 0 w 759"/>
                <a:gd name="T55" fmla="*/ 147 h 380"/>
                <a:gd name="T56" fmla="*/ 0 w 759"/>
                <a:gd name="T57" fmla="*/ 147 h 380"/>
                <a:gd name="T58" fmla="*/ 94 w 759"/>
                <a:gd name="T59" fmla="*/ 126 h 380"/>
                <a:gd name="T60" fmla="*/ 189 w 759"/>
                <a:gd name="T61" fmla="*/ 106 h 380"/>
                <a:gd name="T62" fmla="*/ 284 w 759"/>
                <a:gd name="T63" fmla="*/ 87 h 380"/>
                <a:gd name="T64" fmla="*/ 379 w 759"/>
                <a:gd name="T65" fmla="*/ 69 h 380"/>
                <a:gd name="T66" fmla="*/ 474 w 759"/>
                <a:gd name="T67" fmla="*/ 51 h 380"/>
                <a:gd name="T68" fmla="*/ 569 w 759"/>
                <a:gd name="T69" fmla="*/ 33 h 380"/>
                <a:gd name="T70" fmla="*/ 664 w 759"/>
                <a:gd name="T71" fmla="*/ 16 h 380"/>
                <a:gd name="T72" fmla="*/ 759 w 759"/>
                <a:gd name="T73" fmla="*/ 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9" h="380">
                  <a:moveTo>
                    <a:pt x="759" y="0"/>
                  </a:moveTo>
                  <a:cubicBezTo>
                    <a:pt x="728" y="7"/>
                    <a:pt x="696" y="14"/>
                    <a:pt x="665" y="21"/>
                  </a:cubicBezTo>
                  <a:cubicBezTo>
                    <a:pt x="570" y="40"/>
                    <a:pt x="570" y="40"/>
                    <a:pt x="570" y="40"/>
                  </a:cubicBezTo>
                  <a:cubicBezTo>
                    <a:pt x="538" y="47"/>
                    <a:pt x="507" y="53"/>
                    <a:pt x="475" y="59"/>
                  </a:cubicBezTo>
                  <a:cubicBezTo>
                    <a:pt x="380" y="78"/>
                    <a:pt x="380" y="78"/>
                    <a:pt x="380" y="78"/>
                  </a:cubicBezTo>
                  <a:cubicBezTo>
                    <a:pt x="285" y="96"/>
                    <a:pt x="285" y="96"/>
                    <a:pt x="285" y="96"/>
                  </a:cubicBezTo>
                  <a:cubicBezTo>
                    <a:pt x="254" y="102"/>
                    <a:pt x="222" y="108"/>
                    <a:pt x="190" y="114"/>
                  </a:cubicBezTo>
                  <a:cubicBezTo>
                    <a:pt x="95" y="131"/>
                    <a:pt x="95" y="131"/>
                    <a:pt x="95" y="131"/>
                  </a:cubicBezTo>
                  <a:cubicBezTo>
                    <a:pt x="63" y="136"/>
                    <a:pt x="32" y="142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7" y="151"/>
                    <a:pt x="14" y="156"/>
                    <a:pt x="21" y="160"/>
                  </a:cubicBezTo>
                  <a:cubicBezTo>
                    <a:pt x="42" y="174"/>
                    <a:pt x="42" y="174"/>
                    <a:pt x="42" y="174"/>
                  </a:cubicBezTo>
                  <a:cubicBezTo>
                    <a:pt x="83" y="202"/>
                    <a:pt x="83" y="202"/>
                    <a:pt x="83" y="202"/>
                  </a:cubicBezTo>
                  <a:cubicBezTo>
                    <a:pt x="124" y="231"/>
                    <a:pt x="124" y="231"/>
                    <a:pt x="124" y="231"/>
                  </a:cubicBezTo>
                  <a:cubicBezTo>
                    <a:pt x="138" y="240"/>
                    <a:pt x="152" y="250"/>
                    <a:pt x="165" y="260"/>
                  </a:cubicBezTo>
                  <a:cubicBezTo>
                    <a:pt x="192" y="279"/>
                    <a:pt x="219" y="299"/>
                    <a:pt x="246" y="319"/>
                  </a:cubicBezTo>
                  <a:cubicBezTo>
                    <a:pt x="266" y="334"/>
                    <a:pt x="266" y="334"/>
                    <a:pt x="266" y="334"/>
                  </a:cubicBezTo>
                  <a:cubicBezTo>
                    <a:pt x="272" y="339"/>
                    <a:pt x="279" y="344"/>
                    <a:pt x="286" y="349"/>
                  </a:cubicBezTo>
                  <a:cubicBezTo>
                    <a:pt x="299" y="359"/>
                    <a:pt x="312" y="369"/>
                    <a:pt x="325" y="380"/>
                  </a:cubicBezTo>
                  <a:cubicBezTo>
                    <a:pt x="311" y="371"/>
                    <a:pt x="297" y="361"/>
                    <a:pt x="283" y="352"/>
                  </a:cubicBezTo>
                  <a:cubicBezTo>
                    <a:pt x="276" y="347"/>
                    <a:pt x="270" y="343"/>
                    <a:pt x="263" y="338"/>
                  </a:cubicBezTo>
                  <a:cubicBezTo>
                    <a:pt x="242" y="324"/>
                    <a:pt x="242" y="324"/>
                    <a:pt x="242" y="324"/>
                  </a:cubicBezTo>
                  <a:cubicBezTo>
                    <a:pt x="214" y="305"/>
                    <a:pt x="187" y="286"/>
                    <a:pt x="160" y="267"/>
                  </a:cubicBezTo>
                  <a:cubicBezTo>
                    <a:pt x="146" y="257"/>
                    <a:pt x="133" y="247"/>
                    <a:pt x="119" y="237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39" y="178"/>
                    <a:pt x="39" y="178"/>
                    <a:pt x="39" y="178"/>
                  </a:cubicBezTo>
                  <a:cubicBezTo>
                    <a:pt x="19" y="162"/>
                    <a:pt x="19" y="162"/>
                    <a:pt x="19" y="162"/>
                  </a:cubicBezTo>
                  <a:cubicBezTo>
                    <a:pt x="13" y="157"/>
                    <a:pt x="6" y="152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31" y="139"/>
                    <a:pt x="63" y="133"/>
                    <a:pt x="94" y="126"/>
                  </a:cubicBezTo>
                  <a:cubicBezTo>
                    <a:pt x="189" y="106"/>
                    <a:pt x="189" y="106"/>
                    <a:pt x="189" y="106"/>
                  </a:cubicBezTo>
                  <a:cubicBezTo>
                    <a:pt x="220" y="100"/>
                    <a:pt x="252" y="94"/>
                    <a:pt x="284" y="87"/>
                  </a:cubicBezTo>
                  <a:cubicBezTo>
                    <a:pt x="379" y="69"/>
                    <a:pt x="379" y="69"/>
                    <a:pt x="379" y="69"/>
                  </a:cubicBezTo>
                  <a:cubicBezTo>
                    <a:pt x="474" y="51"/>
                    <a:pt x="474" y="51"/>
                    <a:pt x="474" y="51"/>
                  </a:cubicBezTo>
                  <a:cubicBezTo>
                    <a:pt x="505" y="45"/>
                    <a:pt x="537" y="39"/>
                    <a:pt x="569" y="33"/>
                  </a:cubicBezTo>
                  <a:cubicBezTo>
                    <a:pt x="664" y="16"/>
                    <a:pt x="664" y="16"/>
                    <a:pt x="664" y="16"/>
                  </a:cubicBezTo>
                  <a:cubicBezTo>
                    <a:pt x="696" y="11"/>
                    <a:pt x="727" y="5"/>
                    <a:pt x="7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8804" tIns="24402" rIns="48804" bIns="24402" numCol="1" anchor="t" anchorCtr="0" compatLnSpc="1">
              <a:prstTxWarp prst="textNoShape">
                <a:avLst/>
              </a:prstTxWarp>
            </a:bodyPr>
            <a:lstStyle/>
            <a:p>
              <a:endParaRPr lang="fr-FR" sz="961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75" name="Прямоугольник 74"/>
          <p:cNvSpPr/>
          <p:nvPr/>
        </p:nvSpPr>
        <p:spPr>
          <a:xfrm>
            <a:off x="-71780" y="4714742"/>
            <a:ext cx="12220618" cy="1502397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18">
              <a:solidFill>
                <a:prstClr val="white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6" name="TextBox 18"/>
          <p:cNvSpPr txBox="1"/>
          <p:nvPr/>
        </p:nvSpPr>
        <p:spPr>
          <a:xfrm>
            <a:off x="1360482" y="6089541"/>
            <a:ext cx="3171451" cy="523220"/>
          </a:xfrm>
          <a:prstGeom prst="rect">
            <a:avLst/>
          </a:prstGeom>
          <a:noFill/>
          <a:ln>
            <a:noFill/>
          </a:ln>
        </p:spPr>
        <p:txBody>
          <a:bodyPr wrap="square" tIns="0" rIns="0" bIns="0" rtlCol="0" anchor="ctr">
            <a:spAutoFit/>
          </a:bodyPr>
          <a:lstStyle/>
          <a:p>
            <a:pPr algn="r"/>
            <a:r>
              <a:rPr lang="en-US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730,0</a:t>
            </a:r>
            <a:r>
              <a:rPr lang="ru-RU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0</a:t>
            </a:r>
            <a:r>
              <a:rPr lang="en-GB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0 </a:t>
            </a:r>
            <a:r>
              <a:rPr lang="ru-RU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м</a:t>
            </a:r>
            <a:r>
              <a:rPr lang="ru-RU" sz="2000" b="1" spc="-119" baseline="30000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2</a:t>
            </a:r>
            <a:r>
              <a:rPr lang="en-GB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 algn="r"/>
            <a:r>
              <a:rPr lang="ru-RU" sz="1400" spc="-119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от Санкт-Петербурга до Владивостока</a:t>
            </a:r>
          </a:p>
        </p:txBody>
      </p:sp>
      <p:sp>
        <p:nvSpPr>
          <p:cNvPr id="84" name="Прямоугольник 35"/>
          <p:cNvSpPr/>
          <p:nvPr/>
        </p:nvSpPr>
        <p:spPr>
          <a:xfrm>
            <a:off x="2000218" y="4898057"/>
            <a:ext cx="253171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altLang="zh-CN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1</a:t>
            </a:r>
            <a:r>
              <a:rPr lang="ru-RU" altLang="zh-CN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5</a:t>
            </a:r>
            <a:r>
              <a:rPr lang="en-US" altLang="zh-CN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,</a:t>
            </a:r>
            <a:r>
              <a:rPr lang="ru-RU" altLang="zh-CN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6</a:t>
            </a:r>
            <a:r>
              <a:rPr lang="ru-RU" altLang="zh-CN" sz="2000" b="1" spc="-100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altLang="zh-CN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млрд руб. </a:t>
            </a:r>
          </a:p>
          <a:p>
            <a:pPr algn="r">
              <a:defRPr/>
            </a:pPr>
            <a:r>
              <a:rPr lang="ru-RU" altLang="zh-CN" sz="1400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(фин. год  2015-2016)</a:t>
            </a:r>
            <a:endParaRPr lang="ru-RU" sz="1050" spc="-119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5" name="TextBox 18"/>
          <p:cNvSpPr txBox="1"/>
          <p:nvPr/>
        </p:nvSpPr>
        <p:spPr>
          <a:xfrm>
            <a:off x="3576671" y="5539966"/>
            <a:ext cx="955262" cy="523220"/>
          </a:xfrm>
          <a:prstGeom prst="rect">
            <a:avLst/>
          </a:prstGeom>
          <a:noFill/>
          <a:ln>
            <a:noFill/>
          </a:ln>
        </p:spPr>
        <p:txBody>
          <a:bodyPr wrap="none" tIns="0" rIns="0" bIns="0" rtlCol="0" anchor="ctr">
            <a:spAutoFit/>
          </a:bodyPr>
          <a:lstStyle/>
          <a:p>
            <a:pPr algn="r"/>
            <a:r>
              <a:rPr lang="en-US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8</a:t>
            </a:r>
            <a:r>
              <a:rPr lang="en-GB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,</a:t>
            </a:r>
            <a:r>
              <a:rPr lang="en-US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00</a:t>
            </a:r>
            <a:r>
              <a:rPr lang="en-GB" sz="2000" b="1" spc="-119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0 </a:t>
            </a:r>
          </a:p>
          <a:p>
            <a:pPr algn="r"/>
            <a:r>
              <a:rPr lang="ru-RU" sz="1400" spc="-119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</a:rPr>
              <a:t>сотрудников</a:t>
            </a:r>
            <a:endParaRPr lang="en-GB" sz="1400" b="1" spc="-119" baseline="30000" dirty="0">
              <a:solidFill>
                <a:srgbClr val="E7E6E6">
                  <a:lumMod val="25000"/>
                </a:srgb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Arial" charset="0"/>
                <a:cs typeface="Arial" charset="0"/>
              </a:rPr>
              <a:pPr/>
              <a:t>4</a:t>
            </a:fld>
            <a:endParaRPr lang="fr-FR" dirty="0">
              <a:solidFill>
                <a:prstClr val="black">
                  <a:tint val="75000"/>
                </a:prst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609600" y="576943"/>
            <a:ext cx="525156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FM LOGISTIC</a:t>
            </a:r>
            <a:r>
              <a:rPr lang="ru-RU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 В РОССИИ</a:t>
            </a:r>
            <a:endParaRPr lang="en-US" sz="2000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ru-RU" sz="3000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</a:rPr>
              <a:t>КЛЮЧЕВЫЕ ПОКАЗАТЕЛИ</a:t>
            </a:r>
            <a:endParaRPr lang="en-US" sz="3000" b="1" dirty="0">
              <a:solidFill>
                <a:srgbClr val="3E9ACC"/>
              </a:solidFill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117" name="Группа 116"/>
          <p:cNvGrpSpPr/>
          <p:nvPr/>
        </p:nvGrpSpPr>
        <p:grpSpPr>
          <a:xfrm>
            <a:off x="696685" y="576943"/>
            <a:ext cx="3863488" cy="783771"/>
            <a:chOff x="696685" y="576943"/>
            <a:chExt cx="2939144" cy="783771"/>
          </a:xfrm>
        </p:grpSpPr>
        <p:cxnSp>
          <p:nvCxnSpPr>
            <p:cNvPr id="123" name="Прямая соединительная линия 122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Прямая соединительная линия 128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31" name="Диаграмма 130"/>
          <p:cNvGraphicFramePr/>
          <p:nvPr>
            <p:extLst/>
          </p:nvPr>
        </p:nvGraphicFramePr>
        <p:xfrm>
          <a:off x="5468427" y="4722449"/>
          <a:ext cx="2479583" cy="1635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graphicFrame>
        <p:nvGraphicFramePr>
          <p:cNvPr id="132" name="Диаграмма 131"/>
          <p:cNvGraphicFramePr/>
          <p:nvPr>
            <p:extLst/>
          </p:nvPr>
        </p:nvGraphicFramePr>
        <p:xfrm>
          <a:off x="7788915" y="4867978"/>
          <a:ext cx="2301118" cy="1559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134" name="Shape 96"/>
          <p:cNvSpPr/>
          <p:nvPr/>
        </p:nvSpPr>
        <p:spPr>
          <a:xfrm>
            <a:off x="6290959" y="5433456"/>
            <a:ext cx="938431" cy="718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pPr algn="ctr" defTabSz="1028492">
              <a:defRPr sz="1800"/>
            </a:pPr>
            <a:r>
              <a:rPr lang="en-US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68</a:t>
            </a:r>
            <a:r>
              <a:rPr sz="1518" b="1" spc="-146" baseline="300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%</a:t>
            </a:r>
          </a:p>
        </p:txBody>
      </p:sp>
      <p:sp>
        <p:nvSpPr>
          <p:cNvPr id="136" name="Shape 96"/>
          <p:cNvSpPr/>
          <p:nvPr/>
        </p:nvSpPr>
        <p:spPr>
          <a:xfrm>
            <a:off x="8495944" y="5433399"/>
            <a:ext cx="938431" cy="718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pPr algn="ctr" defTabSz="1028492">
              <a:defRPr sz="1800"/>
            </a:pPr>
            <a:r>
              <a:rPr lang="en-US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2</a:t>
            </a:r>
            <a:r>
              <a:rPr lang="ru-RU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8</a:t>
            </a:r>
            <a:r>
              <a:rPr sz="1518" b="1" spc="-146" baseline="300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%</a:t>
            </a:r>
          </a:p>
        </p:txBody>
      </p:sp>
      <p:pic>
        <p:nvPicPr>
          <p:cNvPr id="140" name="Image 25"/>
          <p:cNvPicPr preferRelativeResize="0">
            <a:picLocks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4751061" y="4847370"/>
            <a:ext cx="88189" cy="1713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" name="Picture 4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82402" y="2113150"/>
            <a:ext cx="149551" cy="146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6" name="Freeform 6"/>
          <p:cNvSpPr>
            <a:spLocks/>
          </p:cNvSpPr>
          <p:nvPr/>
        </p:nvSpPr>
        <p:spPr bwMode="auto">
          <a:xfrm>
            <a:off x="4038691" y="2964235"/>
            <a:ext cx="646838" cy="163911"/>
          </a:xfrm>
          <a:custGeom>
            <a:avLst/>
            <a:gdLst>
              <a:gd name="T0" fmla="*/ 1554 w 1554"/>
              <a:gd name="T1" fmla="*/ 0 h 159"/>
              <a:gd name="T2" fmla="*/ 157 w 1554"/>
              <a:gd name="T3" fmla="*/ 0 h 159"/>
              <a:gd name="T4" fmla="*/ 0 w 1554"/>
              <a:gd name="T5" fmla="*/ 159 h 159"/>
              <a:gd name="connsiteX0" fmla="*/ 8283 w 8283"/>
              <a:gd name="connsiteY0" fmla="*/ 0 h 10000"/>
              <a:gd name="connsiteX1" fmla="*/ 1010 w 8283"/>
              <a:gd name="connsiteY1" fmla="*/ 0 h 10000"/>
              <a:gd name="connsiteX2" fmla="*/ 0 w 8283"/>
              <a:gd name="connsiteY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83" h="10000">
                <a:moveTo>
                  <a:pt x="8283" y="0"/>
                </a:moveTo>
                <a:lnTo>
                  <a:pt x="1010" y="0"/>
                </a:lnTo>
                <a:cubicBezTo>
                  <a:pt x="673" y="3333"/>
                  <a:pt x="337" y="6667"/>
                  <a:pt x="0" y="10000"/>
                </a:cubicBezTo>
              </a:path>
            </a:pathLst>
          </a:custGeom>
          <a:noFill/>
          <a:ln w="6350" cap="flat">
            <a:solidFill>
              <a:schemeClr val="tx2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4243" tIns="27122" rIns="54243" bIns="27122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542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7" name="Shape 279"/>
          <p:cNvSpPr/>
          <p:nvPr/>
        </p:nvSpPr>
        <p:spPr>
          <a:xfrm>
            <a:off x="4083511" y="2775849"/>
            <a:ext cx="1272396" cy="1598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568" tIns="38568" rIns="38568" bIns="38568" numCol="1" anchor="t">
            <a:noAutofit/>
          </a:bodyPr>
          <a:lstStyle>
            <a:lvl1pPr algn="l" defTabSz="914400">
              <a:defRPr sz="1400">
                <a:latin typeface="Arial Rounded MT Bold"/>
                <a:ea typeface="Arial Rounded MT Bold"/>
                <a:cs typeface="Arial Rounded MT Bold"/>
                <a:sym typeface="Arial Rounded MT Bold"/>
              </a:defRPr>
            </a:lvl1pPr>
          </a:lstStyle>
          <a:p>
            <a:pPr>
              <a:defRPr sz="1800"/>
            </a:pPr>
            <a:r>
              <a:rPr lang="ru-RU" sz="928" dirty="0" smtClean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Нижний Новгород</a:t>
            </a:r>
            <a:endParaRPr sz="928" dirty="0">
              <a:solidFill>
                <a:prstClr val="black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8" name="Picture 10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100000" l="0" r="100000">
                        <a14:foregroundMark x1="12987" y1="12987" x2="88312" y2="12987"/>
                        <a14:foregroundMark x1="92208" y1="18182" x2="90909" y2="76623"/>
                        <a14:foregroundMark x1="89610" y1="80519" x2="12987" y2="79221"/>
                        <a14:foregroundMark x1="12987" y1="79221" x2="12987" y2="79221"/>
                        <a14:backgroundMark x1="2597" y1="3896" x2="2597" y2="3896"/>
                        <a14:backgroundMark x1="97403" y1="3896" x2="97403" y2="3896"/>
                        <a14:backgroundMark x1="96104" y1="94805" x2="96104" y2="94805"/>
                        <a14:backgroundMark x1="2597" y1="96104" x2="2597" y2="9610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4813" y="3017985"/>
            <a:ext cx="135222" cy="13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99" name="Диаграмма 98"/>
          <p:cNvGraphicFramePr/>
          <p:nvPr>
            <p:extLst/>
          </p:nvPr>
        </p:nvGraphicFramePr>
        <p:xfrm>
          <a:off x="9605607" y="4903701"/>
          <a:ext cx="2223537" cy="1509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07" name="Shape 96"/>
          <p:cNvSpPr/>
          <p:nvPr/>
        </p:nvSpPr>
        <p:spPr>
          <a:xfrm>
            <a:off x="10283622" y="5433399"/>
            <a:ext cx="938431" cy="718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/>
          <a:p>
            <a:pPr algn="ctr" defTabSz="1028492">
              <a:defRPr sz="1800"/>
            </a:pPr>
            <a:r>
              <a:rPr lang="en-US" sz="1687" b="1" spc="-146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4</a:t>
            </a:r>
            <a:r>
              <a:rPr sz="1518" b="1" spc="-146" baseline="30000" dirty="0">
                <a:solidFill>
                  <a:srgbClr val="E7E6E6">
                    <a:lumMod val="25000"/>
                  </a:srgbClr>
                </a:solidFill>
                <a:latin typeface="Arial" charset="0"/>
                <a:ea typeface="Arial" charset="0"/>
                <a:cs typeface="Arial" charset="0"/>
                <a:sym typeface="Franklin Gothic Demi Cond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54101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cross canal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645" y="4493251"/>
            <a:ext cx="8191292" cy="2364748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223" y="1242769"/>
            <a:ext cx="7197037" cy="3166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bSticker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09600" y="1616082"/>
            <a:ext cx="3456385" cy="934871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sz="2025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3 ТЕХНОЛОГИИ ДЛЯ ОБРАБОТКИ ШТУЧНЫХ ЗАКАЗОВ</a:t>
            </a:r>
          </a:p>
        </p:txBody>
      </p:sp>
      <p:sp>
        <p:nvSpPr>
          <p:cNvPr id="8" name="Shape 481"/>
          <p:cNvSpPr/>
          <p:nvPr/>
        </p:nvSpPr>
        <p:spPr>
          <a:xfrm>
            <a:off x="609600" y="2395141"/>
            <a:ext cx="3456385" cy="9490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Put to light</a:t>
            </a:r>
          </a:p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en-US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Balea</a:t>
            </a: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(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тележки с весовым контролем) </a:t>
            </a:r>
          </a:p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Pick-to-light</a:t>
            </a:r>
          </a:p>
        </p:txBody>
      </p:sp>
      <p:sp>
        <p:nvSpPr>
          <p:cNvPr id="9" name="RbSticker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09600" y="3387850"/>
            <a:ext cx="3306803" cy="311624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sz="2025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СКЛАДСКИЕ ОПЕРАЦИИ</a:t>
            </a:r>
          </a:p>
        </p:txBody>
      </p:sp>
      <p:sp>
        <p:nvSpPr>
          <p:cNvPr id="10" name="Shape 481"/>
          <p:cNvSpPr/>
          <p:nvPr/>
        </p:nvSpPr>
        <p:spPr>
          <a:xfrm>
            <a:off x="609600" y="3666816"/>
            <a:ext cx="3306803" cy="12216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 numCol="1">
            <a:spAutoFit/>
          </a:bodyPr>
          <a:lstStyle/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Приемка товаров / разгрузка</a:t>
            </a: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Хранение</a:t>
            </a: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Пикинг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/ сборка заказов</a:t>
            </a: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Управление возвратами</a:t>
            </a:r>
          </a:p>
        </p:txBody>
      </p:sp>
      <p:sp>
        <p:nvSpPr>
          <p:cNvPr id="11" name="RbSticker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09600" y="4866039"/>
            <a:ext cx="3306803" cy="623248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sz="2025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ТРАНСПОРТНЫЕ ОПЕРАЦИИ</a:t>
            </a:r>
          </a:p>
        </p:txBody>
      </p:sp>
      <p:sp>
        <p:nvSpPr>
          <p:cNvPr id="12" name="Shape 481"/>
          <p:cNvSpPr/>
          <p:nvPr/>
        </p:nvSpPr>
        <p:spPr>
          <a:xfrm>
            <a:off x="587828" y="5363469"/>
            <a:ext cx="3306803" cy="14941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Срочные и стандартные по времени операции</a:t>
            </a:r>
          </a:p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Доставки до пунктов выдачи товара</a:t>
            </a:r>
          </a:p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Доставки в </a:t>
            </a: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почтоматы</a:t>
            </a: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Доставки в магазины </a:t>
            </a:r>
          </a:p>
        </p:txBody>
      </p:sp>
      <p:pic>
        <p:nvPicPr>
          <p:cNvPr id="15" name="Image 25"/>
          <p:cNvPicPr preferRelativeResize="0"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3820383" y="1816153"/>
            <a:ext cx="183104" cy="4625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609600" y="576943"/>
            <a:ext cx="449501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FM LOGISTIC</a:t>
            </a:r>
          </a:p>
          <a:p>
            <a:r>
              <a:rPr lang="ru-RU" sz="3000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</a:rPr>
              <a:t>ИНТЕРНЕТ-ТОРГОВЛЯ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696684" y="576943"/>
            <a:ext cx="5235485" cy="783771"/>
            <a:chOff x="696685" y="576943"/>
            <a:chExt cx="2939144" cy="783771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3"/>
          <p:cNvGrpSpPr/>
          <p:nvPr/>
        </p:nvGrpSpPr>
        <p:grpSpPr>
          <a:xfrm>
            <a:off x="4065986" y="4547681"/>
            <a:ext cx="3913244" cy="2305610"/>
            <a:chOff x="5262166" y="2008189"/>
            <a:chExt cx="9715238" cy="5776476"/>
          </a:xfrm>
        </p:grpSpPr>
        <p:grpSp>
          <p:nvGrpSpPr>
            <p:cNvPr id="48" name="Group 44"/>
            <p:cNvGrpSpPr>
              <a:grpSpLocks noChangeAspect="1"/>
            </p:cNvGrpSpPr>
            <p:nvPr/>
          </p:nvGrpSpPr>
          <p:grpSpPr bwMode="auto">
            <a:xfrm>
              <a:off x="7466932" y="2008189"/>
              <a:ext cx="4692370" cy="4944554"/>
              <a:chOff x="621" y="-1233"/>
              <a:chExt cx="6438" cy="6784"/>
            </a:xfrm>
            <a:noFill/>
          </p:grpSpPr>
          <p:sp>
            <p:nvSpPr>
              <p:cNvPr id="72" name="Freeform 45"/>
              <p:cNvSpPr>
                <a:spLocks/>
              </p:cNvSpPr>
              <p:nvPr/>
            </p:nvSpPr>
            <p:spPr bwMode="auto">
              <a:xfrm>
                <a:off x="621" y="3484"/>
                <a:ext cx="2240" cy="2067"/>
              </a:xfrm>
              <a:custGeom>
                <a:avLst/>
                <a:gdLst>
                  <a:gd name="T0" fmla="*/ 947 w 947"/>
                  <a:gd name="T1" fmla="*/ 874 h 874"/>
                  <a:gd name="T2" fmla="*/ 0 w 947"/>
                  <a:gd name="T3" fmla="*/ 0 h 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47" h="874">
                    <a:moveTo>
                      <a:pt x="947" y="874"/>
                    </a:moveTo>
                    <a:cubicBezTo>
                      <a:pt x="513" y="745"/>
                      <a:pt x="163" y="419"/>
                      <a:pt x="0" y="0"/>
                    </a:cubicBezTo>
                  </a:path>
                </a:pathLst>
              </a:custGeom>
              <a:grpFill/>
              <a:ln w="571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46"/>
              <p:cNvSpPr>
                <a:spLocks/>
              </p:cNvSpPr>
              <p:nvPr/>
            </p:nvSpPr>
            <p:spPr bwMode="auto">
              <a:xfrm>
                <a:off x="4892" y="3543"/>
                <a:ext cx="2167" cy="1994"/>
              </a:xfrm>
              <a:custGeom>
                <a:avLst/>
                <a:gdLst>
                  <a:gd name="T0" fmla="*/ 916 w 916"/>
                  <a:gd name="T1" fmla="*/ 0 h 843"/>
                  <a:gd name="T2" fmla="*/ 0 w 916"/>
                  <a:gd name="T3" fmla="*/ 843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16" h="843">
                    <a:moveTo>
                      <a:pt x="916" y="0"/>
                    </a:moveTo>
                    <a:cubicBezTo>
                      <a:pt x="752" y="401"/>
                      <a:pt x="416" y="712"/>
                      <a:pt x="0" y="843"/>
                    </a:cubicBezTo>
                  </a:path>
                </a:pathLst>
              </a:custGeom>
              <a:grpFill/>
              <a:ln w="571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47"/>
              <p:cNvSpPr>
                <a:spLocks/>
              </p:cNvSpPr>
              <p:nvPr/>
            </p:nvSpPr>
            <p:spPr bwMode="auto">
              <a:xfrm>
                <a:off x="1179" y="-1233"/>
                <a:ext cx="5329" cy="1260"/>
              </a:xfrm>
              <a:custGeom>
                <a:avLst/>
                <a:gdLst>
                  <a:gd name="T0" fmla="*/ 0 w 2253"/>
                  <a:gd name="T1" fmla="*/ 533 h 533"/>
                  <a:gd name="T2" fmla="*/ 1130 w 2253"/>
                  <a:gd name="T3" fmla="*/ 0 h 533"/>
                  <a:gd name="T4" fmla="*/ 2253 w 2253"/>
                  <a:gd name="T5" fmla="*/ 523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53" h="533">
                    <a:moveTo>
                      <a:pt x="0" y="533"/>
                    </a:moveTo>
                    <a:cubicBezTo>
                      <a:pt x="268" y="207"/>
                      <a:pt x="675" y="0"/>
                      <a:pt x="1130" y="0"/>
                    </a:cubicBezTo>
                    <a:cubicBezTo>
                      <a:pt x="1581" y="0"/>
                      <a:pt x="1984" y="203"/>
                      <a:pt x="2253" y="523"/>
                    </a:cubicBezTo>
                  </a:path>
                </a:pathLst>
              </a:custGeom>
              <a:grpFill/>
              <a:ln w="571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9" name="Группа 48"/>
            <p:cNvGrpSpPr/>
            <p:nvPr/>
          </p:nvGrpSpPr>
          <p:grpSpPr>
            <a:xfrm>
              <a:off x="5262166" y="2957514"/>
              <a:ext cx="9715238" cy="4827151"/>
              <a:chOff x="5262166" y="2957514"/>
              <a:chExt cx="9715238" cy="4827151"/>
            </a:xfrm>
          </p:grpSpPr>
          <p:sp>
            <p:nvSpPr>
              <p:cNvPr id="50" name="Freeform 55"/>
              <p:cNvSpPr>
                <a:spLocks/>
              </p:cNvSpPr>
              <p:nvPr/>
            </p:nvSpPr>
            <p:spPr bwMode="auto">
              <a:xfrm>
                <a:off x="5262166" y="2998272"/>
                <a:ext cx="4320000" cy="2353818"/>
              </a:xfrm>
              <a:custGeom>
                <a:avLst/>
                <a:gdLst>
                  <a:gd name="T0" fmla="*/ 770 w 2598"/>
                  <a:gd name="T1" fmla="*/ 0 h 1418"/>
                  <a:gd name="T2" fmla="*/ 0 w 2598"/>
                  <a:gd name="T3" fmla="*/ 1418 h 1418"/>
                  <a:gd name="T4" fmla="*/ 1828 w 2598"/>
                  <a:gd name="T5" fmla="*/ 1418 h 1418"/>
                  <a:gd name="T6" fmla="*/ 2598 w 2598"/>
                  <a:gd name="T7" fmla="*/ 0 h 1418"/>
                  <a:gd name="T8" fmla="*/ 770 w 2598"/>
                  <a:gd name="T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98" h="1418">
                    <a:moveTo>
                      <a:pt x="770" y="0"/>
                    </a:moveTo>
                    <a:lnTo>
                      <a:pt x="0" y="1418"/>
                    </a:lnTo>
                    <a:lnTo>
                      <a:pt x="1828" y="1418"/>
                    </a:lnTo>
                    <a:lnTo>
                      <a:pt x="2598" y="0"/>
                    </a:lnTo>
                    <a:lnTo>
                      <a:pt x="770" y="0"/>
                    </a:lnTo>
                    <a:close/>
                  </a:path>
                </a:pathLst>
              </a:custGeom>
              <a:solidFill>
                <a:schemeClr val="tx2">
                  <a:alpha val="34902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 sz="4742" b="1" dirty="0">
                  <a:solidFill>
                    <a:prstClr val="white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A3"/>
              <p:cNvSpPr>
                <a:spLocks/>
              </p:cNvSpPr>
              <p:nvPr/>
            </p:nvSpPr>
            <p:spPr bwMode="auto">
              <a:xfrm>
                <a:off x="8699355" y="2957514"/>
                <a:ext cx="2351101" cy="4827151"/>
              </a:xfrm>
              <a:custGeom>
                <a:avLst/>
                <a:gdLst>
                  <a:gd name="T0" fmla="*/ 766 w 1558"/>
                  <a:gd name="T1" fmla="*/ 0 h 2908"/>
                  <a:gd name="T2" fmla="*/ 766 w 1558"/>
                  <a:gd name="T3" fmla="*/ 0 h 2908"/>
                  <a:gd name="T4" fmla="*/ 2 w 1558"/>
                  <a:gd name="T5" fmla="*/ 1468 h 2908"/>
                  <a:gd name="T6" fmla="*/ 0 w 1558"/>
                  <a:gd name="T7" fmla="*/ 1472 h 2908"/>
                  <a:gd name="T8" fmla="*/ 772 w 1558"/>
                  <a:gd name="T9" fmla="*/ 2906 h 2908"/>
                  <a:gd name="T10" fmla="*/ 772 w 1558"/>
                  <a:gd name="T11" fmla="*/ 2908 h 2908"/>
                  <a:gd name="T12" fmla="*/ 772 w 1558"/>
                  <a:gd name="T13" fmla="*/ 2908 h 2908"/>
                  <a:gd name="T14" fmla="*/ 1558 w 1558"/>
                  <a:gd name="T15" fmla="*/ 1468 h 2908"/>
                  <a:gd name="T16" fmla="*/ 1558 w 1558"/>
                  <a:gd name="T17" fmla="*/ 1466 h 2908"/>
                  <a:gd name="T18" fmla="*/ 766 w 1558"/>
                  <a:gd name="T19" fmla="*/ 0 h 29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58" h="2908">
                    <a:moveTo>
                      <a:pt x="766" y="0"/>
                    </a:moveTo>
                    <a:lnTo>
                      <a:pt x="766" y="0"/>
                    </a:lnTo>
                    <a:lnTo>
                      <a:pt x="2" y="1468"/>
                    </a:lnTo>
                    <a:lnTo>
                      <a:pt x="0" y="1472"/>
                    </a:lnTo>
                    <a:lnTo>
                      <a:pt x="772" y="2906"/>
                    </a:lnTo>
                    <a:lnTo>
                      <a:pt x="772" y="2908"/>
                    </a:lnTo>
                    <a:lnTo>
                      <a:pt x="772" y="2908"/>
                    </a:lnTo>
                    <a:lnTo>
                      <a:pt x="1558" y="1468"/>
                    </a:lnTo>
                    <a:lnTo>
                      <a:pt x="1558" y="1466"/>
                    </a:lnTo>
                    <a:lnTo>
                      <a:pt x="766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Freeform 55"/>
              <p:cNvSpPr>
                <a:spLocks/>
              </p:cNvSpPr>
              <p:nvPr/>
            </p:nvSpPr>
            <p:spPr bwMode="auto">
              <a:xfrm flipV="1">
                <a:off x="10107060" y="3031554"/>
                <a:ext cx="4320001" cy="2353818"/>
              </a:xfrm>
              <a:custGeom>
                <a:avLst/>
                <a:gdLst>
                  <a:gd name="T0" fmla="*/ 770 w 2598"/>
                  <a:gd name="T1" fmla="*/ 0 h 1418"/>
                  <a:gd name="T2" fmla="*/ 0 w 2598"/>
                  <a:gd name="T3" fmla="*/ 1418 h 1418"/>
                  <a:gd name="T4" fmla="*/ 1828 w 2598"/>
                  <a:gd name="T5" fmla="*/ 1418 h 1418"/>
                  <a:gd name="T6" fmla="*/ 2598 w 2598"/>
                  <a:gd name="T7" fmla="*/ 0 h 1418"/>
                  <a:gd name="T8" fmla="*/ 770 w 2598"/>
                  <a:gd name="T9" fmla="*/ 0 h 1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98" h="1418">
                    <a:moveTo>
                      <a:pt x="770" y="0"/>
                    </a:moveTo>
                    <a:lnTo>
                      <a:pt x="0" y="1418"/>
                    </a:lnTo>
                    <a:lnTo>
                      <a:pt x="1828" y="1418"/>
                    </a:lnTo>
                    <a:lnTo>
                      <a:pt x="2598" y="0"/>
                    </a:lnTo>
                    <a:lnTo>
                      <a:pt x="770" y="0"/>
                    </a:lnTo>
                    <a:close/>
                  </a:path>
                </a:pathLst>
              </a:custGeom>
              <a:solidFill>
                <a:schemeClr val="tx2">
                  <a:alpha val="34902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GB" sz="4742" b="1" dirty="0">
                  <a:solidFill>
                    <a:prstClr val="white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53" name="Group 89"/>
              <p:cNvGrpSpPr>
                <a:grpSpLocks noChangeAspect="1"/>
              </p:cNvGrpSpPr>
              <p:nvPr/>
            </p:nvGrpSpPr>
            <p:grpSpPr bwMode="auto">
              <a:xfrm>
                <a:off x="11374109" y="3222945"/>
                <a:ext cx="931455" cy="1537170"/>
                <a:chOff x="6443" y="-486"/>
                <a:chExt cx="509" cy="840"/>
              </a:xfrm>
              <a:solidFill>
                <a:schemeClr val="bg1"/>
              </a:solidFill>
            </p:grpSpPr>
            <p:sp>
              <p:nvSpPr>
                <p:cNvPr id="68" name="Freeform 90"/>
                <p:cNvSpPr>
                  <a:spLocks/>
                </p:cNvSpPr>
                <p:nvPr/>
              </p:nvSpPr>
              <p:spPr bwMode="auto">
                <a:xfrm>
                  <a:off x="6443" y="-342"/>
                  <a:ext cx="509" cy="696"/>
                </a:xfrm>
                <a:custGeom>
                  <a:avLst/>
                  <a:gdLst>
                    <a:gd name="T0" fmla="*/ 1006 w 1127"/>
                    <a:gd name="T1" fmla="*/ 718 h 1538"/>
                    <a:gd name="T2" fmla="*/ 1021 w 1127"/>
                    <a:gd name="T3" fmla="*/ 712 h 1538"/>
                    <a:gd name="T4" fmla="*/ 1048 w 1127"/>
                    <a:gd name="T5" fmla="*/ 599 h 1538"/>
                    <a:gd name="T6" fmla="*/ 843 w 1127"/>
                    <a:gd name="T7" fmla="*/ 87 h 1538"/>
                    <a:gd name="T8" fmla="*/ 809 w 1127"/>
                    <a:gd name="T9" fmla="*/ 43 h 1538"/>
                    <a:gd name="T10" fmla="*/ 758 w 1127"/>
                    <a:gd name="T11" fmla="*/ 13 h 1538"/>
                    <a:gd name="T12" fmla="*/ 704 w 1127"/>
                    <a:gd name="T13" fmla="*/ 0 h 1538"/>
                    <a:gd name="T14" fmla="*/ 423 w 1127"/>
                    <a:gd name="T15" fmla="*/ 0 h 1538"/>
                    <a:gd name="T16" fmla="*/ 369 w 1127"/>
                    <a:gd name="T17" fmla="*/ 13 h 1538"/>
                    <a:gd name="T18" fmla="*/ 318 w 1127"/>
                    <a:gd name="T19" fmla="*/ 43 h 1538"/>
                    <a:gd name="T20" fmla="*/ 284 w 1127"/>
                    <a:gd name="T21" fmla="*/ 87 h 1538"/>
                    <a:gd name="T22" fmla="*/ 79 w 1127"/>
                    <a:gd name="T23" fmla="*/ 599 h 1538"/>
                    <a:gd name="T24" fmla="*/ 106 w 1127"/>
                    <a:gd name="T25" fmla="*/ 712 h 1538"/>
                    <a:gd name="T26" fmla="*/ 121 w 1127"/>
                    <a:gd name="T27" fmla="*/ 718 h 1538"/>
                    <a:gd name="T28" fmla="*/ 64 w 1127"/>
                    <a:gd name="T29" fmla="*/ 902 h 1538"/>
                    <a:gd name="T30" fmla="*/ 0 w 1127"/>
                    <a:gd name="T31" fmla="*/ 902 h 1538"/>
                    <a:gd name="T32" fmla="*/ 0 w 1127"/>
                    <a:gd name="T33" fmla="*/ 1370 h 1538"/>
                    <a:gd name="T34" fmla="*/ 280 w 1127"/>
                    <a:gd name="T35" fmla="*/ 1370 h 1538"/>
                    <a:gd name="T36" fmla="*/ 280 w 1127"/>
                    <a:gd name="T37" fmla="*/ 902 h 1538"/>
                    <a:gd name="T38" fmla="*/ 216 w 1127"/>
                    <a:gd name="T39" fmla="*/ 902 h 1538"/>
                    <a:gd name="T40" fmla="*/ 159 w 1127"/>
                    <a:gd name="T41" fmla="*/ 720 h 1538"/>
                    <a:gd name="T42" fmla="*/ 211 w 1127"/>
                    <a:gd name="T43" fmla="*/ 679 h 1538"/>
                    <a:gd name="T44" fmla="*/ 382 w 1127"/>
                    <a:gd name="T45" fmla="*/ 241 h 1538"/>
                    <a:gd name="T46" fmla="*/ 382 w 1127"/>
                    <a:gd name="T47" fmla="*/ 1459 h 1538"/>
                    <a:gd name="T48" fmla="*/ 466 w 1127"/>
                    <a:gd name="T49" fmla="*/ 1538 h 1538"/>
                    <a:gd name="T50" fmla="*/ 550 w 1127"/>
                    <a:gd name="T51" fmla="*/ 1459 h 1538"/>
                    <a:gd name="T52" fmla="*/ 550 w 1127"/>
                    <a:gd name="T53" fmla="*/ 759 h 1538"/>
                    <a:gd name="T54" fmla="*/ 577 w 1127"/>
                    <a:gd name="T55" fmla="*/ 759 h 1538"/>
                    <a:gd name="T56" fmla="*/ 577 w 1127"/>
                    <a:gd name="T57" fmla="*/ 1459 h 1538"/>
                    <a:gd name="T58" fmla="*/ 661 w 1127"/>
                    <a:gd name="T59" fmla="*/ 1538 h 1538"/>
                    <a:gd name="T60" fmla="*/ 745 w 1127"/>
                    <a:gd name="T61" fmla="*/ 1459 h 1538"/>
                    <a:gd name="T62" fmla="*/ 745 w 1127"/>
                    <a:gd name="T63" fmla="*/ 241 h 1538"/>
                    <a:gd name="T64" fmla="*/ 916 w 1127"/>
                    <a:gd name="T65" fmla="*/ 679 h 1538"/>
                    <a:gd name="T66" fmla="*/ 968 w 1127"/>
                    <a:gd name="T67" fmla="*/ 720 h 1538"/>
                    <a:gd name="T68" fmla="*/ 911 w 1127"/>
                    <a:gd name="T69" fmla="*/ 902 h 1538"/>
                    <a:gd name="T70" fmla="*/ 847 w 1127"/>
                    <a:gd name="T71" fmla="*/ 902 h 1538"/>
                    <a:gd name="T72" fmla="*/ 847 w 1127"/>
                    <a:gd name="T73" fmla="*/ 1370 h 1538"/>
                    <a:gd name="T74" fmla="*/ 1127 w 1127"/>
                    <a:gd name="T75" fmla="*/ 1370 h 1538"/>
                    <a:gd name="T76" fmla="*/ 1127 w 1127"/>
                    <a:gd name="T77" fmla="*/ 902 h 1538"/>
                    <a:gd name="T78" fmla="*/ 1063 w 1127"/>
                    <a:gd name="T79" fmla="*/ 902 h 1538"/>
                    <a:gd name="T80" fmla="*/ 1006 w 1127"/>
                    <a:gd name="T81" fmla="*/ 718 h 15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127" h="1538">
                      <a:moveTo>
                        <a:pt x="1006" y="718"/>
                      </a:moveTo>
                      <a:cubicBezTo>
                        <a:pt x="1011" y="717"/>
                        <a:pt x="1016" y="714"/>
                        <a:pt x="1021" y="712"/>
                      </a:cubicBezTo>
                      <a:cubicBezTo>
                        <a:pt x="1056" y="691"/>
                        <a:pt x="1070" y="652"/>
                        <a:pt x="1048" y="599"/>
                      </a:cubicBezTo>
                      <a:cubicBezTo>
                        <a:pt x="843" y="87"/>
                        <a:pt x="843" y="87"/>
                        <a:pt x="843" y="87"/>
                      </a:cubicBezTo>
                      <a:cubicBezTo>
                        <a:pt x="835" y="74"/>
                        <a:pt x="821" y="53"/>
                        <a:pt x="809" y="43"/>
                      </a:cubicBezTo>
                      <a:cubicBezTo>
                        <a:pt x="793" y="29"/>
                        <a:pt x="776" y="20"/>
                        <a:pt x="758" y="13"/>
                      </a:cubicBezTo>
                      <a:cubicBezTo>
                        <a:pt x="741" y="6"/>
                        <a:pt x="723" y="2"/>
                        <a:pt x="704" y="0"/>
                      </a:cubicBezTo>
                      <a:cubicBezTo>
                        <a:pt x="423" y="0"/>
                        <a:pt x="423" y="0"/>
                        <a:pt x="423" y="0"/>
                      </a:cubicBezTo>
                      <a:cubicBezTo>
                        <a:pt x="404" y="2"/>
                        <a:pt x="386" y="6"/>
                        <a:pt x="369" y="13"/>
                      </a:cubicBezTo>
                      <a:cubicBezTo>
                        <a:pt x="351" y="20"/>
                        <a:pt x="334" y="29"/>
                        <a:pt x="318" y="43"/>
                      </a:cubicBezTo>
                      <a:cubicBezTo>
                        <a:pt x="306" y="53"/>
                        <a:pt x="292" y="74"/>
                        <a:pt x="284" y="87"/>
                      </a:cubicBezTo>
                      <a:cubicBezTo>
                        <a:pt x="79" y="599"/>
                        <a:pt x="79" y="599"/>
                        <a:pt x="79" y="599"/>
                      </a:cubicBezTo>
                      <a:cubicBezTo>
                        <a:pt x="57" y="652"/>
                        <a:pt x="71" y="691"/>
                        <a:pt x="106" y="712"/>
                      </a:cubicBezTo>
                      <a:cubicBezTo>
                        <a:pt x="111" y="714"/>
                        <a:pt x="116" y="717"/>
                        <a:pt x="121" y="718"/>
                      </a:cubicBezTo>
                      <a:cubicBezTo>
                        <a:pt x="64" y="902"/>
                        <a:pt x="64" y="902"/>
                        <a:pt x="64" y="902"/>
                      </a:cubicBezTo>
                      <a:cubicBezTo>
                        <a:pt x="0" y="902"/>
                        <a:pt x="0" y="902"/>
                        <a:pt x="0" y="902"/>
                      </a:cubicBezTo>
                      <a:cubicBezTo>
                        <a:pt x="0" y="1370"/>
                        <a:pt x="0" y="1370"/>
                        <a:pt x="0" y="1370"/>
                      </a:cubicBezTo>
                      <a:cubicBezTo>
                        <a:pt x="280" y="1370"/>
                        <a:pt x="280" y="1370"/>
                        <a:pt x="280" y="1370"/>
                      </a:cubicBezTo>
                      <a:cubicBezTo>
                        <a:pt x="280" y="902"/>
                        <a:pt x="280" y="902"/>
                        <a:pt x="280" y="902"/>
                      </a:cubicBezTo>
                      <a:cubicBezTo>
                        <a:pt x="216" y="902"/>
                        <a:pt x="216" y="902"/>
                        <a:pt x="216" y="902"/>
                      </a:cubicBezTo>
                      <a:cubicBezTo>
                        <a:pt x="159" y="720"/>
                        <a:pt x="159" y="720"/>
                        <a:pt x="159" y="720"/>
                      </a:cubicBezTo>
                      <a:cubicBezTo>
                        <a:pt x="181" y="716"/>
                        <a:pt x="201" y="703"/>
                        <a:pt x="211" y="679"/>
                      </a:cubicBezTo>
                      <a:cubicBezTo>
                        <a:pt x="382" y="241"/>
                        <a:pt x="382" y="241"/>
                        <a:pt x="382" y="241"/>
                      </a:cubicBezTo>
                      <a:cubicBezTo>
                        <a:pt x="382" y="1459"/>
                        <a:pt x="382" y="1459"/>
                        <a:pt x="382" y="1459"/>
                      </a:cubicBezTo>
                      <a:cubicBezTo>
                        <a:pt x="382" y="1506"/>
                        <a:pt x="420" y="1538"/>
                        <a:pt x="466" y="1538"/>
                      </a:cubicBezTo>
                      <a:cubicBezTo>
                        <a:pt x="513" y="1538"/>
                        <a:pt x="550" y="1506"/>
                        <a:pt x="550" y="1459"/>
                      </a:cubicBezTo>
                      <a:cubicBezTo>
                        <a:pt x="550" y="759"/>
                        <a:pt x="550" y="759"/>
                        <a:pt x="550" y="759"/>
                      </a:cubicBezTo>
                      <a:cubicBezTo>
                        <a:pt x="577" y="759"/>
                        <a:pt x="577" y="759"/>
                        <a:pt x="577" y="759"/>
                      </a:cubicBezTo>
                      <a:cubicBezTo>
                        <a:pt x="577" y="1459"/>
                        <a:pt x="577" y="1459"/>
                        <a:pt x="577" y="1459"/>
                      </a:cubicBezTo>
                      <a:cubicBezTo>
                        <a:pt x="577" y="1506"/>
                        <a:pt x="614" y="1538"/>
                        <a:pt x="661" y="1538"/>
                      </a:cubicBezTo>
                      <a:cubicBezTo>
                        <a:pt x="707" y="1538"/>
                        <a:pt x="745" y="1506"/>
                        <a:pt x="745" y="1459"/>
                      </a:cubicBezTo>
                      <a:cubicBezTo>
                        <a:pt x="745" y="241"/>
                        <a:pt x="745" y="241"/>
                        <a:pt x="745" y="241"/>
                      </a:cubicBezTo>
                      <a:cubicBezTo>
                        <a:pt x="916" y="679"/>
                        <a:pt x="916" y="679"/>
                        <a:pt x="916" y="679"/>
                      </a:cubicBezTo>
                      <a:cubicBezTo>
                        <a:pt x="927" y="703"/>
                        <a:pt x="947" y="716"/>
                        <a:pt x="968" y="720"/>
                      </a:cubicBezTo>
                      <a:cubicBezTo>
                        <a:pt x="911" y="902"/>
                        <a:pt x="911" y="902"/>
                        <a:pt x="911" y="902"/>
                      </a:cubicBezTo>
                      <a:cubicBezTo>
                        <a:pt x="847" y="902"/>
                        <a:pt x="847" y="902"/>
                        <a:pt x="847" y="902"/>
                      </a:cubicBezTo>
                      <a:cubicBezTo>
                        <a:pt x="847" y="1370"/>
                        <a:pt x="847" y="1370"/>
                        <a:pt x="847" y="1370"/>
                      </a:cubicBezTo>
                      <a:cubicBezTo>
                        <a:pt x="1127" y="1370"/>
                        <a:pt x="1127" y="1370"/>
                        <a:pt x="1127" y="1370"/>
                      </a:cubicBezTo>
                      <a:cubicBezTo>
                        <a:pt x="1127" y="902"/>
                        <a:pt x="1127" y="902"/>
                        <a:pt x="1127" y="902"/>
                      </a:cubicBezTo>
                      <a:cubicBezTo>
                        <a:pt x="1063" y="902"/>
                        <a:pt x="1063" y="902"/>
                        <a:pt x="1063" y="902"/>
                      </a:cubicBezTo>
                      <a:lnTo>
                        <a:pt x="1006" y="7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8394" tIns="54197" rIns="108394" bIns="5419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3082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" name="Freeform 91"/>
                <p:cNvSpPr>
                  <a:spLocks/>
                </p:cNvSpPr>
                <p:nvPr/>
              </p:nvSpPr>
              <p:spPr bwMode="auto">
                <a:xfrm>
                  <a:off x="6480" y="-16"/>
                  <a:ext cx="52" cy="82"/>
                </a:xfrm>
                <a:custGeom>
                  <a:avLst/>
                  <a:gdLst>
                    <a:gd name="T0" fmla="*/ 116 w 116"/>
                    <a:gd name="T1" fmla="*/ 181 h 181"/>
                    <a:gd name="T2" fmla="*/ 0 w 116"/>
                    <a:gd name="T3" fmla="*/ 181 h 181"/>
                    <a:gd name="T4" fmla="*/ 57 w 116"/>
                    <a:gd name="T5" fmla="*/ 0 h 181"/>
                    <a:gd name="T6" fmla="*/ 59 w 116"/>
                    <a:gd name="T7" fmla="*/ 0 h 181"/>
                    <a:gd name="T8" fmla="*/ 116 w 116"/>
                    <a:gd name="T9" fmla="*/ 18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81">
                      <a:moveTo>
                        <a:pt x="116" y="181"/>
                      </a:moveTo>
                      <a:cubicBezTo>
                        <a:pt x="0" y="181"/>
                        <a:pt x="0" y="181"/>
                        <a:pt x="0" y="181"/>
                      </a:cubicBez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8" y="0"/>
                        <a:pt x="58" y="0"/>
                        <a:pt x="59" y="0"/>
                      </a:cubicBezTo>
                      <a:lnTo>
                        <a:pt x="116" y="1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8394" tIns="54197" rIns="108394" bIns="5419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3082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92"/>
                <p:cNvSpPr>
                  <a:spLocks/>
                </p:cNvSpPr>
                <p:nvPr/>
              </p:nvSpPr>
              <p:spPr bwMode="auto">
                <a:xfrm>
                  <a:off x="6863" y="-16"/>
                  <a:ext cx="52" cy="82"/>
                </a:xfrm>
                <a:custGeom>
                  <a:avLst/>
                  <a:gdLst>
                    <a:gd name="T0" fmla="*/ 0 w 116"/>
                    <a:gd name="T1" fmla="*/ 181 h 181"/>
                    <a:gd name="T2" fmla="*/ 57 w 116"/>
                    <a:gd name="T3" fmla="*/ 0 h 181"/>
                    <a:gd name="T4" fmla="*/ 59 w 116"/>
                    <a:gd name="T5" fmla="*/ 0 h 181"/>
                    <a:gd name="T6" fmla="*/ 116 w 116"/>
                    <a:gd name="T7" fmla="*/ 181 h 181"/>
                    <a:gd name="T8" fmla="*/ 0 w 116"/>
                    <a:gd name="T9" fmla="*/ 181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6" h="181">
                      <a:moveTo>
                        <a:pt x="0" y="181"/>
                      </a:move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58" y="0"/>
                        <a:pt x="59" y="0"/>
                        <a:pt x="59" y="0"/>
                      </a:cubicBezTo>
                      <a:cubicBezTo>
                        <a:pt x="116" y="181"/>
                        <a:pt x="116" y="181"/>
                        <a:pt x="116" y="181"/>
                      </a:cubicBezTo>
                      <a:lnTo>
                        <a:pt x="0" y="18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8394" tIns="54197" rIns="108394" bIns="5419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3082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Oval 93"/>
                <p:cNvSpPr>
                  <a:spLocks noChangeArrowheads="1"/>
                </p:cNvSpPr>
                <p:nvPr/>
              </p:nvSpPr>
              <p:spPr bwMode="auto">
                <a:xfrm>
                  <a:off x="6635" y="-486"/>
                  <a:ext cx="125" cy="12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8394" tIns="54197" rIns="108394" bIns="5419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3082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54" name="Freeform 102"/>
              <p:cNvSpPr>
                <a:spLocks noEditPoints="1"/>
              </p:cNvSpPr>
              <p:nvPr/>
            </p:nvSpPr>
            <p:spPr bwMode="auto">
              <a:xfrm>
                <a:off x="12359180" y="3744220"/>
                <a:ext cx="635083" cy="486561"/>
              </a:xfrm>
              <a:custGeom>
                <a:avLst/>
                <a:gdLst>
                  <a:gd name="T0" fmla="*/ 291 w 301"/>
                  <a:gd name="T1" fmla="*/ 51 h 283"/>
                  <a:gd name="T2" fmla="*/ 73 w 301"/>
                  <a:gd name="T3" fmla="*/ 51 h 283"/>
                  <a:gd name="T4" fmla="*/ 59 w 301"/>
                  <a:gd name="T5" fmla="*/ 19 h 283"/>
                  <a:gd name="T6" fmla="*/ 2 w 301"/>
                  <a:gd name="T7" fmla="*/ 7 h 283"/>
                  <a:gd name="T8" fmla="*/ 48 w 301"/>
                  <a:gd name="T9" fmla="*/ 36 h 283"/>
                  <a:gd name="T10" fmla="*/ 93 w 301"/>
                  <a:gd name="T11" fmla="*/ 184 h 283"/>
                  <a:gd name="T12" fmla="*/ 79 w 301"/>
                  <a:gd name="T13" fmla="*/ 231 h 283"/>
                  <a:gd name="T14" fmla="*/ 93 w 301"/>
                  <a:gd name="T15" fmla="*/ 235 h 283"/>
                  <a:gd name="T16" fmla="*/ 115 w 301"/>
                  <a:gd name="T17" fmla="*/ 283 h 283"/>
                  <a:gd name="T18" fmla="*/ 136 w 301"/>
                  <a:gd name="T19" fmla="*/ 235 h 283"/>
                  <a:gd name="T20" fmla="*/ 191 w 301"/>
                  <a:gd name="T21" fmla="*/ 254 h 283"/>
                  <a:gd name="T22" fmla="*/ 249 w 301"/>
                  <a:gd name="T23" fmla="*/ 254 h 283"/>
                  <a:gd name="T24" fmla="*/ 251 w 301"/>
                  <a:gd name="T25" fmla="*/ 235 h 283"/>
                  <a:gd name="T26" fmla="*/ 251 w 301"/>
                  <a:gd name="T27" fmla="*/ 219 h 283"/>
                  <a:gd name="T28" fmla="*/ 106 w 301"/>
                  <a:gd name="T29" fmla="*/ 194 h 283"/>
                  <a:gd name="T30" fmla="*/ 251 w 301"/>
                  <a:gd name="T31" fmla="*/ 195 h 283"/>
                  <a:gd name="T32" fmla="*/ 300 w 301"/>
                  <a:gd name="T33" fmla="*/ 63 h 283"/>
                  <a:gd name="T34" fmla="*/ 115 w 301"/>
                  <a:gd name="T35" fmla="*/ 267 h 283"/>
                  <a:gd name="T36" fmla="*/ 115 w 301"/>
                  <a:gd name="T37" fmla="*/ 241 h 283"/>
                  <a:gd name="T38" fmla="*/ 115 w 301"/>
                  <a:gd name="T39" fmla="*/ 267 h 283"/>
                  <a:gd name="T40" fmla="*/ 207 w 301"/>
                  <a:gd name="T41" fmla="*/ 254 h 283"/>
                  <a:gd name="T42" fmla="*/ 233 w 301"/>
                  <a:gd name="T43" fmla="*/ 254 h 283"/>
                  <a:gd name="T44" fmla="*/ 271 w 301"/>
                  <a:gd name="T45" fmla="*/ 91 h 283"/>
                  <a:gd name="T46" fmla="*/ 222 w 301"/>
                  <a:gd name="T47" fmla="*/ 70 h 283"/>
                  <a:gd name="T48" fmla="*/ 271 w 301"/>
                  <a:gd name="T49" fmla="*/ 91 h 283"/>
                  <a:gd name="T50" fmla="*/ 222 w 301"/>
                  <a:gd name="T51" fmla="*/ 135 h 283"/>
                  <a:gd name="T52" fmla="*/ 264 w 301"/>
                  <a:gd name="T53" fmla="*/ 111 h 283"/>
                  <a:gd name="T54" fmla="*/ 158 w 301"/>
                  <a:gd name="T55" fmla="*/ 135 h 283"/>
                  <a:gd name="T56" fmla="*/ 202 w 301"/>
                  <a:gd name="T57" fmla="*/ 111 h 283"/>
                  <a:gd name="T58" fmla="*/ 158 w 301"/>
                  <a:gd name="T59" fmla="*/ 135 h 283"/>
                  <a:gd name="T60" fmla="*/ 202 w 301"/>
                  <a:gd name="T61" fmla="*/ 175 h 283"/>
                  <a:gd name="T62" fmla="*/ 158 w 301"/>
                  <a:gd name="T63" fmla="*/ 155 h 283"/>
                  <a:gd name="T64" fmla="*/ 94 w 301"/>
                  <a:gd name="T65" fmla="*/ 111 h 283"/>
                  <a:gd name="T66" fmla="*/ 139 w 301"/>
                  <a:gd name="T67" fmla="*/ 135 h 283"/>
                  <a:gd name="T68" fmla="*/ 94 w 301"/>
                  <a:gd name="T69" fmla="*/ 111 h 283"/>
                  <a:gd name="T70" fmla="*/ 158 w 301"/>
                  <a:gd name="T71" fmla="*/ 70 h 283"/>
                  <a:gd name="T72" fmla="*/ 202 w 301"/>
                  <a:gd name="T73" fmla="*/ 91 h 283"/>
                  <a:gd name="T74" fmla="*/ 139 w 301"/>
                  <a:gd name="T75" fmla="*/ 70 h 283"/>
                  <a:gd name="T76" fmla="*/ 87 w 301"/>
                  <a:gd name="T77" fmla="*/ 91 h 283"/>
                  <a:gd name="T78" fmla="*/ 139 w 301"/>
                  <a:gd name="T79" fmla="*/ 70 h 283"/>
                  <a:gd name="T80" fmla="*/ 139 w 301"/>
                  <a:gd name="T81" fmla="*/ 155 h 283"/>
                  <a:gd name="T82" fmla="*/ 117 w 301"/>
                  <a:gd name="T83" fmla="*/ 175 h 283"/>
                  <a:gd name="T84" fmla="*/ 222 w 301"/>
                  <a:gd name="T85" fmla="*/ 175 h 283"/>
                  <a:gd name="T86" fmla="*/ 250 w 301"/>
                  <a:gd name="T87" fmla="*/ 155 h 283"/>
                  <a:gd name="T88" fmla="*/ 222 w 301"/>
                  <a:gd name="T89" fmla="*/ 175 h 283"/>
                  <a:gd name="T90" fmla="*/ 222 w 301"/>
                  <a:gd name="T91" fmla="*/ 175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1" h="283">
                    <a:moveTo>
                      <a:pt x="298" y="55"/>
                    </a:moveTo>
                    <a:cubicBezTo>
                      <a:pt x="297" y="52"/>
                      <a:pt x="294" y="51"/>
                      <a:pt x="291" y="51"/>
                    </a:cubicBezTo>
                    <a:cubicBezTo>
                      <a:pt x="75" y="51"/>
                      <a:pt x="75" y="51"/>
                      <a:pt x="75" y="51"/>
                    </a:cubicBezTo>
                    <a:cubicBezTo>
                      <a:pt x="74" y="51"/>
                      <a:pt x="74" y="51"/>
                      <a:pt x="73" y="51"/>
                    </a:cubicBezTo>
                    <a:cubicBezTo>
                      <a:pt x="64" y="25"/>
                      <a:pt x="64" y="25"/>
                      <a:pt x="64" y="25"/>
                    </a:cubicBezTo>
                    <a:cubicBezTo>
                      <a:pt x="64" y="22"/>
                      <a:pt x="62" y="20"/>
                      <a:pt x="59" y="19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9" y="0"/>
                      <a:pt x="4" y="2"/>
                      <a:pt x="2" y="7"/>
                    </a:cubicBezTo>
                    <a:cubicBezTo>
                      <a:pt x="0" y="12"/>
                      <a:pt x="2" y="18"/>
                      <a:pt x="7" y="2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95" y="180"/>
                      <a:pt x="94" y="182"/>
                      <a:pt x="93" y="184"/>
                    </a:cubicBezTo>
                    <a:cubicBezTo>
                      <a:pt x="78" y="224"/>
                      <a:pt x="78" y="224"/>
                      <a:pt x="78" y="224"/>
                    </a:cubicBezTo>
                    <a:cubicBezTo>
                      <a:pt x="77" y="226"/>
                      <a:pt x="78" y="229"/>
                      <a:pt x="79" y="231"/>
                    </a:cubicBezTo>
                    <a:cubicBezTo>
                      <a:pt x="81" y="233"/>
                      <a:pt x="83" y="235"/>
                      <a:pt x="86" y="235"/>
                    </a:cubicBezTo>
                    <a:cubicBezTo>
                      <a:pt x="93" y="235"/>
                      <a:pt x="93" y="235"/>
                      <a:pt x="93" y="235"/>
                    </a:cubicBezTo>
                    <a:cubicBezTo>
                      <a:pt x="89" y="240"/>
                      <a:pt x="86" y="246"/>
                      <a:pt x="86" y="254"/>
                    </a:cubicBezTo>
                    <a:cubicBezTo>
                      <a:pt x="86" y="270"/>
                      <a:pt x="99" y="283"/>
                      <a:pt x="115" y="283"/>
                    </a:cubicBezTo>
                    <a:cubicBezTo>
                      <a:pt x="130" y="283"/>
                      <a:pt x="143" y="270"/>
                      <a:pt x="143" y="254"/>
                    </a:cubicBezTo>
                    <a:cubicBezTo>
                      <a:pt x="143" y="246"/>
                      <a:pt x="141" y="240"/>
                      <a:pt x="136" y="235"/>
                    </a:cubicBezTo>
                    <a:cubicBezTo>
                      <a:pt x="199" y="235"/>
                      <a:pt x="199" y="235"/>
                      <a:pt x="199" y="235"/>
                    </a:cubicBezTo>
                    <a:cubicBezTo>
                      <a:pt x="194" y="240"/>
                      <a:pt x="191" y="246"/>
                      <a:pt x="191" y="254"/>
                    </a:cubicBezTo>
                    <a:cubicBezTo>
                      <a:pt x="191" y="270"/>
                      <a:pt x="204" y="283"/>
                      <a:pt x="220" y="283"/>
                    </a:cubicBezTo>
                    <a:cubicBezTo>
                      <a:pt x="236" y="283"/>
                      <a:pt x="249" y="270"/>
                      <a:pt x="249" y="254"/>
                    </a:cubicBezTo>
                    <a:cubicBezTo>
                      <a:pt x="249" y="246"/>
                      <a:pt x="246" y="240"/>
                      <a:pt x="242" y="235"/>
                    </a:cubicBezTo>
                    <a:cubicBezTo>
                      <a:pt x="251" y="235"/>
                      <a:pt x="251" y="235"/>
                      <a:pt x="251" y="235"/>
                    </a:cubicBezTo>
                    <a:cubicBezTo>
                      <a:pt x="255" y="235"/>
                      <a:pt x="259" y="231"/>
                      <a:pt x="259" y="227"/>
                    </a:cubicBezTo>
                    <a:cubicBezTo>
                      <a:pt x="259" y="222"/>
                      <a:pt x="255" y="219"/>
                      <a:pt x="251" y="219"/>
                    </a:cubicBezTo>
                    <a:cubicBezTo>
                      <a:pt x="97" y="219"/>
                      <a:pt x="97" y="219"/>
                      <a:pt x="97" y="219"/>
                    </a:cubicBezTo>
                    <a:cubicBezTo>
                      <a:pt x="106" y="194"/>
                      <a:pt x="106" y="194"/>
                      <a:pt x="106" y="194"/>
                    </a:cubicBezTo>
                    <a:cubicBezTo>
                      <a:pt x="107" y="194"/>
                      <a:pt x="108" y="195"/>
                      <a:pt x="110" y="195"/>
                    </a:cubicBezTo>
                    <a:cubicBezTo>
                      <a:pt x="251" y="195"/>
                      <a:pt x="251" y="195"/>
                      <a:pt x="251" y="195"/>
                    </a:cubicBezTo>
                    <a:cubicBezTo>
                      <a:pt x="255" y="195"/>
                      <a:pt x="258" y="192"/>
                      <a:pt x="260" y="188"/>
                    </a:cubicBezTo>
                    <a:cubicBezTo>
                      <a:pt x="300" y="63"/>
                      <a:pt x="300" y="63"/>
                      <a:pt x="300" y="63"/>
                    </a:cubicBezTo>
                    <a:cubicBezTo>
                      <a:pt x="301" y="60"/>
                      <a:pt x="300" y="57"/>
                      <a:pt x="298" y="55"/>
                    </a:cubicBezTo>
                    <a:close/>
                    <a:moveTo>
                      <a:pt x="115" y="267"/>
                    </a:moveTo>
                    <a:cubicBezTo>
                      <a:pt x="108" y="267"/>
                      <a:pt x="102" y="261"/>
                      <a:pt x="102" y="254"/>
                    </a:cubicBezTo>
                    <a:cubicBezTo>
                      <a:pt x="102" y="247"/>
                      <a:pt x="108" y="241"/>
                      <a:pt x="115" y="241"/>
                    </a:cubicBezTo>
                    <a:cubicBezTo>
                      <a:pt x="122" y="241"/>
                      <a:pt x="127" y="247"/>
                      <a:pt x="127" y="254"/>
                    </a:cubicBezTo>
                    <a:cubicBezTo>
                      <a:pt x="127" y="261"/>
                      <a:pt x="122" y="267"/>
                      <a:pt x="115" y="267"/>
                    </a:cubicBezTo>
                    <a:close/>
                    <a:moveTo>
                      <a:pt x="220" y="267"/>
                    </a:moveTo>
                    <a:cubicBezTo>
                      <a:pt x="213" y="267"/>
                      <a:pt x="207" y="261"/>
                      <a:pt x="207" y="254"/>
                    </a:cubicBezTo>
                    <a:cubicBezTo>
                      <a:pt x="207" y="247"/>
                      <a:pt x="213" y="241"/>
                      <a:pt x="220" y="241"/>
                    </a:cubicBezTo>
                    <a:cubicBezTo>
                      <a:pt x="227" y="241"/>
                      <a:pt x="233" y="247"/>
                      <a:pt x="233" y="254"/>
                    </a:cubicBezTo>
                    <a:cubicBezTo>
                      <a:pt x="233" y="261"/>
                      <a:pt x="227" y="267"/>
                      <a:pt x="220" y="267"/>
                    </a:cubicBezTo>
                    <a:close/>
                    <a:moveTo>
                      <a:pt x="271" y="91"/>
                    </a:moveTo>
                    <a:cubicBezTo>
                      <a:pt x="222" y="91"/>
                      <a:pt x="222" y="91"/>
                      <a:pt x="222" y="91"/>
                    </a:cubicBezTo>
                    <a:cubicBezTo>
                      <a:pt x="222" y="70"/>
                      <a:pt x="222" y="70"/>
                      <a:pt x="222" y="70"/>
                    </a:cubicBezTo>
                    <a:cubicBezTo>
                      <a:pt x="277" y="70"/>
                      <a:pt x="277" y="70"/>
                      <a:pt x="277" y="70"/>
                    </a:cubicBezTo>
                    <a:lnTo>
                      <a:pt x="271" y="91"/>
                    </a:lnTo>
                    <a:close/>
                    <a:moveTo>
                      <a:pt x="256" y="135"/>
                    </a:moveTo>
                    <a:cubicBezTo>
                      <a:pt x="222" y="135"/>
                      <a:pt x="222" y="135"/>
                      <a:pt x="222" y="135"/>
                    </a:cubicBezTo>
                    <a:cubicBezTo>
                      <a:pt x="222" y="111"/>
                      <a:pt x="222" y="111"/>
                      <a:pt x="222" y="111"/>
                    </a:cubicBezTo>
                    <a:cubicBezTo>
                      <a:pt x="264" y="111"/>
                      <a:pt x="264" y="111"/>
                      <a:pt x="264" y="111"/>
                    </a:cubicBezTo>
                    <a:lnTo>
                      <a:pt x="256" y="135"/>
                    </a:lnTo>
                    <a:close/>
                    <a:moveTo>
                      <a:pt x="158" y="135"/>
                    </a:moveTo>
                    <a:cubicBezTo>
                      <a:pt x="158" y="111"/>
                      <a:pt x="158" y="111"/>
                      <a:pt x="158" y="111"/>
                    </a:cubicBezTo>
                    <a:cubicBezTo>
                      <a:pt x="202" y="111"/>
                      <a:pt x="202" y="111"/>
                      <a:pt x="202" y="111"/>
                    </a:cubicBezTo>
                    <a:cubicBezTo>
                      <a:pt x="202" y="135"/>
                      <a:pt x="202" y="135"/>
                      <a:pt x="202" y="135"/>
                    </a:cubicBezTo>
                    <a:lnTo>
                      <a:pt x="158" y="135"/>
                    </a:lnTo>
                    <a:close/>
                    <a:moveTo>
                      <a:pt x="202" y="155"/>
                    </a:moveTo>
                    <a:cubicBezTo>
                      <a:pt x="202" y="175"/>
                      <a:pt x="202" y="175"/>
                      <a:pt x="202" y="175"/>
                    </a:cubicBezTo>
                    <a:cubicBezTo>
                      <a:pt x="158" y="175"/>
                      <a:pt x="158" y="175"/>
                      <a:pt x="158" y="175"/>
                    </a:cubicBezTo>
                    <a:cubicBezTo>
                      <a:pt x="158" y="155"/>
                      <a:pt x="158" y="155"/>
                      <a:pt x="158" y="155"/>
                    </a:cubicBezTo>
                    <a:lnTo>
                      <a:pt x="202" y="155"/>
                    </a:lnTo>
                    <a:close/>
                    <a:moveTo>
                      <a:pt x="94" y="111"/>
                    </a:move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39" y="135"/>
                      <a:pt x="139" y="135"/>
                      <a:pt x="139" y="135"/>
                    </a:cubicBezTo>
                    <a:cubicBezTo>
                      <a:pt x="103" y="135"/>
                      <a:pt x="103" y="135"/>
                      <a:pt x="103" y="135"/>
                    </a:cubicBezTo>
                    <a:lnTo>
                      <a:pt x="94" y="111"/>
                    </a:lnTo>
                    <a:close/>
                    <a:moveTo>
                      <a:pt x="158" y="91"/>
                    </a:moveTo>
                    <a:cubicBezTo>
                      <a:pt x="158" y="70"/>
                      <a:pt x="158" y="70"/>
                      <a:pt x="158" y="70"/>
                    </a:cubicBezTo>
                    <a:cubicBezTo>
                      <a:pt x="202" y="70"/>
                      <a:pt x="202" y="70"/>
                      <a:pt x="202" y="70"/>
                    </a:cubicBezTo>
                    <a:cubicBezTo>
                      <a:pt x="202" y="91"/>
                      <a:pt x="202" y="91"/>
                      <a:pt x="202" y="91"/>
                    </a:cubicBezTo>
                    <a:lnTo>
                      <a:pt x="158" y="91"/>
                    </a:lnTo>
                    <a:close/>
                    <a:moveTo>
                      <a:pt x="139" y="70"/>
                    </a:moveTo>
                    <a:cubicBezTo>
                      <a:pt x="139" y="91"/>
                      <a:pt x="139" y="91"/>
                      <a:pt x="139" y="91"/>
                    </a:cubicBezTo>
                    <a:cubicBezTo>
                      <a:pt x="87" y="91"/>
                      <a:pt x="87" y="91"/>
                      <a:pt x="87" y="91"/>
                    </a:cubicBezTo>
                    <a:cubicBezTo>
                      <a:pt x="80" y="70"/>
                      <a:pt x="80" y="70"/>
                      <a:pt x="80" y="70"/>
                    </a:cubicBezTo>
                    <a:lnTo>
                      <a:pt x="139" y="70"/>
                    </a:lnTo>
                    <a:close/>
                    <a:moveTo>
                      <a:pt x="109" y="155"/>
                    </a:moveTo>
                    <a:cubicBezTo>
                      <a:pt x="139" y="155"/>
                      <a:pt x="139" y="155"/>
                      <a:pt x="139" y="155"/>
                    </a:cubicBezTo>
                    <a:cubicBezTo>
                      <a:pt x="139" y="175"/>
                      <a:pt x="139" y="175"/>
                      <a:pt x="139" y="175"/>
                    </a:cubicBezTo>
                    <a:cubicBezTo>
                      <a:pt x="117" y="175"/>
                      <a:pt x="117" y="175"/>
                      <a:pt x="117" y="175"/>
                    </a:cubicBezTo>
                    <a:lnTo>
                      <a:pt x="109" y="155"/>
                    </a:lnTo>
                    <a:close/>
                    <a:moveTo>
                      <a:pt x="222" y="175"/>
                    </a:moveTo>
                    <a:cubicBezTo>
                      <a:pt x="222" y="155"/>
                      <a:pt x="222" y="155"/>
                      <a:pt x="222" y="155"/>
                    </a:cubicBezTo>
                    <a:cubicBezTo>
                      <a:pt x="250" y="155"/>
                      <a:pt x="250" y="155"/>
                      <a:pt x="250" y="155"/>
                    </a:cubicBezTo>
                    <a:cubicBezTo>
                      <a:pt x="244" y="175"/>
                      <a:pt x="244" y="175"/>
                      <a:pt x="244" y="175"/>
                    </a:cubicBezTo>
                    <a:lnTo>
                      <a:pt x="222" y="175"/>
                    </a:lnTo>
                    <a:close/>
                    <a:moveTo>
                      <a:pt x="222" y="175"/>
                    </a:moveTo>
                    <a:cubicBezTo>
                      <a:pt x="222" y="175"/>
                      <a:pt x="222" y="175"/>
                      <a:pt x="222" y="17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5" name="Groupe 35"/>
              <p:cNvGrpSpPr/>
              <p:nvPr/>
            </p:nvGrpSpPr>
            <p:grpSpPr>
              <a:xfrm>
                <a:off x="12498835" y="4364716"/>
                <a:ext cx="516514" cy="507641"/>
                <a:chOff x="6438901" y="2751138"/>
                <a:chExt cx="831850" cy="817562"/>
              </a:xfrm>
              <a:solidFill>
                <a:schemeClr val="bg1"/>
              </a:solidFill>
            </p:grpSpPr>
            <p:sp>
              <p:nvSpPr>
                <p:cNvPr id="64" name="Freeform 16"/>
                <p:cNvSpPr>
                  <a:spLocks/>
                </p:cNvSpPr>
                <p:nvPr/>
              </p:nvSpPr>
              <p:spPr bwMode="auto">
                <a:xfrm>
                  <a:off x="6889751" y="3303588"/>
                  <a:ext cx="258763" cy="123825"/>
                </a:xfrm>
                <a:custGeom>
                  <a:avLst/>
                  <a:gdLst>
                    <a:gd name="T0" fmla="*/ 163 w 163"/>
                    <a:gd name="T1" fmla="*/ 0 h 78"/>
                    <a:gd name="T2" fmla="*/ 0 w 163"/>
                    <a:gd name="T3" fmla="*/ 50 h 78"/>
                    <a:gd name="T4" fmla="*/ 0 w 163"/>
                    <a:gd name="T5" fmla="*/ 78 h 78"/>
                    <a:gd name="T6" fmla="*/ 162 w 163"/>
                    <a:gd name="T7" fmla="*/ 26 h 78"/>
                    <a:gd name="T8" fmla="*/ 163 w 163"/>
                    <a:gd name="T9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3" h="78">
                      <a:moveTo>
                        <a:pt x="163" y="0"/>
                      </a:moveTo>
                      <a:lnTo>
                        <a:pt x="0" y="50"/>
                      </a:lnTo>
                      <a:lnTo>
                        <a:pt x="0" y="78"/>
                      </a:lnTo>
                      <a:lnTo>
                        <a:pt x="162" y="26"/>
                      </a:lnTo>
                      <a:lnTo>
                        <a:pt x="16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5" name="Freeform 17"/>
                <p:cNvSpPr>
                  <a:spLocks/>
                </p:cNvSpPr>
                <p:nvPr/>
              </p:nvSpPr>
              <p:spPr bwMode="auto">
                <a:xfrm>
                  <a:off x="6905626" y="3022600"/>
                  <a:ext cx="104775" cy="306387"/>
                </a:xfrm>
                <a:custGeom>
                  <a:avLst/>
                  <a:gdLst>
                    <a:gd name="T0" fmla="*/ 17 w 66"/>
                    <a:gd name="T1" fmla="*/ 193 h 193"/>
                    <a:gd name="T2" fmla="*/ 45 w 66"/>
                    <a:gd name="T3" fmla="*/ 185 h 193"/>
                    <a:gd name="T4" fmla="*/ 47 w 66"/>
                    <a:gd name="T5" fmla="*/ 61 h 193"/>
                    <a:gd name="T6" fmla="*/ 66 w 66"/>
                    <a:gd name="T7" fmla="*/ 56 h 193"/>
                    <a:gd name="T8" fmla="*/ 34 w 66"/>
                    <a:gd name="T9" fmla="*/ 0 h 193"/>
                    <a:gd name="T10" fmla="*/ 0 w 66"/>
                    <a:gd name="T11" fmla="*/ 73 h 193"/>
                    <a:gd name="T12" fmla="*/ 18 w 66"/>
                    <a:gd name="T13" fmla="*/ 68 h 193"/>
                    <a:gd name="T14" fmla="*/ 17 w 66"/>
                    <a:gd name="T15" fmla="*/ 193 h 1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6" h="193">
                      <a:moveTo>
                        <a:pt x="17" y="193"/>
                      </a:moveTo>
                      <a:lnTo>
                        <a:pt x="45" y="185"/>
                      </a:lnTo>
                      <a:lnTo>
                        <a:pt x="47" y="61"/>
                      </a:lnTo>
                      <a:lnTo>
                        <a:pt x="66" y="56"/>
                      </a:lnTo>
                      <a:lnTo>
                        <a:pt x="34" y="0"/>
                      </a:lnTo>
                      <a:lnTo>
                        <a:pt x="0" y="73"/>
                      </a:lnTo>
                      <a:lnTo>
                        <a:pt x="18" y="68"/>
                      </a:lnTo>
                      <a:lnTo>
                        <a:pt x="17" y="19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6" name="Freeform 18"/>
                <p:cNvSpPr>
                  <a:spLocks/>
                </p:cNvSpPr>
                <p:nvPr/>
              </p:nvSpPr>
              <p:spPr bwMode="auto">
                <a:xfrm>
                  <a:off x="7043738" y="2992438"/>
                  <a:ext cx="96838" cy="296862"/>
                </a:xfrm>
                <a:custGeom>
                  <a:avLst/>
                  <a:gdLst>
                    <a:gd name="T0" fmla="*/ 15 w 61"/>
                    <a:gd name="T1" fmla="*/ 187 h 187"/>
                    <a:gd name="T2" fmla="*/ 39 w 61"/>
                    <a:gd name="T3" fmla="*/ 179 h 187"/>
                    <a:gd name="T4" fmla="*/ 43 w 61"/>
                    <a:gd name="T5" fmla="*/ 59 h 187"/>
                    <a:gd name="T6" fmla="*/ 61 w 61"/>
                    <a:gd name="T7" fmla="*/ 55 h 187"/>
                    <a:gd name="T8" fmla="*/ 33 w 61"/>
                    <a:gd name="T9" fmla="*/ 0 h 187"/>
                    <a:gd name="T10" fmla="*/ 0 w 61"/>
                    <a:gd name="T11" fmla="*/ 70 h 187"/>
                    <a:gd name="T12" fmla="*/ 18 w 61"/>
                    <a:gd name="T13" fmla="*/ 66 h 187"/>
                    <a:gd name="T14" fmla="*/ 15 w 61"/>
                    <a:gd name="T15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1" h="187">
                      <a:moveTo>
                        <a:pt x="15" y="187"/>
                      </a:moveTo>
                      <a:lnTo>
                        <a:pt x="39" y="179"/>
                      </a:lnTo>
                      <a:lnTo>
                        <a:pt x="43" y="59"/>
                      </a:lnTo>
                      <a:lnTo>
                        <a:pt x="61" y="55"/>
                      </a:lnTo>
                      <a:lnTo>
                        <a:pt x="33" y="0"/>
                      </a:lnTo>
                      <a:lnTo>
                        <a:pt x="0" y="70"/>
                      </a:lnTo>
                      <a:lnTo>
                        <a:pt x="18" y="66"/>
                      </a:lnTo>
                      <a:lnTo>
                        <a:pt x="1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" name="Freeform 19"/>
                <p:cNvSpPr>
                  <a:spLocks noEditPoints="1"/>
                </p:cNvSpPr>
                <p:nvPr/>
              </p:nvSpPr>
              <p:spPr bwMode="auto">
                <a:xfrm>
                  <a:off x="6438901" y="2751138"/>
                  <a:ext cx="831850" cy="817562"/>
                </a:xfrm>
                <a:custGeom>
                  <a:avLst/>
                  <a:gdLst>
                    <a:gd name="T0" fmla="*/ 524 w 524"/>
                    <a:gd name="T1" fmla="*/ 63 h 515"/>
                    <a:gd name="T2" fmla="*/ 524 w 524"/>
                    <a:gd name="T3" fmla="*/ 63 h 515"/>
                    <a:gd name="T4" fmla="*/ 416 w 524"/>
                    <a:gd name="T5" fmla="*/ 33 h 515"/>
                    <a:gd name="T6" fmla="*/ 108 w 524"/>
                    <a:gd name="T7" fmla="*/ 86 h 515"/>
                    <a:gd name="T8" fmla="*/ 108 w 524"/>
                    <a:gd name="T9" fmla="*/ 86 h 515"/>
                    <a:gd name="T10" fmla="*/ 112 w 524"/>
                    <a:gd name="T11" fmla="*/ 222 h 515"/>
                    <a:gd name="T12" fmla="*/ 104 w 524"/>
                    <a:gd name="T13" fmla="*/ 207 h 515"/>
                    <a:gd name="T14" fmla="*/ 97 w 524"/>
                    <a:gd name="T15" fmla="*/ 214 h 515"/>
                    <a:gd name="T16" fmla="*/ 89 w 524"/>
                    <a:gd name="T17" fmla="*/ 200 h 515"/>
                    <a:gd name="T18" fmla="*/ 82 w 524"/>
                    <a:gd name="T19" fmla="*/ 207 h 515"/>
                    <a:gd name="T20" fmla="*/ 78 w 524"/>
                    <a:gd name="T21" fmla="*/ 74 h 515"/>
                    <a:gd name="T22" fmla="*/ 383 w 524"/>
                    <a:gd name="T23" fmla="*/ 24 h 515"/>
                    <a:gd name="T24" fmla="*/ 294 w 524"/>
                    <a:gd name="T25" fmla="*/ 0 h 515"/>
                    <a:gd name="T26" fmla="*/ 294 w 524"/>
                    <a:gd name="T27" fmla="*/ 0 h 515"/>
                    <a:gd name="T28" fmla="*/ 294 w 524"/>
                    <a:gd name="T29" fmla="*/ 0 h 515"/>
                    <a:gd name="T30" fmla="*/ 0 w 524"/>
                    <a:gd name="T31" fmla="*/ 43 h 515"/>
                    <a:gd name="T32" fmla="*/ 17 w 524"/>
                    <a:gd name="T33" fmla="*/ 378 h 515"/>
                    <a:gd name="T34" fmla="*/ 209 w 524"/>
                    <a:gd name="T35" fmla="*/ 515 h 515"/>
                    <a:gd name="T36" fmla="*/ 505 w 524"/>
                    <a:gd name="T37" fmla="*/ 412 h 515"/>
                    <a:gd name="T38" fmla="*/ 505 w 524"/>
                    <a:gd name="T39" fmla="*/ 412 h 515"/>
                    <a:gd name="T40" fmla="*/ 505 w 524"/>
                    <a:gd name="T41" fmla="*/ 412 h 515"/>
                    <a:gd name="T42" fmla="*/ 524 w 524"/>
                    <a:gd name="T43" fmla="*/ 63 h 515"/>
                    <a:gd name="T44" fmla="*/ 524 w 524"/>
                    <a:gd name="T45" fmla="*/ 63 h 515"/>
                    <a:gd name="T46" fmla="*/ 483 w 524"/>
                    <a:gd name="T47" fmla="*/ 391 h 515"/>
                    <a:gd name="T48" fmla="*/ 238 w 524"/>
                    <a:gd name="T49" fmla="*/ 473 h 515"/>
                    <a:gd name="T50" fmla="*/ 236 w 524"/>
                    <a:gd name="T51" fmla="*/ 156 h 515"/>
                    <a:gd name="T52" fmla="*/ 496 w 524"/>
                    <a:gd name="T53" fmla="*/ 101 h 515"/>
                    <a:gd name="T54" fmla="*/ 483 w 524"/>
                    <a:gd name="T55" fmla="*/ 391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524" h="515">
                      <a:moveTo>
                        <a:pt x="524" y="63"/>
                      </a:moveTo>
                      <a:lnTo>
                        <a:pt x="524" y="63"/>
                      </a:lnTo>
                      <a:lnTo>
                        <a:pt x="416" y="33"/>
                      </a:lnTo>
                      <a:lnTo>
                        <a:pt x="108" y="86"/>
                      </a:lnTo>
                      <a:lnTo>
                        <a:pt x="108" y="86"/>
                      </a:lnTo>
                      <a:lnTo>
                        <a:pt x="112" y="222"/>
                      </a:lnTo>
                      <a:lnTo>
                        <a:pt x="104" y="207"/>
                      </a:lnTo>
                      <a:lnTo>
                        <a:pt x="97" y="214"/>
                      </a:lnTo>
                      <a:lnTo>
                        <a:pt x="89" y="200"/>
                      </a:lnTo>
                      <a:lnTo>
                        <a:pt x="82" y="207"/>
                      </a:lnTo>
                      <a:lnTo>
                        <a:pt x="78" y="74"/>
                      </a:lnTo>
                      <a:lnTo>
                        <a:pt x="383" y="24"/>
                      </a:lnTo>
                      <a:lnTo>
                        <a:pt x="294" y="0"/>
                      </a:lnTo>
                      <a:lnTo>
                        <a:pt x="294" y="0"/>
                      </a:lnTo>
                      <a:lnTo>
                        <a:pt x="294" y="0"/>
                      </a:lnTo>
                      <a:lnTo>
                        <a:pt x="0" y="43"/>
                      </a:lnTo>
                      <a:lnTo>
                        <a:pt x="17" y="378"/>
                      </a:lnTo>
                      <a:lnTo>
                        <a:pt x="209" y="515"/>
                      </a:lnTo>
                      <a:lnTo>
                        <a:pt x="505" y="412"/>
                      </a:lnTo>
                      <a:lnTo>
                        <a:pt x="505" y="412"/>
                      </a:lnTo>
                      <a:lnTo>
                        <a:pt x="505" y="412"/>
                      </a:lnTo>
                      <a:lnTo>
                        <a:pt x="524" y="63"/>
                      </a:lnTo>
                      <a:lnTo>
                        <a:pt x="524" y="63"/>
                      </a:lnTo>
                      <a:close/>
                      <a:moveTo>
                        <a:pt x="483" y="391"/>
                      </a:moveTo>
                      <a:lnTo>
                        <a:pt x="238" y="473"/>
                      </a:lnTo>
                      <a:lnTo>
                        <a:pt x="236" y="156"/>
                      </a:lnTo>
                      <a:lnTo>
                        <a:pt x="496" y="101"/>
                      </a:lnTo>
                      <a:lnTo>
                        <a:pt x="483" y="3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56" name="Group 96"/>
              <p:cNvGrpSpPr>
                <a:grpSpLocks noChangeAspect="1"/>
              </p:cNvGrpSpPr>
              <p:nvPr/>
            </p:nvGrpSpPr>
            <p:grpSpPr bwMode="auto">
              <a:xfrm>
                <a:off x="12434766" y="3128664"/>
                <a:ext cx="570386" cy="517254"/>
                <a:chOff x="6897" y="895"/>
                <a:chExt cx="365" cy="331"/>
              </a:xfrm>
              <a:solidFill>
                <a:schemeClr val="bg1"/>
              </a:solidFill>
            </p:grpSpPr>
            <p:sp>
              <p:nvSpPr>
                <p:cNvPr id="62" name="Freeform 97"/>
                <p:cNvSpPr>
                  <a:spLocks noEditPoints="1"/>
                </p:cNvSpPr>
                <p:nvPr/>
              </p:nvSpPr>
              <p:spPr bwMode="auto">
                <a:xfrm>
                  <a:off x="6897" y="895"/>
                  <a:ext cx="365" cy="173"/>
                </a:xfrm>
                <a:custGeom>
                  <a:avLst/>
                  <a:gdLst>
                    <a:gd name="T0" fmla="*/ 51 w 51"/>
                    <a:gd name="T1" fmla="*/ 21 h 24"/>
                    <a:gd name="T2" fmla="*/ 27 w 51"/>
                    <a:gd name="T3" fmla="*/ 0 h 24"/>
                    <a:gd name="T4" fmla="*/ 25 w 51"/>
                    <a:gd name="T5" fmla="*/ 0 h 24"/>
                    <a:gd name="T6" fmla="*/ 16 w 51"/>
                    <a:gd name="T7" fmla="*/ 8 h 24"/>
                    <a:gd name="T8" fmla="*/ 16 w 51"/>
                    <a:gd name="T9" fmla="*/ 5 h 24"/>
                    <a:gd name="T10" fmla="*/ 13 w 51"/>
                    <a:gd name="T11" fmla="*/ 2 h 24"/>
                    <a:gd name="T12" fmla="*/ 10 w 51"/>
                    <a:gd name="T13" fmla="*/ 5 h 24"/>
                    <a:gd name="T14" fmla="*/ 10 w 51"/>
                    <a:gd name="T15" fmla="*/ 13 h 24"/>
                    <a:gd name="T16" fmla="*/ 1 w 51"/>
                    <a:gd name="T17" fmla="*/ 21 h 24"/>
                    <a:gd name="T18" fmla="*/ 0 w 51"/>
                    <a:gd name="T19" fmla="*/ 23 h 24"/>
                    <a:gd name="T20" fmla="*/ 3 w 51"/>
                    <a:gd name="T21" fmla="*/ 24 h 24"/>
                    <a:gd name="T22" fmla="*/ 26 w 51"/>
                    <a:gd name="T23" fmla="*/ 4 h 24"/>
                    <a:gd name="T24" fmla="*/ 49 w 51"/>
                    <a:gd name="T25" fmla="*/ 24 h 24"/>
                    <a:gd name="T26" fmla="*/ 50 w 51"/>
                    <a:gd name="T27" fmla="*/ 24 h 24"/>
                    <a:gd name="T28" fmla="*/ 51 w 51"/>
                    <a:gd name="T29" fmla="*/ 23 h 24"/>
                    <a:gd name="T30" fmla="*/ 51 w 51"/>
                    <a:gd name="T31" fmla="*/ 21 h 24"/>
                    <a:gd name="T32" fmla="*/ 51 w 51"/>
                    <a:gd name="T33" fmla="*/ 21 h 24"/>
                    <a:gd name="T34" fmla="*/ 51 w 51"/>
                    <a:gd name="T35" fmla="*/ 21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1" h="24">
                      <a:moveTo>
                        <a:pt x="51" y="21"/>
                      </a:move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26" y="0"/>
                        <a:pt x="25" y="0"/>
                        <a:pt x="25" y="0"/>
                      </a:cubicBezTo>
                      <a:cubicBezTo>
                        <a:pt x="16" y="8"/>
                        <a:pt x="16" y="8"/>
                        <a:pt x="16" y="8"/>
                      </a:cubicBezTo>
                      <a:cubicBezTo>
                        <a:pt x="16" y="5"/>
                        <a:pt x="16" y="5"/>
                        <a:pt x="16" y="5"/>
                      </a:cubicBezTo>
                      <a:cubicBezTo>
                        <a:pt x="16" y="3"/>
                        <a:pt x="15" y="2"/>
                        <a:pt x="13" y="2"/>
                      </a:cubicBezTo>
                      <a:cubicBezTo>
                        <a:pt x="11" y="2"/>
                        <a:pt x="10" y="3"/>
                        <a:pt x="10" y="5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" y="21"/>
                        <a:pt x="1" y="21"/>
                        <a:pt x="1" y="21"/>
                      </a:cubicBezTo>
                      <a:cubicBezTo>
                        <a:pt x="0" y="22"/>
                        <a:pt x="0" y="23"/>
                        <a:pt x="0" y="23"/>
                      </a:cubicBezTo>
                      <a:cubicBezTo>
                        <a:pt x="1" y="24"/>
                        <a:pt x="2" y="24"/>
                        <a:pt x="3" y="24"/>
                      </a:cubicBezTo>
                      <a:cubicBezTo>
                        <a:pt x="26" y="4"/>
                        <a:pt x="26" y="4"/>
                        <a:pt x="26" y="4"/>
                      </a:cubicBezTo>
                      <a:cubicBezTo>
                        <a:pt x="49" y="24"/>
                        <a:pt x="49" y="24"/>
                        <a:pt x="49" y="24"/>
                      </a:cubicBezTo>
                      <a:cubicBezTo>
                        <a:pt x="49" y="24"/>
                        <a:pt x="49" y="24"/>
                        <a:pt x="50" y="24"/>
                      </a:cubicBezTo>
                      <a:cubicBezTo>
                        <a:pt x="50" y="24"/>
                        <a:pt x="50" y="24"/>
                        <a:pt x="51" y="23"/>
                      </a:cubicBezTo>
                      <a:cubicBezTo>
                        <a:pt x="51" y="23"/>
                        <a:pt x="51" y="22"/>
                        <a:pt x="51" y="21"/>
                      </a:cubicBezTo>
                      <a:close/>
                      <a:moveTo>
                        <a:pt x="51" y="21"/>
                      </a:moveTo>
                      <a:cubicBezTo>
                        <a:pt x="51" y="21"/>
                        <a:pt x="51" y="21"/>
                        <a:pt x="51" y="2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" name="Freeform 98"/>
                <p:cNvSpPr>
                  <a:spLocks noEditPoints="1"/>
                </p:cNvSpPr>
                <p:nvPr/>
              </p:nvSpPr>
              <p:spPr bwMode="auto">
                <a:xfrm>
                  <a:off x="6940" y="974"/>
                  <a:ext cx="279" cy="252"/>
                </a:xfrm>
                <a:custGeom>
                  <a:avLst/>
                  <a:gdLst>
                    <a:gd name="T0" fmla="*/ 22 w 39"/>
                    <a:gd name="T1" fmla="*/ 1 h 35"/>
                    <a:gd name="T2" fmla="*/ 20 w 39"/>
                    <a:gd name="T3" fmla="*/ 0 h 35"/>
                    <a:gd name="T4" fmla="*/ 18 w 39"/>
                    <a:gd name="T5" fmla="*/ 1 h 35"/>
                    <a:gd name="T6" fmla="*/ 2 w 39"/>
                    <a:gd name="T7" fmla="*/ 14 h 35"/>
                    <a:gd name="T8" fmla="*/ 0 w 39"/>
                    <a:gd name="T9" fmla="*/ 17 h 35"/>
                    <a:gd name="T10" fmla="*/ 0 w 39"/>
                    <a:gd name="T11" fmla="*/ 32 h 35"/>
                    <a:gd name="T12" fmla="*/ 4 w 39"/>
                    <a:gd name="T13" fmla="*/ 35 h 35"/>
                    <a:gd name="T14" fmla="*/ 13 w 39"/>
                    <a:gd name="T15" fmla="*/ 35 h 35"/>
                    <a:gd name="T16" fmla="*/ 13 w 39"/>
                    <a:gd name="T17" fmla="*/ 19 h 35"/>
                    <a:gd name="T18" fmla="*/ 26 w 39"/>
                    <a:gd name="T19" fmla="*/ 19 h 35"/>
                    <a:gd name="T20" fmla="*/ 26 w 39"/>
                    <a:gd name="T21" fmla="*/ 35 h 35"/>
                    <a:gd name="T22" fmla="*/ 36 w 39"/>
                    <a:gd name="T23" fmla="*/ 35 h 35"/>
                    <a:gd name="T24" fmla="*/ 39 w 39"/>
                    <a:gd name="T25" fmla="*/ 32 h 35"/>
                    <a:gd name="T26" fmla="*/ 39 w 39"/>
                    <a:gd name="T27" fmla="*/ 17 h 35"/>
                    <a:gd name="T28" fmla="*/ 38 w 39"/>
                    <a:gd name="T29" fmla="*/ 14 h 35"/>
                    <a:gd name="T30" fmla="*/ 22 w 39"/>
                    <a:gd name="T31" fmla="*/ 1 h 35"/>
                    <a:gd name="T32" fmla="*/ 22 w 39"/>
                    <a:gd name="T33" fmla="*/ 1 h 35"/>
                    <a:gd name="T34" fmla="*/ 22 w 39"/>
                    <a:gd name="T35" fmla="*/ 1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39" h="35">
                      <a:moveTo>
                        <a:pt x="22" y="1"/>
                      </a:moveTo>
                      <a:cubicBezTo>
                        <a:pt x="21" y="0"/>
                        <a:pt x="20" y="0"/>
                        <a:pt x="20" y="0"/>
                      </a:cubicBezTo>
                      <a:cubicBezTo>
                        <a:pt x="19" y="0"/>
                        <a:pt x="18" y="0"/>
                        <a:pt x="18" y="1"/>
                      </a:cubicBezTo>
                      <a:cubicBezTo>
                        <a:pt x="2" y="14"/>
                        <a:pt x="2" y="14"/>
                        <a:pt x="2" y="14"/>
                      </a:cubicBezTo>
                      <a:cubicBezTo>
                        <a:pt x="1" y="15"/>
                        <a:pt x="0" y="16"/>
                        <a:pt x="0" y="17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34"/>
                        <a:pt x="2" y="35"/>
                        <a:pt x="4" y="35"/>
                      </a:cubicBezTo>
                      <a:cubicBezTo>
                        <a:pt x="13" y="35"/>
                        <a:pt x="13" y="35"/>
                        <a:pt x="13" y="35"/>
                      </a:cubicBezTo>
                      <a:cubicBezTo>
                        <a:pt x="13" y="19"/>
                        <a:pt x="13" y="19"/>
                        <a:pt x="13" y="19"/>
                      </a:cubicBezTo>
                      <a:cubicBezTo>
                        <a:pt x="26" y="19"/>
                        <a:pt x="26" y="19"/>
                        <a:pt x="26" y="19"/>
                      </a:cubicBezTo>
                      <a:cubicBezTo>
                        <a:pt x="26" y="35"/>
                        <a:pt x="26" y="35"/>
                        <a:pt x="26" y="35"/>
                      </a:cubicBezTo>
                      <a:cubicBezTo>
                        <a:pt x="36" y="35"/>
                        <a:pt x="36" y="35"/>
                        <a:pt x="36" y="35"/>
                      </a:cubicBezTo>
                      <a:cubicBezTo>
                        <a:pt x="37" y="35"/>
                        <a:pt x="39" y="34"/>
                        <a:pt x="39" y="32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39" y="16"/>
                        <a:pt x="38" y="15"/>
                        <a:pt x="38" y="14"/>
                      </a:cubicBezTo>
                      <a:lnTo>
                        <a:pt x="22" y="1"/>
                      </a:lnTo>
                      <a:close/>
                      <a:moveTo>
                        <a:pt x="22" y="1"/>
                      </a:moveTo>
                      <a:cubicBezTo>
                        <a:pt x="22" y="1"/>
                        <a:pt x="22" y="1"/>
                        <a:pt x="22" y="1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57" name="Freeform 102"/>
              <p:cNvSpPr>
                <a:spLocks noEditPoints="1"/>
              </p:cNvSpPr>
              <p:nvPr/>
            </p:nvSpPr>
            <p:spPr bwMode="auto">
              <a:xfrm>
                <a:off x="7831771" y="3977191"/>
                <a:ext cx="796399" cy="748704"/>
              </a:xfrm>
              <a:custGeom>
                <a:avLst/>
                <a:gdLst>
                  <a:gd name="T0" fmla="*/ 291 w 301"/>
                  <a:gd name="T1" fmla="*/ 51 h 283"/>
                  <a:gd name="T2" fmla="*/ 73 w 301"/>
                  <a:gd name="T3" fmla="*/ 51 h 283"/>
                  <a:gd name="T4" fmla="*/ 59 w 301"/>
                  <a:gd name="T5" fmla="*/ 19 h 283"/>
                  <a:gd name="T6" fmla="*/ 2 w 301"/>
                  <a:gd name="T7" fmla="*/ 7 h 283"/>
                  <a:gd name="T8" fmla="*/ 48 w 301"/>
                  <a:gd name="T9" fmla="*/ 36 h 283"/>
                  <a:gd name="T10" fmla="*/ 93 w 301"/>
                  <a:gd name="T11" fmla="*/ 184 h 283"/>
                  <a:gd name="T12" fmla="*/ 79 w 301"/>
                  <a:gd name="T13" fmla="*/ 231 h 283"/>
                  <a:gd name="T14" fmla="*/ 93 w 301"/>
                  <a:gd name="T15" fmla="*/ 235 h 283"/>
                  <a:gd name="T16" fmla="*/ 115 w 301"/>
                  <a:gd name="T17" fmla="*/ 283 h 283"/>
                  <a:gd name="T18" fmla="*/ 136 w 301"/>
                  <a:gd name="T19" fmla="*/ 235 h 283"/>
                  <a:gd name="T20" fmla="*/ 191 w 301"/>
                  <a:gd name="T21" fmla="*/ 254 h 283"/>
                  <a:gd name="T22" fmla="*/ 249 w 301"/>
                  <a:gd name="T23" fmla="*/ 254 h 283"/>
                  <a:gd name="T24" fmla="*/ 251 w 301"/>
                  <a:gd name="T25" fmla="*/ 235 h 283"/>
                  <a:gd name="T26" fmla="*/ 251 w 301"/>
                  <a:gd name="T27" fmla="*/ 219 h 283"/>
                  <a:gd name="T28" fmla="*/ 106 w 301"/>
                  <a:gd name="T29" fmla="*/ 194 h 283"/>
                  <a:gd name="T30" fmla="*/ 251 w 301"/>
                  <a:gd name="T31" fmla="*/ 195 h 283"/>
                  <a:gd name="T32" fmla="*/ 300 w 301"/>
                  <a:gd name="T33" fmla="*/ 63 h 283"/>
                  <a:gd name="T34" fmla="*/ 115 w 301"/>
                  <a:gd name="T35" fmla="*/ 267 h 283"/>
                  <a:gd name="T36" fmla="*/ 115 w 301"/>
                  <a:gd name="T37" fmla="*/ 241 h 283"/>
                  <a:gd name="T38" fmla="*/ 115 w 301"/>
                  <a:gd name="T39" fmla="*/ 267 h 283"/>
                  <a:gd name="T40" fmla="*/ 207 w 301"/>
                  <a:gd name="T41" fmla="*/ 254 h 283"/>
                  <a:gd name="T42" fmla="*/ 233 w 301"/>
                  <a:gd name="T43" fmla="*/ 254 h 283"/>
                  <a:gd name="T44" fmla="*/ 271 w 301"/>
                  <a:gd name="T45" fmla="*/ 91 h 283"/>
                  <a:gd name="T46" fmla="*/ 222 w 301"/>
                  <a:gd name="T47" fmla="*/ 70 h 283"/>
                  <a:gd name="T48" fmla="*/ 271 w 301"/>
                  <a:gd name="T49" fmla="*/ 91 h 283"/>
                  <a:gd name="T50" fmla="*/ 222 w 301"/>
                  <a:gd name="T51" fmla="*/ 135 h 283"/>
                  <a:gd name="T52" fmla="*/ 264 w 301"/>
                  <a:gd name="T53" fmla="*/ 111 h 283"/>
                  <a:gd name="T54" fmla="*/ 158 w 301"/>
                  <a:gd name="T55" fmla="*/ 135 h 283"/>
                  <a:gd name="T56" fmla="*/ 202 w 301"/>
                  <a:gd name="T57" fmla="*/ 111 h 283"/>
                  <a:gd name="T58" fmla="*/ 158 w 301"/>
                  <a:gd name="T59" fmla="*/ 135 h 283"/>
                  <a:gd name="T60" fmla="*/ 202 w 301"/>
                  <a:gd name="T61" fmla="*/ 175 h 283"/>
                  <a:gd name="T62" fmla="*/ 158 w 301"/>
                  <a:gd name="T63" fmla="*/ 155 h 283"/>
                  <a:gd name="T64" fmla="*/ 94 w 301"/>
                  <a:gd name="T65" fmla="*/ 111 h 283"/>
                  <a:gd name="T66" fmla="*/ 139 w 301"/>
                  <a:gd name="T67" fmla="*/ 135 h 283"/>
                  <a:gd name="T68" fmla="*/ 94 w 301"/>
                  <a:gd name="T69" fmla="*/ 111 h 283"/>
                  <a:gd name="T70" fmla="*/ 158 w 301"/>
                  <a:gd name="T71" fmla="*/ 70 h 283"/>
                  <a:gd name="T72" fmla="*/ 202 w 301"/>
                  <a:gd name="T73" fmla="*/ 91 h 283"/>
                  <a:gd name="T74" fmla="*/ 139 w 301"/>
                  <a:gd name="T75" fmla="*/ 70 h 283"/>
                  <a:gd name="T76" fmla="*/ 87 w 301"/>
                  <a:gd name="T77" fmla="*/ 91 h 283"/>
                  <a:gd name="T78" fmla="*/ 139 w 301"/>
                  <a:gd name="T79" fmla="*/ 70 h 283"/>
                  <a:gd name="T80" fmla="*/ 139 w 301"/>
                  <a:gd name="T81" fmla="*/ 155 h 283"/>
                  <a:gd name="T82" fmla="*/ 117 w 301"/>
                  <a:gd name="T83" fmla="*/ 175 h 283"/>
                  <a:gd name="T84" fmla="*/ 222 w 301"/>
                  <a:gd name="T85" fmla="*/ 175 h 283"/>
                  <a:gd name="T86" fmla="*/ 250 w 301"/>
                  <a:gd name="T87" fmla="*/ 155 h 283"/>
                  <a:gd name="T88" fmla="*/ 222 w 301"/>
                  <a:gd name="T89" fmla="*/ 175 h 283"/>
                  <a:gd name="T90" fmla="*/ 222 w 301"/>
                  <a:gd name="T91" fmla="*/ 175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1" h="283">
                    <a:moveTo>
                      <a:pt x="298" y="55"/>
                    </a:moveTo>
                    <a:cubicBezTo>
                      <a:pt x="297" y="52"/>
                      <a:pt x="294" y="51"/>
                      <a:pt x="291" y="51"/>
                    </a:cubicBezTo>
                    <a:cubicBezTo>
                      <a:pt x="75" y="51"/>
                      <a:pt x="75" y="51"/>
                      <a:pt x="75" y="51"/>
                    </a:cubicBezTo>
                    <a:cubicBezTo>
                      <a:pt x="74" y="51"/>
                      <a:pt x="74" y="51"/>
                      <a:pt x="73" y="51"/>
                    </a:cubicBezTo>
                    <a:cubicBezTo>
                      <a:pt x="64" y="25"/>
                      <a:pt x="64" y="25"/>
                      <a:pt x="64" y="25"/>
                    </a:cubicBezTo>
                    <a:cubicBezTo>
                      <a:pt x="64" y="22"/>
                      <a:pt x="62" y="20"/>
                      <a:pt x="59" y="19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9" y="0"/>
                      <a:pt x="4" y="2"/>
                      <a:pt x="2" y="7"/>
                    </a:cubicBezTo>
                    <a:cubicBezTo>
                      <a:pt x="0" y="12"/>
                      <a:pt x="2" y="18"/>
                      <a:pt x="7" y="20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98" y="179"/>
                      <a:pt x="98" y="179"/>
                      <a:pt x="98" y="179"/>
                    </a:cubicBezTo>
                    <a:cubicBezTo>
                      <a:pt x="95" y="180"/>
                      <a:pt x="94" y="182"/>
                      <a:pt x="93" y="184"/>
                    </a:cubicBezTo>
                    <a:cubicBezTo>
                      <a:pt x="78" y="224"/>
                      <a:pt x="78" y="224"/>
                      <a:pt x="78" y="224"/>
                    </a:cubicBezTo>
                    <a:cubicBezTo>
                      <a:pt x="77" y="226"/>
                      <a:pt x="78" y="229"/>
                      <a:pt x="79" y="231"/>
                    </a:cubicBezTo>
                    <a:cubicBezTo>
                      <a:pt x="81" y="233"/>
                      <a:pt x="83" y="235"/>
                      <a:pt x="86" y="235"/>
                    </a:cubicBezTo>
                    <a:cubicBezTo>
                      <a:pt x="93" y="235"/>
                      <a:pt x="93" y="235"/>
                      <a:pt x="93" y="235"/>
                    </a:cubicBezTo>
                    <a:cubicBezTo>
                      <a:pt x="89" y="240"/>
                      <a:pt x="86" y="246"/>
                      <a:pt x="86" y="254"/>
                    </a:cubicBezTo>
                    <a:cubicBezTo>
                      <a:pt x="86" y="270"/>
                      <a:pt x="99" y="283"/>
                      <a:pt x="115" y="283"/>
                    </a:cubicBezTo>
                    <a:cubicBezTo>
                      <a:pt x="130" y="283"/>
                      <a:pt x="143" y="270"/>
                      <a:pt x="143" y="254"/>
                    </a:cubicBezTo>
                    <a:cubicBezTo>
                      <a:pt x="143" y="246"/>
                      <a:pt x="141" y="240"/>
                      <a:pt x="136" y="235"/>
                    </a:cubicBezTo>
                    <a:cubicBezTo>
                      <a:pt x="199" y="235"/>
                      <a:pt x="199" y="235"/>
                      <a:pt x="199" y="235"/>
                    </a:cubicBezTo>
                    <a:cubicBezTo>
                      <a:pt x="194" y="240"/>
                      <a:pt x="191" y="246"/>
                      <a:pt x="191" y="254"/>
                    </a:cubicBezTo>
                    <a:cubicBezTo>
                      <a:pt x="191" y="270"/>
                      <a:pt x="204" y="283"/>
                      <a:pt x="220" y="283"/>
                    </a:cubicBezTo>
                    <a:cubicBezTo>
                      <a:pt x="236" y="283"/>
                      <a:pt x="249" y="270"/>
                      <a:pt x="249" y="254"/>
                    </a:cubicBezTo>
                    <a:cubicBezTo>
                      <a:pt x="249" y="246"/>
                      <a:pt x="246" y="240"/>
                      <a:pt x="242" y="235"/>
                    </a:cubicBezTo>
                    <a:cubicBezTo>
                      <a:pt x="251" y="235"/>
                      <a:pt x="251" y="235"/>
                      <a:pt x="251" y="235"/>
                    </a:cubicBezTo>
                    <a:cubicBezTo>
                      <a:pt x="255" y="235"/>
                      <a:pt x="259" y="231"/>
                      <a:pt x="259" y="227"/>
                    </a:cubicBezTo>
                    <a:cubicBezTo>
                      <a:pt x="259" y="222"/>
                      <a:pt x="255" y="219"/>
                      <a:pt x="251" y="219"/>
                    </a:cubicBezTo>
                    <a:cubicBezTo>
                      <a:pt x="97" y="219"/>
                      <a:pt x="97" y="219"/>
                      <a:pt x="97" y="219"/>
                    </a:cubicBezTo>
                    <a:cubicBezTo>
                      <a:pt x="106" y="194"/>
                      <a:pt x="106" y="194"/>
                      <a:pt x="106" y="194"/>
                    </a:cubicBezTo>
                    <a:cubicBezTo>
                      <a:pt x="107" y="194"/>
                      <a:pt x="108" y="195"/>
                      <a:pt x="110" y="195"/>
                    </a:cubicBezTo>
                    <a:cubicBezTo>
                      <a:pt x="251" y="195"/>
                      <a:pt x="251" y="195"/>
                      <a:pt x="251" y="195"/>
                    </a:cubicBezTo>
                    <a:cubicBezTo>
                      <a:pt x="255" y="195"/>
                      <a:pt x="258" y="192"/>
                      <a:pt x="260" y="188"/>
                    </a:cubicBezTo>
                    <a:cubicBezTo>
                      <a:pt x="300" y="63"/>
                      <a:pt x="300" y="63"/>
                      <a:pt x="300" y="63"/>
                    </a:cubicBezTo>
                    <a:cubicBezTo>
                      <a:pt x="301" y="60"/>
                      <a:pt x="300" y="57"/>
                      <a:pt x="298" y="55"/>
                    </a:cubicBezTo>
                    <a:close/>
                    <a:moveTo>
                      <a:pt x="115" y="267"/>
                    </a:moveTo>
                    <a:cubicBezTo>
                      <a:pt x="108" y="267"/>
                      <a:pt x="102" y="261"/>
                      <a:pt x="102" y="254"/>
                    </a:cubicBezTo>
                    <a:cubicBezTo>
                      <a:pt x="102" y="247"/>
                      <a:pt x="108" y="241"/>
                      <a:pt x="115" y="241"/>
                    </a:cubicBezTo>
                    <a:cubicBezTo>
                      <a:pt x="122" y="241"/>
                      <a:pt x="127" y="247"/>
                      <a:pt x="127" y="254"/>
                    </a:cubicBezTo>
                    <a:cubicBezTo>
                      <a:pt x="127" y="261"/>
                      <a:pt x="122" y="267"/>
                      <a:pt x="115" y="267"/>
                    </a:cubicBezTo>
                    <a:close/>
                    <a:moveTo>
                      <a:pt x="220" y="267"/>
                    </a:moveTo>
                    <a:cubicBezTo>
                      <a:pt x="213" y="267"/>
                      <a:pt x="207" y="261"/>
                      <a:pt x="207" y="254"/>
                    </a:cubicBezTo>
                    <a:cubicBezTo>
                      <a:pt x="207" y="247"/>
                      <a:pt x="213" y="241"/>
                      <a:pt x="220" y="241"/>
                    </a:cubicBezTo>
                    <a:cubicBezTo>
                      <a:pt x="227" y="241"/>
                      <a:pt x="233" y="247"/>
                      <a:pt x="233" y="254"/>
                    </a:cubicBezTo>
                    <a:cubicBezTo>
                      <a:pt x="233" y="261"/>
                      <a:pt x="227" y="267"/>
                      <a:pt x="220" y="267"/>
                    </a:cubicBezTo>
                    <a:close/>
                    <a:moveTo>
                      <a:pt x="271" y="91"/>
                    </a:moveTo>
                    <a:cubicBezTo>
                      <a:pt x="222" y="91"/>
                      <a:pt x="222" y="91"/>
                      <a:pt x="222" y="91"/>
                    </a:cubicBezTo>
                    <a:cubicBezTo>
                      <a:pt x="222" y="70"/>
                      <a:pt x="222" y="70"/>
                      <a:pt x="222" y="70"/>
                    </a:cubicBezTo>
                    <a:cubicBezTo>
                      <a:pt x="277" y="70"/>
                      <a:pt x="277" y="70"/>
                      <a:pt x="277" y="70"/>
                    </a:cubicBezTo>
                    <a:lnTo>
                      <a:pt x="271" y="91"/>
                    </a:lnTo>
                    <a:close/>
                    <a:moveTo>
                      <a:pt x="256" y="135"/>
                    </a:moveTo>
                    <a:cubicBezTo>
                      <a:pt x="222" y="135"/>
                      <a:pt x="222" y="135"/>
                      <a:pt x="222" y="135"/>
                    </a:cubicBezTo>
                    <a:cubicBezTo>
                      <a:pt x="222" y="111"/>
                      <a:pt x="222" y="111"/>
                      <a:pt x="222" y="111"/>
                    </a:cubicBezTo>
                    <a:cubicBezTo>
                      <a:pt x="264" y="111"/>
                      <a:pt x="264" y="111"/>
                      <a:pt x="264" y="111"/>
                    </a:cubicBezTo>
                    <a:lnTo>
                      <a:pt x="256" y="135"/>
                    </a:lnTo>
                    <a:close/>
                    <a:moveTo>
                      <a:pt x="158" y="135"/>
                    </a:moveTo>
                    <a:cubicBezTo>
                      <a:pt x="158" y="111"/>
                      <a:pt x="158" y="111"/>
                      <a:pt x="158" y="111"/>
                    </a:cubicBezTo>
                    <a:cubicBezTo>
                      <a:pt x="202" y="111"/>
                      <a:pt x="202" y="111"/>
                      <a:pt x="202" y="111"/>
                    </a:cubicBezTo>
                    <a:cubicBezTo>
                      <a:pt x="202" y="135"/>
                      <a:pt x="202" y="135"/>
                      <a:pt x="202" y="135"/>
                    </a:cubicBezTo>
                    <a:lnTo>
                      <a:pt x="158" y="135"/>
                    </a:lnTo>
                    <a:close/>
                    <a:moveTo>
                      <a:pt x="202" y="155"/>
                    </a:moveTo>
                    <a:cubicBezTo>
                      <a:pt x="202" y="175"/>
                      <a:pt x="202" y="175"/>
                      <a:pt x="202" y="175"/>
                    </a:cubicBezTo>
                    <a:cubicBezTo>
                      <a:pt x="158" y="175"/>
                      <a:pt x="158" y="175"/>
                      <a:pt x="158" y="175"/>
                    </a:cubicBezTo>
                    <a:cubicBezTo>
                      <a:pt x="158" y="155"/>
                      <a:pt x="158" y="155"/>
                      <a:pt x="158" y="155"/>
                    </a:cubicBezTo>
                    <a:lnTo>
                      <a:pt x="202" y="155"/>
                    </a:lnTo>
                    <a:close/>
                    <a:moveTo>
                      <a:pt x="94" y="111"/>
                    </a:moveTo>
                    <a:cubicBezTo>
                      <a:pt x="139" y="111"/>
                      <a:pt x="139" y="111"/>
                      <a:pt x="139" y="111"/>
                    </a:cubicBezTo>
                    <a:cubicBezTo>
                      <a:pt x="139" y="135"/>
                      <a:pt x="139" y="135"/>
                      <a:pt x="139" y="135"/>
                    </a:cubicBezTo>
                    <a:cubicBezTo>
                      <a:pt x="103" y="135"/>
                      <a:pt x="103" y="135"/>
                      <a:pt x="103" y="135"/>
                    </a:cubicBezTo>
                    <a:lnTo>
                      <a:pt x="94" y="111"/>
                    </a:lnTo>
                    <a:close/>
                    <a:moveTo>
                      <a:pt x="158" y="91"/>
                    </a:moveTo>
                    <a:cubicBezTo>
                      <a:pt x="158" y="70"/>
                      <a:pt x="158" y="70"/>
                      <a:pt x="158" y="70"/>
                    </a:cubicBezTo>
                    <a:cubicBezTo>
                      <a:pt x="202" y="70"/>
                      <a:pt x="202" y="70"/>
                      <a:pt x="202" y="70"/>
                    </a:cubicBezTo>
                    <a:cubicBezTo>
                      <a:pt x="202" y="91"/>
                      <a:pt x="202" y="91"/>
                      <a:pt x="202" y="91"/>
                    </a:cubicBezTo>
                    <a:lnTo>
                      <a:pt x="158" y="91"/>
                    </a:lnTo>
                    <a:close/>
                    <a:moveTo>
                      <a:pt x="139" y="70"/>
                    </a:moveTo>
                    <a:cubicBezTo>
                      <a:pt x="139" y="91"/>
                      <a:pt x="139" y="91"/>
                      <a:pt x="139" y="91"/>
                    </a:cubicBezTo>
                    <a:cubicBezTo>
                      <a:pt x="87" y="91"/>
                      <a:pt x="87" y="91"/>
                      <a:pt x="87" y="91"/>
                    </a:cubicBezTo>
                    <a:cubicBezTo>
                      <a:pt x="80" y="70"/>
                      <a:pt x="80" y="70"/>
                      <a:pt x="80" y="70"/>
                    </a:cubicBezTo>
                    <a:lnTo>
                      <a:pt x="139" y="70"/>
                    </a:lnTo>
                    <a:close/>
                    <a:moveTo>
                      <a:pt x="109" y="155"/>
                    </a:moveTo>
                    <a:cubicBezTo>
                      <a:pt x="139" y="155"/>
                      <a:pt x="139" y="155"/>
                      <a:pt x="139" y="155"/>
                    </a:cubicBezTo>
                    <a:cubicBezTo>
                      <a:pt x="139" y="175"/>
                      <a:pt x="139" y="175"/>
                      <a:pt x="139" y="175"/>
                    </a:cubicBezTo>
                    <a:cubicBezTo>
                      <a:pt x="117" y="175"/>
                      <a:pt x="117" y="175"/>
                      <a:pt x="117" y="175"/>
                    </a:cubicBezTo>
                    <a:lnTo>
                      <a:pt x="109" y="155"/>
                    </a:lnTo>
                    <a:close/>
                    <a:moveTo>
                      <a:pt x="222" y="175"/>
                    </a:moveTo>
                    <a:cubicBezTo>
                      <a:pt x="222" y="155"/>
                      <a:pt x="222" y="155"/>
                      <a:pt x="222" y="155"/>
                    </a:cubicBezTo>
                    <a:cubicBezTo>
                      <a:pt x="250" y="155"/>
                      <a:pt x="250" y="155"/>
                      <a:pt x="250" y="155"/>
                    </a:cubicBezTo>
                    <a:cubicBezTo>
                      <a:pt x="244" y="175"/>
                      <a:pt x="244" y="175"/>
                      <a:pt x="244" y="175"/>
                    </a:cubicBezTo>
                    <a:lnTo>
                      <a:pt x="222" y="175"/>
                    </a:lnTo>
                    <a:close/>
                    <a:moveTo>
                      <a:pt x="222" y="175"/>
                    </a:moveTo>
                    <a:cubicBezTo>
                      <a:pt x="222" y="175"/>
                      <a:pt x="222" y="175"/>
                      <a:pt x="222" y="17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10"/>
              <p:cNvSpPr>
                <a:spLocks noEditPoints="1"/>
              </p:cNvSpPr>
              <p:nvPr/>
            </p:nvSpPr>
            <p:spPr bwMode="auto">
              <a:xfrm>
                <a:off x="7210371" y="3917565"/>
                <a:ext cx="636900" cy="675359"/>
              </a:xfrm>
              <a:custGeom>
                <a:avLst/>
                <a:gdLst>
                  <a:gd name="T0" fmla="*/ 58 w 109"/>
                  <a:gd name="T1" fmla="*/ 79 h 108"/>
                  <a:gd name="T2" fmla="*/ 58 w 109"/>
                  <a:gd name="T3" fmla="*/ 94 h 108"/>
                  <a:gd name="T4" fmla="*/ 5 w 109"/>
                  <a:gd name="T5" fmla="*/ 94 h 108"/>
                  <a:gd name="T6" fmla="*/ 5 w 109"/>
                  <a:gd name="T7" fmla="*/ 11 h 108"/>
                  <a:gd name="T8" fmla="*/ 58 w 109"/>
                  <a:gd name="T9" fmla="*/ 11 h 108"/>
                  <a:gd name="T10" fmla="*/ 58 w 109"/>
                  <a:gd name="T11" fmla="*/ 27 h 108"/>
                  <a:gd name="T12" fmla="*/ 63 w 109"/>
                  <a:gd name="T13" fmla="*/ 27 h 108"/>
                  <a:gd name="T14" fmla="*/ 63 w 109"/>
                  <a:gd name="T15" fmla="*/ 7 h 108"/>
                  <a:gd name="T16" fmla="*/ 55 w 109"/>
                  <a:gd name="T17" fmla="*/ 0 h 108"/>
                  <a:gd name="T18" fmla="*/ 7 w 109"/>
                  <a:gd name="T19" fmla="*/ 0 h 108"/>
                  <a:gd name="T20" fmla="*/ 0 w 109"/>
                  <a:gd name="T21" fmla="*/ 7 h 108"/>
                  <a:gd name="T22" fmla="*/ 0 w 109"/>
                  <a:gd name="T23" fmla="*/ 100 h 108"/>
                  <a:gd name="T24" fmla="*/ 7 w 109"/>
                  <a:gd name="T25" fmla="*/ 108 h 108"/>
                  <a:gd name="T26" fmla="*/ 55 w 109"/>
                  <a:gd name="T27" fmla="*/ 108 h 108"/>
                  <a:gd name="T28" fmla="*/ 63 w 109"/>
                  <a:gd name="T29" fmla="*/ 100 h 108"/>
                  <a:gd name="T30" fmla="*/ 63 w 109"/>
                  <a:gd name="T31" fmla="*/ 79 h 108"/>
                  <a:gd name="T32" fmla="*/ 58 w 109"/>
                  <a:gd name="T33" fmla="*/ 79 h 108"/>
                  <a:gd name="T34" fmla="*/ 24 w 109"/>
                  <a:gd name="T35" fmla="*/ 5 h 108"/>
                  <a:gd name="T36" fmla="*/ 39 w 109"/>
                  <a:gd name="T37" fmla="*/ 5 h 108"/>
                  <a:gd name="T38" fmla="*/ 40 w 109"/>
                  <a:gd name="T39" fmla="*/ 6 h 108"/>
                  <a:gd name="T40" fmla="*/ 39 w 109"/>
                  <a:gd name="T41" fmla="*/ 7 h 108"/>
                  <a:gd name="T42" fmla="*/ 24 w 109"/>
                  <a:gd name="T43" fmla="*/ 7 h 108"/>
                  <a:gd name="T44" fmla="*/ 23 w 109"/>
                  <a:gd name="T45" fmla="*/ 6 h 108"/>
                  <a:gd name="T46" fmla="*/ 24 w 109"/>
                  <a:gd name="T47" fmla="*/ 5 h 108"/>
                  <a:gd name="T48" fmla="*/ 31 w 109"/>
                  <a:gd name="T49" fmla="*/ 104 h 108"/>
                  <a:gd name="T50" fmla="*/ 28 w 109"/>
                  <a:gd name="T51" fmla="*/ 100 h 108"/>
                  <a:gd name="T52" fmla="*/ 31 w 109"/>
                  <a:gd name="T53" fmla="*/ 97 h 108"/>
                  <a:gd name="T54" fmla="*/ 35 w 109"/>
                  <a:gd name="T55" fmla="*/ 100 h 108"/>
                  <a:gd name="T56" fmla="*/ 31 w 109"/>
                  <a:gd name="T57" fmla="*/ 104 h 108"/>
                  <a:gd name="T58" fmla="*/ 81 w 109"/>
                  <a:gd name="T59" fmla="*/ 75 h 108"/>
                  <a:gd name="T60" fmla="*/ 29 w 109"/>
                  <a:gd name="T61" fmla="*/ 75 h 108"/>
                  <a:gd name="T62" fmla="*/ 20 w 109"/>
                  <a:gd name="T63" fmla="*/ 32 h 108"/>
                  <a:gd name="T64" fmla="*/ 78 w 109"/>
                  <a:gd name="T65" fmla="*/ 32 h 108"/>
                  <a:gd name="T66" fmla="*/ 77 w 109"/>
                  <a:gd name="T67" fmla="*/ 38 h 108"/>
                  <a:gd name="T68" fmla="*/ 27 w 109"/>
                  <a:gd name="T69" fmla="*/ 38 h 108"/>
                  <a:gd name="T70" fmla="*/ 34 w 109"/>
                  <a:gd name="T71" fmla="*/ 69 h 108"/>
                  <a:gd name="T72" fmla="*/ 76 w 109"/>
                  <a:gd name="T73" fmla="*/ 69 h 108"/>
                  <a:gd name="T74" fmla="*/ 87 w 109"/>
                  <a:gd name="T75" fmla="*/ 21 h 108"/>
                  <a:gd name="T76" fmla="*/ 109 w 109"/>
                  <a:gd name="T77" fmla="*/ 21 h 108"/>
                  <a:gd name="T78" fmla="*/ 109 w 109"/>
                  <a:gd name="T79" fmla="*/ 27 h 108"/>
                  <a:gd name="T80" fmla="*/ 92 w 109"/>
                  <a:gd name="T81" fmla="*/ 27 h 108"/>
                  <a:gd name="T82" fmla="*/ 81 w 109"/>
                  <a:gd name="T83" fmla="*/ 75 h 108"/>
                  <a:gd name="T84" fmla="*/ 47 w 109"/>
                  <a:gd name="T85" fmla="*/ 83 h 108"/>
                  <a:gd name="T86" fmla="*/ 41 w 109"/>
                  <a:gd name="T87" fmla="*/ 89 h 108"/>
                  <a:gd name="T88" fmla="*/ 35 w 109"/>
                  <a:gd name="T89" fmla="*/ 83 h 108"/>
                  <a:gd name="T90" fmla="*/ 41 w 109"/>
                  <a:gd name="T91" fmla="*/ 77 h 108"/>
                  <a:gd name="T92" fmla="*/ 47 w 109"/>
                  <a:gd name="T93" fmla="*/ 83 h 108"/>
                  <a:gd name="T94" fmla="*/ 77 w 109"/>
                  <a:gd name="T95" fmla="*/ 83 h 108"/>
                  <a:gd name="T96" fmla="*/ 71 w 109"/>
                  <a:gd name="T97" fmla="*/ 89 h 108"/>
                  <a:gd name="T98" fmla="*/ 65 w 109"/>
                  <a:gd name="T99" fmla="*/ 83 h 108"/>
                  <a:gd name="T100" fmla="*/ 71 w 109"/>
                  <a:gd name="T101" fmla="*/ 77 h 108"/>
                  <a:gd name="T102" fmla="*/ 77 w 109"/>
                  <a:gd name="T103" fmla="*/ 83 h 108"/>
                  <a:gd name="T104" fmla="*/ 77 w 109"/>
                  <a:gd name="T105" fmla="*/ 83 h 108"/>
                  <a:gd name="T106" fmla="*/ 77 w 109"/>
                  <a:gd name="T107" fmla="*/ 8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9" h="108">
                    <a:moveTo>
                      <a:pt x="58" y="79"/>
                    </a:moveTo>
                    <a:cubicBezTo>
                      <a:pt x="58" y="94"/>
                      <a:pt x="58" y="94"/>
                      <a:pt x="58" y="94"/>
                    </a:cubicBezTo>
                    <a:cubicBezTo>
                      <a:pt x="5" y="94"/>
                      <a:pt x="5" y="94"/>
                      <a:pt x="5" y="94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63" y="27"/>
                      <a:pt x="63" y="27"/>
                      <a:pt x="63" y="27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63" y="3"/>
                      <a:pt x="59" y="0"/>
                      <a:pt x="55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0" y="104"/>
                      <a:pt x="3" y="108"/>
                      <a:pt x="7" y="108"/>
                    </a:cubicBezTo>
                    <a:cubicBezTo>
                      <a:pt x="55" y="108"/>
                      <a:pt x="55" y="108"/>
                      <a:pt x="55" y="108"/>
                    </a:cubicBezTo>
                    <a:cubicBezTo>
                      <a:pt x="59" y="108"/>
                      <a:pt x="63" y="104"/>
                      <a:pt x="63" y="100"/>
                    </a:cubicBezTo>
                    <a:cubicBezTo>
                      <a:pt x="63" y="79"/>
                      <a:pt x="63" y="79"/>
                      <a:pt x="63" y="79"/>
                    </a:cubicBezTo>
                    <a:lnTo>
                      <a:pt x="58" y="79"/>
                    </a:lnTo>
                    <a:close/>
                    <a:moveTo>
                      <a:pt x="24" y="5"/>
                    </a:moveTo>
                    <a:cubicBezTo>
                      <a:pt x="39" y="5"/>
                      <a:pt x="39" y="5"/>
                      <a:pt x="39" y="5"/>
                    </a:cubicBezTo>
                    <a:cubicBezTo>
                      <a:pt x="39" y="5"/>
                      <a:pt x="40" y="5"/>
                      <a:pt x="40" y="6"/>
                    </a:cubicBezTo>
                    <a:cubicBezTo>
                      <a:pt x="40" y="6"/>
                      <a:pt x="39" y="7"/>
                      <a:pt x="39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3" y="7"/>
                      <a:pt x="23" y="6"/>
                      <a:pt x="23" y="6"/>
                    </a:cubicBezTo>
                    <a:cubicBezTo>
                      <a:pt x="23" y="5"/>
                      <a:pt x="23" y="5"/>
                      <a:pt x="24" y="5"/>
                    </a:cubicBezTo>
                    <a:close/>
                    <a:moveTo>
                      <a:pt x="31" y="104"/>
                    </a:moveTo>
                    <a:cubicBezTo>
                      <a:pt x="29" y="104"/>
                      <a:pt x="28" y="102"/>
                      <a:pt x="28" y="100"/>
                    </a:cubicBezTo>
                    <a:cubicBezTo>
                      <a:pt x="28" y="98"/>
                      <a:pt x="29" y="97"/>
                      <a:pt x="31" y="97"/>
                    </a:cubicBezTo>
                    <a:cubicBezTo>
                      <a:pt x="33" y="97"/>
                      <a:pt x="35" y="98"/>
                      <a:pt x="35" y="100"/>
                    </a:cubicBezTo>
                    <a:cubicBezTo>
                      <a:pt x="35" y="102"/>
                      <a:pt x="33" y="104"/>
                      <a:pt x="31" y="104"/>
                    </a:cubicBezTo>
                    <a:close/>
                    <a:moveTo>
                      <a:pt x="81" y="75"/>
                    </a:moveTo>
                    <a:cubicBezTo>
                      <a:pt x="29" y="75"/>
                      <a:pt x="29" y="75"/>
                      <a:pt x="29" y="75"/>
                    </a:cubicBezTo>
                    <a:cubicBezTo>
                      <a:pt x="20" y="32"/>
                      <a:pt x="20" y="32"/>
                      <a:pt x="20" y="32"/>
                    </a:cubicBezTo>
                    <a:cubicBezTo>
                      <a:pt x="78" y="32"/>
                      <a:pt x="78" y="32"/>
                      <a:pt x="78" y="32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34" y="69"/>
                      <a:pt x="34" y="69"/>
                      <a:pt x="34" y="69"/>
                    </a:cubicBezTo>
                    <a:cubicBezTo>
                      <a:pt x="76" y="69"/>
                      <a:pt x="76" y="69"/>
                      <a:pt x="76" y="69"/>
                    </a:cubicBezTo>
                    <a:cubicBezTo>
                      <a:pt x="87" y="21"/>
                      <a:pt x="87" y="21"/>
                      <a:pt x="87" y="21"/>
                    </a:cubicBezTo>
                    <a:cubicBezTo>
                      <a:pt x="109" y="21"/>
                      <a:pt x="109" y="21"/>
                      <a:pt x="109" y="21"/>
                    </a:cubicBezTo>
                    <a:cubicBezTo>
                      <a:pt x="109" y="27"/>
                      <a:pt x="109" y="27"/>
                      <a:pt x="109" y="27"/>
                    </a:cubicBezTo>
                    <a:cubicBezTo>
                      <a:pt x="92" y="27"/>
                      <a:pt x="92" y="27"/>
                      <a:pt x="92" y="27"/>
                    </a:cubicBezTo>
                    <a:lnTo>
                      <a:pt x="81" y="75"/>
                    </a:lnTo>
                    <a:close/>
                    <a:moveTo>
                      <a:pt x="47" y="83"/>
                    </a:moveTo>
                    <a:cubicBezTo>
                      <a:pt x="47" y="86"/>
                      <a:pt x="44" y="89"/>
                      <a:pt x="41" y="89"/>
                    </a:cubicBezTo>
                    <a:cubicBezTo>
                      <a:pt x="38" y="89"/>
                      <a:pt x="35" y="86"/>
                      <a:pt x="35" y="83"/>
                    </a:cubicBezTo>
                    <a:cubicBezTo>
                      <a:pt x="35" y="80"/>
                      <a:pt x="38" y="77"/>
                      <a:pt x="41" y="77"/>
                    </a:cubicBezTo>
                    <a:cubicBezTo>
                      <a:pt x="44" y="77"/>
                      <a:pt x="47" y="80"/>
                      <a:pt x="47" y="83"/>
                    </a:cubicBezTo>
                    <a:close/>
                    <a:moveTo>
                      <a:pt x="77" y="83"/>
                    </a:moveTo>
                    <a:cubicBezTo>
                      <a:pt x="77" y="86"/>
                      <a:pt x="74" y="89"/>
                      <a:pt x="71" y="89"/>
                    </a:cubicBezTo>
                    <a:cubicBezTo>
                      <a:pt x="68" y="89"/>
                      <a:pt x="65" y="86"/>
                      <a:pt x="65" y="83"/>
                    </a:cubicBezTo>
                    <a:cubicBezTo>
                      <a:pt x="65" y="80"/>
                      <a:pt x="68" y="77"/>
                      <a:pt x="71" y="77"/>
                    </a:cubicBezTo>
                    <a:cubicBezTo>
                      <a:pt x="74" y="77"/>
                      <a:pt x="77" y="80"/>
                      <a:pt x="77" y="83"/>
                    </a:cubicBezTo>
                    <a:close/>
                    <a:moveTo>
                      <a:pt x="77" y="83"/>
                    </a:moveTo>
                    <a:cubicBezTo>
                      <a:pt x="77" y="83"/>
                      <a:pt x="77" y="83"/>
                      <a:pt x="77" y="8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59" name="Image 48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358340" y="3995008"/>
                <a:ext cx="673814" cy="586748"/>
              </a:xfrm>
              <a:prstGeom prst="rect">
                <a:avLst/>
              </a:prstGeom>
            </p:spPr>
          </p:pic>
          <p:sp>
            <p:nvSpPr>
              <p:cNvPr id="60" name="ZoneTexte 52"/>
              <p:cNvSpPr txBox="1"/>
              <p:nvPr/>
            </p:nvSpPr>
            <p:spPr>
              <a:xfrm>
                <a:off x="5896454" y="4923844"/>
                <a:ext cx="2307644" cy="655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50" dirty="0">
                    <a:solidFill>
                      <a:prstClr val="white"/>
                    </a:solidFill>
                    <a:latin typeface="Calibri Light"/>
                  </a:rPr>
                  <a:t>Все каналы</a:t>
                </a:r>
                <a:endParaRPr lang="en-US" sz="1050" dirty="0">
                  <a:solidFill>
                    <a:prstClr val="white"/>
                  </a:solidFill>
                  <a:latin typeface="Calibri Light"/>
                </a:endParaRPr>
              </a:p>
            </p:txBody>
          </p:sp>
          <p:sp>
            <p:nvSpPr>
              <p:cNvPr id="61" name="ZoneTexte 53"/>
              <p:cNvSpPr txBox="1"/>
              <p:nvPr/>
            </p:nvSpPr>
            <p:spPr>
              <a:xfrm>
                <a:off x="11077891" y="4882054"/>
                <a:ext cx="3899513" cy="5783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900" dirty="0">
                    <a:solidFill>
                      <a:prstClr val="white"/>
                    </a:solidFill>
                    <a:latin typeface="Calibri Light"/>
                  </a:rPr>
                  <a:t>Все пункты назначения</a:t>
                </a:r>
                <a:endParaRPr lang="en-US" sz="900" dirty="0">
                  <a:solidFill>
                    <a:prstClr val="white"/>
                  </a:solidFill>
                  <a:latin typeface="Calibri Light"/>
                </a:endParaRPr>
              </a:p>
            </p:txBody>
          </p:sp>
        </p:grp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14470" y="1982245"/>
            <a:ext cx="1079257" cy="56870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66861" y="3700476"/>
            <a:ext cx="1023930" cy="500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44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  <p:bldLst>
      <p:bldP spid="50" grpId="0" animBg="1"/>
      <p:bldP spid="50" grpId="1" animBg="1"/>
      <p:bldP spid="50" grpId="2" animBg="1"/>
      <p:bldP spid="50" grpId="3" animBg="1"/>
      <p:bldP spid="51" grpId="0" animBg="1"/>
      <p:bldP spid="51" grpId="1" animBg="1"/>
      <p:bldP spid="51" grpId="2" animBg="1"/>
      <p:bldP spid="51" grpId="3" animBg="1"/>
      <p:bldP spid="52" grpId="0" animBg="1"/>
      <p:bldP spid="52" grpId="1" animBg="1"/>
      <p:bldP spid="52" grpId="2" animBg="1"/>
      <p:bldP spid="52" grpId="3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5" descr="CouvertureA.jp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83380" y="3946966"/>
            <a:ext cx="8021872" cy="2930912"/>
          </a:xfrm>
          <a:prstGeom prst="rect">
            <a:avLst/>
          </a:prstGeom>
        </p:spPr>
      </p:pic>
      <p:sp>
        <p:nvSpPr>
          <p:cNvPr id="7" name="RbSticker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09600" y="1616083"/>
            <a:ext cx="3456385" cy="934871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sz="2025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ПРОИЗВОДСТВЕННЫЕ ПЛОЩАДКИ ОТ МОСКВЫ ДО ВЛАДИВОСТОКА</a:t>
            </a:r>
          </a:p>
        </p:txBody>
      </p:sp>
      <p:sp>
        <p:nvSpPr>
          <p:cNvPr id="8" name="Shape 481"/>
          <p:cNvSpPr/>
          <p:nvPr/>
        </p:nvSpPr>
        <p:spPr>
          <a:xfrm>
            <a:off x="550033" y="2581371"/>
            <a:ext cx="3574360" cy="17667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1</a:t>
            </a: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,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000 сотрудников, операции 24/7</a:t>
            </a:r>
          </a:p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1</a:t>
            </a: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,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800 сотрудников во время пиков активности в сезон</a:t>
            </a:r>
          </a:p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12</a:t>
            </a: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,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000 м</a:t>
            </a:r>
            <a:r>
              <a:rPr lang="ru-RU" sz="1181" baseline="30000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2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выделенных площадей</a:t>
            </a:r>
          </a:p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70 производственных линий</a:t>
            </a:r>
          </a:p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9" name="RbSticker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92818" y="4290548"/>
            <a:ext cx="3306803" cy="311624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sz="2025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15 ТЕХНОЛОГИЙ</a:t>
            </a:r>
          </a:p>
        </p:txBody>
      </p:sp>
      <p:sp>
        <p:nvSpPr>
          <p:cNvPr id="10" name="Shape 481"/>
          <p:cNvSpPr/>
          <p:nvPr/>
        </p:nvSpPr>
        <p:spPr>
          <a:xfrm>
            <a:off x="581578" y="4605769"/>
            <a:ext cx="3306803" cy="17667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 numCol="1">
            <a:spAutoFit/>
          </a:bodyPr>
          <a:lstStyle/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Термоусадка</a:t>
            </a: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Флоу-пак</a:t>
            </a: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Упаковка в рукава</a:t>
            </a: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Стикеровка</a:t>
            </a: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Сборка подарочных наборов</a:t>
            </a:r>
          </a:p>
          <a:p>
            <a:pPr marL="228594" indent="-228594">
              <a:lnSpc>
                <a:spcPct val="150000"/>
              </a:lnSpc>
              <a:buClr>
                <a:srgbClr val="3E9ACC"/>
              </a:buClr>
              <a:buSzPct val="100000"/>
              <a:buFont typeface="Arial" panose="020B0604020202020204" pitchFamily="34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Дисплеи </a:t>
            </a:r>
            <a:endParaRPr lang="en-US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11" name="RbSticker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296434" y="1615110"/>
            <a:ext cx="4138906" cy="311624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sz="2025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КЛЮЧЕВЫЕ ПОКАЗАТЕЛИ </a:t>
            </a:r>
          </a:p>
        </p:txBody>
      </p:sp>
      <p:sp>
        <p:nvSpPr>
          <p:cNvPr id="12" name="Shape 481"/>
          <p:cNvSpPr/>
          <p:nvPr/>
        </p:nvSpPr>
        <p:spPr>
          <a:xfrm>
            <a:off x="4188177" y="1880548"/>
            <a:ext cx="2951283" cy="17667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r>
              <a:rPr lang="en-US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ru-RU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25</a:t>
            </a:r>
            <a:r>
              <a:rPr lang="en-US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млн упаковок </a:t>
            </a: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флоу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-пак</a:t>
            </a:r>
          </a:p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r>
              <a:rPr lang="en-US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ru-RU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10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млн рукавов</a:t>
            </a:r>
          </a:p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r>
              <a:rPr lang="en-US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ru-RU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40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млн подарочных наборов</a:t>
            </a:r>
          </a:p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r>
              <a:rPr lang="en-US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  </a:t>
            </a:r>
            <a:r>
              <a:rPr lang="ru-RU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2</a:t>
            </a: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 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млн дисплеев</a:t>
            </a:r>
          </a:p>
          <a:p>
            <a:pPr>
              <a:lnSpc>
                <a:spcPct val="150000"/>
              </a:lnSpc>
              <a:buClr>
                <a:srgbClr val="3E9ACC"/>
              </a:buClr>
              <a:buSzPct val="100000"/>
              <a:defRPr sz="1800"/>
            </a:pPr>
            <a:r>
              <a:rPr lang="ru-RU" sz="1181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120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млн единиц, </a:t>
            </a: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руссифицированных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в соответствии с законодательством</a:t>
            </a:r>
          </a:p>
        </p:txBody>
      </p:sp>
      <p:pic>
        <p:nvPicPr>
          <p:cNvPr id="15" name="Image 25"/>
          <p:cNvPicPr preferRelativeResize="0"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4000856" y="1816153"/>
            <a:ext cx="183104" cy="4625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609600" y="576943"/>
            <a:ext cx="547925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FM LOGISTIC</a:t>
            </a:r>
          </a:p>
          <a:p>
            <a:r>
              <a:rPr lang="ru-RU" sz="3000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</a:rPr>
              <a:t>ОПЕРАЦИИ ПО КОПАКИНГУ</a:t>
            </a:r>
          </a:p>
        </p:txBody>
      </p:sp>
      <p:grpSp>
        <p:nvGrpSpPr>
          <p:cNvPr id="23" name="Группа 22"/>
          <p:cNvGrpSpPr/>
          <p:nvPr/>
        </p:nvGrpSpPr>
        <p:grpSpPr>
          <a:xfrm>
            <a:off x="696685" y="576943"/>
            <a:ext cx="5041175" cy="783771"/>
            <a:chOff x="696685" y="576943"/>
            <a:chExt cx="2939144" cy="783771"/>
          </a:xfrm>
        </p:grpSpPr>
        <p:cxnSp>
          <p:nvCxnSpPr>
            <p:cNvPr id="24" name="Прямая соединительная линия 23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Shape 481"/>
          <p:cNvSpPr/>
          <p:nvPr/>
        </p:nvSpPr>
        <p:spPr>
          <a:xfrm>
            <a:off x="7059296" y="1875876"/>
            <a:ext cx="3124675" cy="20393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Разработка дизайна упаковок</a:t>
            </a:r>
          </a:p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Закупка упаковочных материалов  </a:t>
            </a:r>
          </a:p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Соблюдение стандартов надлежащей производственной практики</a:t>
            </a:r>
          </a:p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Отслеживаемость</a:t>
            </a: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228600" indent="-22860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Полное управление проектами по </a:t>
            </a: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копакингу</a:t>
            </a: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grpSp>
        <p:nvGrpSpPr>
          <p:cNvPr id="28" name="Groupe 30"/>
          <p:cNvGrpSpPr/>
          <p:nvPr/>
        </p:nvGrpSpPr>
        <p:grpSpPr>
          <a:xfrm>
            <a:off x="10010579" y="1498389"/>
            <a:ext cx="2101386" cy="2165964"/>
            <a:chOff x="4881562" y="2424113"/>
            <a:chExt cx="1343026" cy="1384300"/>
          </a:xfrm>
          <a:solidFill>
            <a:srgbClr val="3E9ACC"/>
          </a:solidFill>
          <a:effectLst/>
        </p:grpSpPr>
        <p:sp>
          <p:nvSpPr>
            <p:cNvPr id="29" name="Freeform 5"/>
            <p:cNvSpPr>
              <a:spLocks/>
            </p:cNvSpPr>
            <p:nvPr/>
          </p:nvSpPr>
          <p:spPr bwMode="auto">
            <a:xfrm>
              <a:off x="5254625" y="2787650"/>
              <a:ext cx="300038" cy="381000"/>
            </a:xfrm>
            <a:custGeom>
              <a:avLst/>
              <a:gdLst>
                <a:gd name="T0" fmla="*/ 137 w 222"/>
                <a:gd name="T1" fmla="*/ 227 h 282"/>
                <a:gd name="T2" fmla="*/ 108 w 222"/>
                <a:gd name="T3" fmla="*/ 230 h 282"/>
                <a:gd name="T4" fmla="*/ 107 w 222"/>
                <a:gd name="T5" fmla="*/ 231 h 282"/>
                <a:gd name="T6" fmla="*/ 0 w 222"/>
                <a:gd name="T7" fmla="*/ 53 h 282"/>
                <a:gd name="T8" fmla="*/ 91 w 222"/>
                <a:gd name="T9" fmla="*/ 224 h 282"/>
                <a:gd name="T10" fmla="*/ 90 w 222"/>
                <a:gd name="T11" fmla="*/ 222 h 282"/>
                <a:gd name="T12" fmla="*/ 74 w 222"/>
                <a:gd name="T13" fmla="*/ 198 h 282"/>
                <a:gd name="T14" fmla="*/ 68 w 222"/>
                <a:gd name="T15" fmla="*/ 200 h 282"/>
                <a:gd name="T16" fmla="*/ 70 w 222"/>
                <a:gd name="T17" fmla="*/ 225 h 282"/>
                <a:gd name="T18" fmla="*/ 71 w 222"/>
                <a:gd name="T19" fmla="*/ 249 h 282"/>
                <a:gd name="T20" fmla="*/ 72 w 222"/>
                <a:gd name="T21" fmla="*/ 274 h 282"/>
                <a:gd name="T22" fmla="*/ 81 w 222"/>
                <a:gd name="T23" fmla="*/ 278 h 282"/>
                <a:gd name="T24" fmla="*/ 101 w 222"/>
                <a:gd name="T25" fmla="*/ 263 h 282"/>
                <a:gd name="T26" fmla="*/ 119 w 222"/>
                <a:gd name="T27" fmla="*/ 248 h 282"/>
                <a:gd name="T28" fmla="*/ 139 w 222"/>
                <a:gd name="T29" fmla="*/ 232 h 282"/>
                <a:gd name="T30" fmla="*/ 137 w 222"/>
                <a:gd name="T31" fmla="*/ 22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2" h="282">
                  <a:moveTo>
                    <a:pt x="137" y="227"/>
                  </a:moveTo>
                  <a:cubicBezTo>
                    <a:pt x="108" y="230"/>
                    <a:pt x="108" y="230"/>
                    <a:pt x="108" y="230"/>
                  </a:cubicBezTo>
                  <a:cubicBezTo>
                    <a:pt x="108" y="231"/>
                    <a:pt x="107" y="231"/>
                    <a:pt x="107" y="231"/>
                  </a:cubicBezTo>
                  <a:cubicBezTo>
                    <a:pt x="222" y="0"/>
                    <a:pt x="0" y="53"/>
                    <a:pt x="0" y="53"/>
                  </a:cubicBezTo>
                  <a:cubicBezTo>
                    <a:pt x="131" y="50"/>
                    <a:pt x="112" y="158"/>
                    <a:pt x="91" y="224"/>
                  </a:cubicBezTo>
                  <a:cubicBezTo>
                    <a:pt x="91" y="223"/>
                    <a:pt x="91" y="223"/>
                    <a:pt x="90" y="222"/>
                  </a:cubicBezTo>
                  <a:cubicBezTo>
                    <a:pt x="74" y="198"/>
                    <a:pt x="74" y="198"/>
                    <a:pt x="74" y="198"/>
                  </a:cubicBezTo>
                  <a:cubicBezTo>
                    <a:pt x="71" y="193"/>
                    <a:pt x="68" y="194"/>
                    <a:pt x="68" y="200"/>
                  </a:cubicBezTo>
                  <a:cubicBezTo>
                    <a:pt x="70" y="225"/>
                    <a:pt x="70" y="225"/>
                    <a:pt x="70" y="225"/>
                  </a:cubicBezTo>
                  <a:cubicBezTo>
                    <a:pt x="70" y="232"/>
                    <a:pt x="70" y="242"/>
                    <a:pt x="71" y="249"/>
                  </a:cubicBezTo>
                  <a:cubicBezTo>
                    <a:pt x="72" y="274"/>
                    <a:pt x="72" y="274"/>
                    <a:pt x="72" y="274"/>
                  </a:cubicBezTo>
                  <a:cubicBezTo>
                    <a:pt x="72" y="280"/>
                    <a:pt x="76" y="282"/>
                    <a:pt x="81" y="278"/>
                  </a:cubicBezTo>
                  <a:cubicBezTo>
                    <a:pt x="101" y="263"/>
                    <a:pt x="101" y="263"/>
                    <a:pt x="101" y="263"/>
                  </a:cubicBezTo>
                  <a:cubicBezTo>
                    <a:pt x="106" y="259"/>
                    <a:pt x="114" y="252"/>
                    <a:pt x="119" y="248"/>
                  </a:cubicBezTo>
                  <a:cubicBezTo>
                    <a:pt x="139" y="232"/>
                    <a:pt x="139" y="232"/>
                    <a:pt x="139" y="232"/>
                  </a:cubicBezTo>
                  <a:cubicBezTo>
                    <a:pt x="144" y="228"/>
                    <a:pt x="143" y="226"/>
                    <a:pt x="137" y="2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6"/>
            <p:cNvSpPr>
              <a:spLocks/>
            </p:cNvSpPr>
            <p:nvPr/>
          </p:nvSpPr>
          <p:spPr bwMode="auto">
            <a:xfrm>
              <a:off x="5499100" y="2768600"/>
              <a:ext cx="155575" cy="384175"/>
            </a:xfrm>
            <a:custGeom>
              <a:avLst/>
              <a:gdLst>
                <a:gd name="T0" fmla="*/ 71 w 115"/>
                <a:gd name="T1" fmla="*/ 224 h 284"/>
                <a:gd name="T2" fmla="*/ 43 w 115"/>
                <a:gd name="T3" fmla="*/ 230 h 284"/>
                <a:gd name="T4" fmla="*/ 42 w 115"/>
                <a:gd name="T5" fmla="*/ 230 h 284"/>
                <a:gd name="T6" fmla="*/ 19 w 115"/>
                <a:gd name="T7" fmla="*/ 0 h 284"/>
                <a:gd name="T8" fmla="*/ 25 w 115"/>
                <a:gd name="T9" fmla="*/ 225 h 284"/>
                <a:gd name="T10" fmla="*/ 24 w 115"/>
                <a:gd name="T11" fmla="*/ 223 h 284"/>
                <a:gd name="T12" fmla="*/ 6 w 115"/>
                <a:gd name="T13" fmla="*/ 200 h 284"/>
                <a:gd name="T14" fmla="*/ 1 w 115"/>
                <a:gd name="T15" fmla="*/ 203 h 284"/>
                <a:gd name="T16" fmla="*/ 4 w 115"/>
                <a:gd name="T17" fmla="*/ 228 h 284"/>
                <a:gd name="T18" fmla="*/ 7 w 115"/>
                <a:gd name="T19" fmla="*/ 251 h 284"/>
                <a:gd name="T20" fmla="*/ 10 w 115"/>
                <a:gd name="T21" fmla="*/ 276 h 284"/>
                <a:gd name="T22" fmla="*/ 20 w 115"/>
                <a:gd name="T23" fmla="*/ 280 h 284"/>
                <a:gd name="T24" fmla="*/ 38 w 115"/>
                <a:gd name="T25" fmla="*/ 263 h 284"/>
                <a:gd name="T26" fmla="*/ 55 w 115"/>
                <a:gd name="T27" fmla="*/ 247 h 284"/>
                <a:gd name="T28" fmla="*/ 74 w 115"/>
                <a:gd name="T29" fmla="*/ 230 h 284"/>
                <a:gd name="T30" fmla="*/ 71 w 115"/>
                <a:gd name="T31" fmla="*/ 22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284">
                  <a:moveTo>
                    <a:pt x="71" y="224"/>
                  </a:moveTo>
                  <a:cubicBezTo>
                    <a:pt x="43" y="230"/>
                    <a:pt x="43" y="230"/>
                    <a:pt x="43" y="230"/>
                  </a:cubicBezTo>
                  <a:cubicBezTo>
                    <a:pt x="42" y="230"/>
                    <a:pt x="42" y="230"/>
                    <a:pt x="42" y="230"/>
                  </a:cubicBezTo>
                  <a:cubicBezTo>
                    <a:pt x="115" y="28"/>
                    <a:pt x="19" y="0"/>
                    <a:pt x="19" y="0"/>
                  </a:cubicBezTo>
                  <a:cubicBezTo>
                    <a:pt x="65" y="93"/>
                    <a:pt x="41" y="158"/>
                    <a:pt x="25" y="225"/>
                  </a:cubicBezTo>
                  <a:cubicBezTo>
                    <a:pt x="25" y="224"/>
                    <a:pt x="25" y="224"/>
                    <a:pt x="24" y="223"/>
                  </a:cubicBezTo>
                  <a:cubicBezTo>
                    <a:pt x="6" y="200"/>
                    <a:pt x="6" y="200"/>
                    <a:pt x="6" y="200"/>
                  </a:cubicBezTo>
                  <a:cubicBezTo>
                    <a:pt x="2" y="195"/>
                    <a:pt x="0" y="197"/>
                    <a:pt x="1" y="203"/>
                  </a:cubicBezTo>
                  <a:cubicBezTo>
                    <a:pt x="4" y="228"/>
                    <a:pt x="4" y="228"/>
                    <a:pt x="4" y="228"/>
                  </a:cubicBezTo>
                  <a:cubicBezTo>
                    <a:pt x="5" y="235"/>
                    <a:pt x="6" y="245"/>
                    <a:pt x="7" y="251"/>
                  </a:cubicBezTo>
                  <a:cubicBezTo>
                    <a:pt x="10" y="276"/>
                    <a:pt x="10" y="276"/>
                    <a:pt x="10" y="276"/>
                  </a:cubicBezTo>
                  <a:cubicBezTo>
                    <a:pt x="11" y="283"/>
                    <a:pt x="15" y="284"/>
                    <a:pt x="20" y="280"/>
                  </a:cubicBezTo>
                  <a:cubicBezTo>
                    <a:pt x="38" y="263"/>
                    <a:pt x="38" y="263"/>
                    <a:pt x="38" y="263"/>
                  </a:cubicBezTo>
                  <a:cubicBezTo>
                    <a:pt x="43" y="258"/>
                    <a:pt x="51" y="251"/>
                    <a:pt x="55" y="247"/>
                  </a:cubicBezTo>
                  <a:cubicBezTo>
                    <a:pt x="74" y="230"/>
                    <a:pt x="74" y="230"/>
                    <a:pt x="74" y="230"/>
                  </a:cubicBezTo>
                  <a:cubicBezTo>
                    <a:pt x="79" y="225"/>
                    <a:pt x="77" y="223"/>
                    <a:pt x="71" y="2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7"/>
            <p:cNvSpPr>
              <a:spLocks noEditPoints="1"/>
            </p:cNvSpPr>
            <p:nvPr/>
          </p:nvSpPr>
          <p:spPr bwMode="auto">
            <a:xfrm>
              <a:off x="4979988" y="3027363"/>
              <a:ext cx="1084263" cy="781050"/>
            </a:xfrm>
            <a:custGeom>
              <a:avLst/>
              <a:gdLst>
                <a:gd name="T0" fmla="*/ 619 w 802"/>
                <a:gd name="T1" fmla="*/ 29 h 579"/>
                <a:gd name="T2" fmla="*/ 556 w 802"/>
                <a:gd name="T3" fmla="*/ 42 h 579"/>
                <a:gd name="T4" fmla="*/ 617 w 802"/>
                <a:gd name="T5" fmla="*/ 41 h 579"/>
                <a:gd name="T6" fmla="*/ 654 w 802"/>
                <a:gd name="T7" fmla="*/ 136 h 579"/>
                <a:gd name="T8" fmla="*/ 542 w 802"/>
                <a:gd name="T9" fmla="*/ 87 h 579"/>
                <a:gd name="T10" fmla="*/ 482 w 802"/>
                <a:gd name="T11" fmla="*/ 170 h 579"/>
                <a:gd name="T12" fmla="*/ 457 w 802"/>
                <a:gd name="T13" fmla="*/ 56 h 579"/>
                <a:gd name="T14" fmla="*/ 412 w 802"/>
                <a:gd name="T15" fmla="*/ 98 h 579"/>
                <a:gd name="T16" fmla="*/ 405 w 802"/>
                <a:gd name="T17" fmla="*/ 102 h 579"/>
                <a:gd name="T18" fmla="*/ 382 w 802"/>
                <a:gd name="T19" fmla="*/ 87 h 579"/>
                <a:gd name="T20" fmla="*/ 356 w 802"/>
                <a:gd name="T21" fmla="*/ 57 h 579"/>
                <a:gd name="T22" fmla="*/ 292 w 802"/>
                <a:gd name="T23" fmla="*/ 111 h 579"/>
                <a:gd name="T24" fmla="*/ 267 w 802"/>
                <a:gd name="T25" fmla="*/ 110 h 579"/>
                <a:gd name="T26" fmla="*/ 261 w 802"/>
                <a:gd name="T27" fmla="*/ 70 h 579"/>
                <a:gd name="T28" fmla="*/ 64 w 802"/>
                <a:gd name="T29" fmla="*/ 46 h 579"/>
                <a:gd name="T30" fmla="*/ 268 w 802"/>
                <a:gd name="T31" fmla="*/ 7 h 579"/>
                <a:gd name="T32" fmla="*/ 286 w 802"/>
                <a:gd name="T33" fmla="*/ 13 h 579"/>
                <a:gd name="T34" fmla="*/ 294 w 802"/>
                <a:gd name="T35" fmla="*/ 0 h 579"/>
                <a:gd name="T36" fmla="*/ 128 w 802"/>
                <a:gd name="T37" fmla="*/ 94 h 579"/>
                <a:gd name="T38" fmla="*/ 128 w 802"/>
                <a:gd name="T39" fmla="*/ 184 h 579"/>
                <a:gd name="T40" fmla="*/ 125 w 802"/>
                <a:gd name="T41" fmla="*/ 480 h 579"/>
                <a:gd name="T42" fmla="*/ 663 w 802"/>
                <a:gd name="T43" fmla="*/ 529 h 579"/>
                <a:gd name="T44" fmla="*/ 771 w 802"/>
                <a:gd name="T45" fmla="*/ 208 h 579"/>
                <a:gd name="T46" fmla="*/ 802 w 802"/>
                <a:gd name="T47" fmla="*/ 128 h 579"/>
                <a:gd name="T48" fmla="*/ 142 w 802"/>
                <a:gd name="T49" fmla="*/ 104 h 579"/>
                <a:gd name="T50" fmla="*/ 180 w 802"/>
                <a:gd name="T51" fmla="*/ 200 h 579"/>
                <a:gd name="T52" fmla="*/ 296 w 802"/>
                <a:gd name="T53" fmla="*/ 228 h 579"/>
                <a:gd name="T54" fmla="*/ 295 w 802"/>
                <a:gd name="T55" fmla="*/ 559 h 579"/>
                <a:gd name="T56" fmla="*/ 138 w 802"/>
                <a:gd name="T57" fmla="*/ 228 h 579"/>
                <a:gd name="T58" fmla="*/ 178 w 802"/>
                <a:gd name="T59" fmla="*/ 212 h 579"/>
                <a:gd name="T60" fmla="*/ 296 w 802"/>
                <a:gd name="T61" fmla="*/ 228 h 579"/>
                <a:gd name="T62" fmla="*/ 386 w 802"/>
                <a:gd name="T63" fmla="*/ 249 h 579"/>
                <a:gd name="T64" fmla="*/ 313 w 802"/>
                <a:gd name="T65" fmla="*/ 207 h 579"/>
                <a:gd name="T66" fmla="*/ 733 w 802"/>
                <a:gd name="T67" fmla="*/ 201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02" h="579">
                  <a:moveTo>
                    <a:pt x="802" y="128"/>
                  </a:moveTo>
                  <a:cubicBezTo>
                    <a:pt x="619" y="29"/>
                    <a:pt x="619" y="29"/>
                    <a:pt x="619" y="29"/>
                  </a:cubicBezTo>
                  <a:cubicBezTo>
                    <a:pt x="551" y="38"/>
                    <a:pt x="551" y="38"/>
                    <a:pt x="551" y="38"/>
                  </a:cubicBezTo>
                  <a:cubicBezTo>
                    <a:pt x="554" y="39"/>
                    <a:pt x="556" y="41"/>
                    <a:pt x="556" y="42"/>
                  </a:cubicBezTo>
                  <a:cubicBezTo>
                    <a:pt x="558" y="43"/>
                    <a:pt x="559" y="46"/>
                    <a:pt x="560" y="49"/>
                  </a:cubicBezTo>
                  <a:cubicBezTo>
                    <a:pt x="617" y="41"/>
                    <a:pt x="617" y="41"/>
                    <a:pt x="617" y="41"/>
                  </a:cubicBezTo>
                  <a:cubicBezTo>
                    <a:pt x="764" y="121"/>
                    <a:pt x="764" y="121"/>
                    <a:pt x="764" y="121"/>
                  </a:cubicBezTo>
                  <a:cubicBezTo>
                    <a:pt x="654" y="136"/>
                    <a:pt x="654" y="136"/>
                    <a:pt x="654" y="136"/>
                  </a:cubicBezTo>
                  <a:cubicBezTo>
                    <a:pt x="548" y="77"/>
                    <a:pt x="548" y="77"/>
                    <a:pt x="548" y="77"/>
                  </a:cubicBezTo>
                  <a:cubicBezTo>
                    <a:pt x="542" y="87"/>
                    <a:pt x="542" y="87"/>
                    <a:pt x="542" y="87"/>
                  </a:cubicBezTo>
                  <a:cubicBezTo>
                    <a:pt x="647" y="147"/>
                    <a:pt x="647" y="147"/>
                    <a:pt x="647" y="147"/>
                  </a:cubicBezTo>
                  <a:cubicBezTo>
                    <a:pt x="482" y="170"/>
                    <a:pt x="482" y="170"/>
                    <a:pt x="482" y="170"/>
                  </a:cubicBezTo>
                  <a:cubicBezTo>
                    <a:pt x="482" y="110"/>
                    <a:pt x="482" y="110"/>
                    <a:pt x="482" y="110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57" y="56"/>
                    <a:pt x="457" y="56"/>
                    <a:pt x="457" y="56"/>
                  </a:cubicBezTo>
                  <a:cubicBezTo>
                    <a:pt x="412" y="98"/>
                    <a:pt x="412" y="98"/>
                    <a:pt x="412" y="98"/>
                  </a:cubicBezTo>
                  <a:cubicBezTo>
                    <a:pt x="410" y="100"/>
                    <a:pt x="407" y="101"/>
                    <a:pt x="405" y="102"/>
                  </a:cubicBezTo>
                  <a:cubicBezTo>
                    <a:pt x="405" y="102"/>
                    <a:pt x="405" y="102"/>
                    <a:pt x="405" y="102"/>
                  </a:cubicBezTo>
                  <a:cubicBezTo>
                    <a:pt x="400" y="104"/>
                    <a:pt x="395" y="104"/>
                    <a:pt x="390" y="101"/>
                  </a:cubicBezTo>
                  <a:cubicBezTo>
                    <a:pt x="386" y="98"/>
                    <a:pt x="383" y="93"/>
                    <a:pt x="382" y="87"/>
                  </a:cubicBezTo>
                  <a:cubicBezTo>
                    <a:pt x="378" y="54"/>
                    <a:pt x="378" y="54"/>
                    <a:pt x="378" y="54"/>
                  </a:cubicBezTo>
                  <a:cubicBezTo>
                    <a:pt x="356" y="57"/>
                    <a:pt x="356" y="57"/>
                    <a:pt x="356" y="57"/>
                  </a:cubicBezTo>
                  <a:cubicBezTo>
                    <a:pt x="355" y="60"/>
                    <a:pt x="353" y="62"/>
                    <a:pt x="350" y="65"/>
                  </a:cubicBezTo>
                  <a:cubicBezTo>
                    <a:pt x="292" y="111"/>
                    <a:pt x="292" y="111"/>
                    <a:pt x="292" y="111"/>
                  </a:cubicBezTo>
                  <a:cubicBezTo>
                    <a:pt x="282" y="119"/>
                    <a:pt x="272" y="116"/>
                    <a:pt x="267" y="110"/>
                  </a:cubicBezTo>
                  <a:cubicBezTo>
                    <a:pt x="267" y="110"/>
                    <a:pt x="267" y="110"/>
                    <a:pt x="267" y="110"/>
                  </a:cubicBezTo>
                  <a:cubicBezTo>
                    <a:pt x="264" y="107"/>
                    <a:pt x="263" y="102"/>
                    <a:pt x="263" y="98"/>
                  </a:cubicBezTo>
                  <a:cubicBezTo>
                    <a:pt x="261" y="70"/>
                    <a:pt x="261" y="70"/>
                    <a:pt x="261" y="70"/>
                  </a:cubicBezTo>
                  <a:cubicBezTo>
                    <a:pt x="140" y="87"/>
                    <a:pt x="140" y="87"/>
                    <a:pt x="140" y="87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260" y="17"/>
                    <a:pt x="260" y="17"/>
                    <a:pt x="260" y="17"/>
                  </a:cubicBezTo>
                  <a:cubicBezTo>
                    <a:pt x="261" y="10"/>
                    <a:pt x="266" y="8"/>
                    <a:pt x="268" y="7"/>
                  </a:cubicBezTo>
                  <a:cubicBezTo>
                    <a:pt x="271" y="6"/>
                    <a:pt x="278" y="3"/>
                    <a:pt x="285" y="12"/>
                  </a:cubicBezTo>
                  <a:cubicBezTo>
                    <a:pt x="285" y="12"/>
                    <a:pt x="286" y="12"/>
                    <a:pt x="286" y="13"/>
                  </a:cubicBezTo>
                  <a:cubicBezTo>
                    <a:pt x="291" y="12"/>
                    <a:pt x="291" y="12"/>
                    <a:pt x="291" y="12"/>
                  </a:cubicBezTo>
                  <a:cubicBezTo>
                    <a:pt x="292" y="8"/>
                    <a:pt x="293" y="4"/>
                    <a:pt x="294" y="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128" y="94"/>
                    <a:pt x="128" y="94"/>
                    <a:pt x="128" y="94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28" y="184"/>
                    <a:pt x="128" y="184"/>
                    <a:pt x="128" y="184"/>
                  </a:cubicBezTo>
                  <a:cubicBezTo>
                    <a:pt x="126" y="183"/>
                    <a:pt x="126" y="183"/>
                    <a:pt x="126" y="183"/>
                  </a:cubicBezTo>
                  <a:cubicBezTo>
                    <a:pt x="125" y="480"/>
                    <a:pt x="125" y="480"/>
                    <a:pt x="125" y="480"/>
                  </a:cubicBezTo>
                  <a:cubicBezTo>
                    <a:pt x="307" y="579"/>
                    <a:pt x="307" y="579"/>
                    <a:pt x="307" y="579"/>
                  </a:cubicBezTo>
                  <a:cubicBezTo>
                    <a:pt x="663" y="529"/>
                    <a:pt x="663" y="529"/>
                    <a:pt x="663" y="529"/>
                  </a:cubicBezTo>
                  <a:cubicBezTo>
                    <a:pt x="664" y="223"/>
                    <a:pt x="664" y="223"/>
                    <a:pt x="664" y="223"/>
                  </a:cubicBezTo>
                  <a:cubicBezTo>
                    <a:pt x="771" y="208"/>
                    <a:pt x="771" y="208"/>
                    <a:pt x="771" y="208"/>
                  </a:cubicBezTo>
                  <a:cubicBezTo>
                    <a:pt x="660" y="148"/>
                    <a:pt x="660" y="148"/>
                    <a:pt x="660" y="148"/>
                  </a:cubicBezTo>
                  <a:lnTo>
                    <a:pt x="802" y="128"/>
                  </a:lnTo>
                  <a:close/>
                  <a:moveTo>
                    <a:pt x="37" y="119"/>
                  </a:moveTo>
                  <a:cubicBezTo>
                    <a:pt x="142" y="104"/>
                    <a:pt x="142" y="104"/>
                    <a:pt x="142" y="104"/>
                  </a:cubicBezTo>
                  <a:cubicBezTo>
                    <a:pt x="287" y="185"/>
                    <a:pt x="287" y="185"/>
                    <a:pt x="287" y="185"/>
                  </a:cubicBezTo>
                  <a:cubicBezTo>
                    <a:pt x="180" y="200"/>
                    <a:pt x="180" y="200"/>
                    <a:pt x="180" y="200"/>
                  </a:cubicBezTo>
                  <a:lnTo>
                    <a:pt x="37" y="119"/>
                  </a:lnTo>
                  <a:close/>
                  <a:moveTo>
                    <a:pt x="296" y="228"/>
                  </a:moveTo>
                  <a:cubicBezTo>
                    <a:pt x="296" y="228"/>
                    <a:pt x="296" y="228"/>
                    <a:pt x="296" y="228"/>
                  </a:cubicBezTo>
                  <a:cubicBezTo>
                    <a:pt x="295" y="559"/>
                    <a:pt x="295" y="559"/>
                    <a:pt x="295" y="559"/>
                  </a:cubicBezTo>
                  <a:cubicBezTo>
                    <a:pt x="137" y="473"/>
                    <a:pt x="137" y="473"/>
                    <a:pt x="137" y="473"/>
                  </a:cubicBezTo>
                  <a:cubicBezTo>
                    <a:pt x="138" y="228"/>
                    <a:pt x="138" y="228"/>
                    <a:pt x="138" y="228"/>
                  </a:cubicBezTo>
                  <a:cubicBezTo>
                    <a:pt x="138" y="189"/>
                    <a:pt x="138" y="189"/>
                    <a:pt x="138" y="189"/>
                  </a:cubicBezTo>
                  <a:cubicBezTo>
                    <a:pt x="178" y="212"/>
                    <a:pt x="178" y="212"/>
                    <a:pt x="178" y="212"/>
                  </a:cubicBezTo>
                  <a:cubicBezTo>
                    <a:pt x="296" y="195"/>
                    <a:pt x="296" y="195"/>
                    <a:pt x="296" y="195"/>
                  </a:cubicBezTo>
                  <a:lnTo>
                    <a:pt x="296" y="228"/>
                  </a:lnTo>
                  <a:close/>
                  <a:moveTo>
                    <a:pt x="733" y="201"/>
                  </a:moveTo>
                  <a:cubicBezTo>
                    <a:pt x="386" y="249"/>
                    <a:pt x="386" y="249"/>
                    <a:pt x="386" y="249"/>
                  </a:cubicBezTo>
                  <a:cubicBezTo>
                    <a:pt x="313" y="209"/>
                    <a:pt x="313" y="209"/>
                    <a:pt x="313" y="209"/>
                  </a:cubicBezTo>
                  <a:cubicBezTo>
                    <a:pt x="313" y="207"/>
                    <a:pt x="313" y="207"/>
                    <a:pt x="313" y="207"/>
                  </a:cubicBezTo>
                  <a:cubicBezTo>
                    <a:pt x="654" y="158"/>
                    <a:pt x="654" y="158"/>
                    <a:pt x="654" y="158"/>
                  </a:cubicBezTo>
                  <a:lnTo>
                    <a:pt x="733" y="20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5445125" y="3009900"/>
              <a:ext cx="82550" cy="26987"/>
            </a:xfrm>
            <a:custGeom>
              <a:avLst/>
              <a:gdLst>
                <a:gd name="T0" fmla="*/ 0 w 61"/>
                <a:gd name="T1" fmla="*/ 18 h 20"/>
                <a:gd name="T2" fmla="*/ 31 w 61"/>
                <a:gd name="T3" fmla="*/ 13 h 20"/>
                <a:gd name="T4" fmla="*/ 37 w 61"/>
                <a:gd name="T5" fmla="*/ 8 h 20"/>
                <a:gd name="T6" fmla="*/ 56 w 61"/>
                <a:gd name="T7" fmla="*/ 15 h 20"/>
                <a:gd name="T8" fmla="*/ 60 w 61"/>
                <a:gd name="T9" fmla="*/ 20 h 20"/>
                <a:gd name="T10" fmla="*/ 61 w 61"/>
                <a:gd name="T11" fmla="*/ 14 h 20"/>
                <a:gd name="T12" fmla="*/ 35 w 61"/>
                <a:gd name="T13" fmla="*/ 0 h 20"/>
                <a:gd name="T14" fmla="*/ 4 w 61"/>
                <a:gd name="T15" fmla="*/ 5 h 20"/>
                <a:gd name="T16" fmla="*/ 0 w 61"/>
                <a:gd name="T17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20">
                  <a:moveTo>
                    <a:pt x="0" y="18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3" y="10"/>
                    <a:pt x="36" y="9"/>
                    <a:pt x="37" y="8"/>
                  </a:cubicBezTo>
                  <a:cubicBezTo>
                    <a:pt x="40" y="7"/>
                    <a:pt x="48" y="5"/>
                    <a:pt x="56" y="15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18"/>
                    <a:pt x="61" y="16"/>
                    <a:pt x="61" y="14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9"/>
                    <a:pt x="1" y="13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5610225" y="2765425"/>
              <a:ext cx="282575" cy="430212"/>
            </a:xfrm>
            <a:custGeom>
              <a:avLst/>
              <a:gdLst>
                <a:gd name="T0" fmla="*/ 7 w 209"/>
                <a:gd name="T1" fmla="*/ 240 h 318"/>
                <a:gd name="T2" fmla="*/ 31 w 209"/>
                <a:gd name="T3" fmla="*/ 257 h 318"/>
                <a:gd name="T4" fmla="*/ 32 w 209"/>
                <a:gd name="T5" fmla="*/ 258 h 318"/>
                <a:gd name="T6" fmla="*/ 209 w 209"/>
                <a:gd name="T7" fmla="*/ 149 h 318"/>
                <a:gd name="T8" fmla="*/ 49 w 209"/>
                <a:gd name="T9" fmla="*/ 259 h 318"/>
                <a:gd name="T10" fmla="*/ 50 w 209"/>
                <a:gd name="T11" fmla="*/ 258 h 318"/>
                <a:gd name="T12" fmla="*/ 76 w 209"/>
                <a:gd name="T13" fmla="*/ 244 h 318"/>
                <a:gd name="T14" fmla="*/ 80 w 209"/>
                <a:gd name="T15" fmla="*/ 248 h 318"/>
                <a:gd name="T16" fmla="*/ 67 w 209"/>
                <a:gd name="T17" fmla="*/ 270 h 318"/>
                <a:gd name="T18" fmla="*/ 56 w 209"/>
                <a:gd name="T19" fmla="*/ 290 h 318"/>
                <a:gd name="T20" fmla="*/ 43 w 209"/>
                <a:gd name="T21" fmla="*/ 312 h 318"/>
                <a:gd name="T22" fmla="*/ 32 w 209"/>
                <a:gd name="T23" fmla="*/ 312 h 318"/>
                <a:gd name="T24" fmla="*/ 22 w 209"/>
                <a:gd name="T25" fmla="*/ 289 h 318"/>
                <a:gd name="T26" fmla="*/ 13 w 209"/>
                <a:gd name="T27" fmla="*/ 267 h 318"/>
                <a:gd name="T28" fmla="*/ 2 w 209"/>
                <a:gd name="T29" fmla="*/ 244 h 318"/>
                <a:gd name="T30" fmla="*/ 7 w 209"/>
                <a:gd name="T31" fmla="*/ 24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9" h="318">
                  <a:moveTo>
                    <a:pt x="7" y="240"/>
                  </a:moveTo>
                  <a:cubicBezTo>
                    <a:pt x="31" y="257"/>
                    <a:pt x="31" y="257"/>
                    <a:pt x="31" y="257"/>
                  </a:cubicBezTo>
                  <a:cubicBezTo>
                    <a:pt x="31" y="257"/>
                    <a:pt x="31" y="257"/>
                    <a:pt x="32" y="258"/>
                  </a:cubicBezTo>
                  <a:cubicBezTo>
                    <a:pt x="36" y="0"/>
                    <a:pt x="209" y="149"/>
                    <a:pt x="209" y="149"/>
                  </a:cubicBezTo>
                  <a:cubicBezTo>
                    <a:pt x="93" y="86"/>
                    <a:pt x="60" y="191"/>
                    <a:pt x="49" y="259"/>
                  </a:cubicBezTo>
                  <a:cubicBezTo>
                    <a:pt x="49" y="258"/>
                    <a:pt x="50" y="258"/>
                    <a:pt x="50" y="258"/>
                  </a:cubicBezTo>
                  <a:cubicBezTo>
                    <a:pt x="76" y="244"/>
                    <a:pt x="76" y="244"/>
                    <a:pt x="76" y="244"/>
                  </a:cubicBezTo>
                  <a:cubicBezTo>
                    <a:pt x="81" y="241"/>
                    <a:pt x="83" y="243"/>
                    <a:pt x="80" y="248"/>
                  </a:cubicBezTo>
                  <a:cubicBezTo>
                    <a:pt x="67" y="270"/>
                    <a:pt x="67" y="270"/>
                    <a:pt x="67" y="270"/>
                  </a:cubicBezTo>
                  <a:cubicBezTo>
                    <a:pt x="64" y="276"/>
                    <a:pt x="59" y="285"/>
                    <a:pt x="56" y="290"/>
                  </a:cubicBezTo>
                  <a:cubicBezTo>
                    <a:pt x="43" y="312"/>
                    <a:pt x="43" y="312"/>
                    <a:pt x="43" y="312"/>
                  </a:cubicBezTo>
                  <a:cubicBezTo>
                    <a:pt x="40" y="318"/>
                    <a:pt x="35" y="318"/>
                    <a:pt x="32" y="312"/>
                  </a:cubicBezTo>
                  <a:cubicBezTo>
                    <a:pt x="22" y="289"/>
                    <a:pt x="22" y="289"/>
                    <a:pt x="22" y="289"/>
                  </a:cubicBezTo>
                  <a:cubicBezTo>
                    <a:pt x="19" y="283"/>
                    <a:pt x="15" y="273"/>
                    <a:pt x="13" y="267"/>
                  </a:cubicBezTo>
                  <a:cubicBezTo>
                    <a:pt x="2" y="244"/>
                    <a:pt x="2" y="244"/>
                    <a:pt x="2" y="244"/>
                  </a:cubicBezTo>
                  <a:cubicBezTo>
                    <a:pt x="0" y="238"/>
                    <a:pt x="2" y="237"/>
                    <a:pt x="7" y="2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0"/>
            <p:cNvSpPr>
              <a:spLocks noEditPoints="1"/>
            </p:cNvSpPr>
            <p:nvPr/>
          </p:nvSpPr>
          <p:spPr bwMode="auto">
            <a:xfrm>
              <a:off x="5338763" y="2424113"/>
              <a:ext cx="322263" cy="319087"/>
            </a:xfrm>
            <a:custGeom>
              <a:avLst/>
              <a:gdLst>
                <a:gd name="T0" fmla="*/ 165 w 203"/>
                <a:gd name="T1" fmla="*/ 17 h 201"/>
                <a:gd name="T2" fmla="*/ 160 w 203"/>
                <a:gd name="T3" fmla="*/ 14 h 201"/>
                <a:gd name="T4" fmla="*/ 134 w 203"/>
                <a:gd name="T5" fmla="*/ 0 h 201"/>
                <a:gd name="T6" fmla="*/ 1 w 203"/>
                <a:gd name="T7" fmla="*/ 19 h 201"/>
                <a:gd name="T8" fmla="*/ 0 w 203"/>
                <a:gd name="T9" fmla="*/ 163 h 201"/>
                <a:gd name="T10" fmla="*/ 69 w 203"/>
                <a:gd name="T11" fmla="*/ 201 h 201"/>
                <a:gd name="T12" fmla="*/ 202 w 203"/>
                <a:gd name="T13" fmla="*/ 182 h 201"/>
                <a:gd name="T14" fmla="*/ 203 w 203"/>
                <a:gd name="T15" fmla="*/ 37 h 201"/>
                <a:gd name="T16" fmla="*/ 165 w 203"/>
                <a:gd name="T17" fmla="*/ 17 h 201"/>
                <a:gd name="T18" fmla="*/ 36 w 203"/>
                <a:gd name="T19" fmla="*/ 38 h 201"/>
                <a:gd name="T20" fmla="*/ 163 w 203"/>
                <a:gd name="T21" fmla="*/ 21 h 201"/>
                <a:gd name="T22" fmla="*/ 192 w 203"/>
                <a:gd name="T23" fmla="*/ 37 h 201"/>
                <a:gd name="T24" fmla="*/ 64 w 203"/>
                <a:gd name="T25" fmla="*/ 54 h 201"/>
                <a:gd name="T26" fmla="*/ 36 w 203"/>
                <a:gd name="T27" fmla="*/ 38 h 201"/>
                <a:gd name="T28" fmla="*/ 133 w 203"/>
                <a:gd name="T29" fmla="*/ 5 h 201"/>
                <a:gd name="T30" fmla="*/ 154 w 203"/>
                <a:gd name="T31" fmla="*/ 16 h 201"/>
                <a:gd name="T32" fmla="*/ 29 w 203"/>
                <a:gd name="T33" fmla="*/ 34 h 201"/>
                <a:gd name="T34" fmla="*/ 7 w 203"/>
                <a:gd name="T35" fmla="*/ 22 h 201"/>
                <a:gd name="T36" fmla="*/ 133 w 203"/>
                <a:gd name="T37" fmla="*/ 5 h 201"/>
                <a:gd name="T38" fmla="*/ 5 w 203"/>
                <a:gd name="T39" fmla="*/ 26 h 201"/>
                <a:gd name="T40" fmla="*/ 27 w 203"/>
                <a:gd name="T41" fmla="*/ 38 h 201"/>
                <a:gd name="T42" fmla="*/ 27 w 203"/>
                <a:gd name="T43" fmla="*/ 173 h 201"/>
                <a:gd name="T44" fmla="*/ 5 w 203"/>
                <a:gd name="T45" fmla="*/ 161 h 201"/>
                <a:gd name="T46" fmla="*/ 5 w 203"/>
                <a:gd name="T47" fmla="*/ 26 h 201"/>
                <a:gd name="T48" fmla="*/ 64 w 203"/>
                <a:gd name="T49" fmla="*/ 193 h 201"/>
                <a:gd name="T50" fmla="*/ 33 w 203"/>
                <a:gd name="T51" fmla="*/ 176 h 201"/>
                <a:gd name="T52" fmla="*/ 33 w 203"/>
                <a:gd name="T53" fmla="*/ 42 h 201"/>
                <a:gd name="T54" fmla="*/ 64 w 203"/>
                <a:gd name="T55" fmla="*/ 59 h 201"/>
                <a:gd name="T56" fmla="*/ 64 w 203"/>
                <a:gd name="T57" fmla="*/ 19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3" h="201">
                  <a:moveTo>
                    <a:pt x="165" y="17"/>
                  </a:moveTo>
                  <a:lnTo>
                    <a:pt x="160" y="14"/>
                  </a:lnTo>
                  <a:lnTo>
                    <a:pt x="134" y="0"/>
                  </a:lnTo>
                  <a:lnTo>
                    <a:pt x="1" y="19"/>
                  </a:lnTo>
                  <a:lnTo>
                    <a:pt x="0" y="163"/>
                  </a:lnTo>
                  <a:lnTo>
                    <a:pt x="69" y="201"/>
                  </a:lnTo>
                  <a:lnTo>
                    <a:pt x="202" y="182"/>
                  </a:lnTo>
                  <a:lnTo>
                    <a:pt x="203" y="37"/>
                  </a:lnTo>
                  <a:lnTo>
                    <a:pt x="165" y="17"/>
                  </a:lnTo>
                  <a:close/>
                  <a:moveTo>
                    <a:pt x="36" y="38"/>
                  </a:moveTo>
                  <a:lnTo>
                    <a:pt x="163" y="21"/>
                  </a:lnTo>
                  <a:lnTo>
                    <a:pt x="192" y="37"/>
                  </a:lnTo>
                  <a:lnTo>
                    <a:pt x="64" y="54"/>
                  </a:lnTo>
                  <a:lnTo>
                    <a:pt x="36" y="38"/>
                  </a:lnTo>
                  <a:close/>
                  <a:moveTo>
                    <a:pt x="133" y="5"/>
                  </a:moveTo>
                  <a:lnTo>
                    <a:pt x="154" y="16"/>
                  </a:lnTo>
                  <a:lnTo>
                    <a:pt x="29" y="34"/>
                  </a:lnTo>
                  <a:lnTo>
                    <a:pt x="7" y="22"/>
                  </a:lnTo>
                  <a:lnTo>
                    <a:pt x="133" y="5"/>
                  </a:lnTo>
                  <a:close/>
                  <a:moveTo>
                    <a:pt x="5" y="26"/>
                  </a:moveTo>
                  <a:lnTo>
                    <a:pt x="27" y="38"/>
                  </a:lnTo>
                  <a:lnTo>
                    <a:pt x="27" y="173"/>
                  </a:lnTo>
                  <a:lnTo>
                    <a:pt x="5" y="161"/>
                  </a:lnTo>
                  <a:lnTo>
                    <a:pt x="5" y="26"/>
                  </a:lnTo>
                  <a:close/>
                  <a:moveTo>
                    <a:pt x="64" y="193"/>
                  </a:moveTo>
                  <a:lnTo>
                    <a:pt x="33" y="176"/>
                  </a:lnTo>
                  <a:lnTo>
                    <a:pt x="33" y="42"/>
                  </a:lnTo>
                  <a:lnTo>
                    <a:pt x="64" y="59"/>
                  </a:lnTo>
                  <a:lnTo>
                    <a:pt x="64" y="1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1"/>
            <p:cNvSpPr>
              <a:spLocks noEditPoints="1"/>
            </p:cNvSpPr>
            <p:nvPr/>
          </p:nvSpPr>
          <p:spPr bwMode="auto">
            <a:xfrm>
              <a:off x="4881562" y="2689225"/>
              <a:ext cx="322263" cy="319087"/>
            </a:xfrm>
            <a:custGeom>
              <a:avLst/>
              <a:gdLst>
                <a:gd name="T0" fmla="*/ 164 w 203"/>
                <a:gd name="T1" fmla="*/ 16 h 201"/>
                <a:gd name="T2" fmla="*/ 159 w 203"/>
                <a:gd name="T3" fmla="*/ 13 h 201"/>
                <a:gd name="T4" fmla="*/ 134 w 203"/>
                <a:gd name="T5" fmla="*/ 0 h 201"/>
                <a:gd name="T6" fmla="*/ 0 w 203"/>
                <a:gd name="T7" fmla="*/ 19 h 201"/>
                <a:gd name="T8" fmla="*/ 0 w 203"/>
                <a:gd name="T9" fmla="*/ 163 h 201"/>
                <a:gd name="T10" fmla="*/ 68 w 203"/>
                <a:gd name="T11" fmla="*/ 201 h 201"/>
                <a:gd name="T12" fmla="*/ 203 w 203"/>
                <a:gd name="T13" fmla="*/ 182 h 201"/>
                <a:gd name="T14" fmla="*/ 203 w 203"/>
                <a:gd name="T15" fmla="*/ 37 h 201"/>
                <a:gd name="T16" fmla="*/ 164 w 203"/>
                <a:gd name="T17" fmla="*/ 16 h 201"/>
                <a:gd name="T18" fmla="*/ 27 w 203"/>
                <a:gd name="T19" fmla="*/ 173 h 201"/>
                <a:gd name="T20" fmla="*/ 4 w 203"/>
                <a:gd name="T21" fmla="*/ 161 h 201"/>
                <a:gd name="T22" fmla="*/ 4 w 203"/>
                <a:gd name="T23" fmla="*/ 26 h 201"/>
                <a:gd name="T24" fmla="*/ 27 w 203"/>
                <a:gd name="T25" fmla="*/ 38 h 201"/>
                <a:gd name="T26" fmla="*/ 27 w 203"/>
                <a:gd name="T27" fmla="*/ 173 h 201"/>
                <a:gd name="T28" fmla="*/ 7 w 203"/>
                <a:gd name="T29" fmla="*/ 22 h 201"/>
                <a:gd name="T30" fmla="*/ 133 w 203"/>
                <a:gd name="T31" fmla="*/ 4 h 201"/>
                <a:gd name="T32" fmla="*/ 153 w 203"/>
                <a:gd name="T33" fmla="*/ 15 h 201"/>
                <a:gd name="T34" fmla="*/ 28 w 203"/>
                <a:gd name="T35" fmla="*/ 34 h 201"/>
                <a:gd name="T36" fmla="*/ 7 w 203"/>
                <a:gd name="T37" fmla="*/ 22 h 201"/>
                <a:gd name="T38" fmla="*/ 64 w 203"/>
                <a:gd name="T39" fmla="*/ 193 h 201"/>
                <a:gd name="T40" fmla="*/ 33 w 203"/>
                <a:gd name="T41" fmla="*/ 176 h 201"/>
                <a:gd name="T42" fmla="*/ 33 w 203"/>
                <a:gd name="T43" fmla="*/ 42 h 201"/>
                <a:gd name="T44" fmla="*/ 64 w 203"/>
                <a:gd name="T45" fmla="*/ 59 h 201"/>
                <a:gd name="T46" fmla="*/ 64 w 203"/>
                <a:gd name="T47" fmla="*/ 193 h 201"/>
                <a:gd name="T48" fmla="*/ 65 w 203"/>
                <a:gd name="T49" fmla="*/ 53 h 201"/>
                <a:gd name="T50" fmla="*/ 37 w 203"/>
                <a:gd name="T51" fmla="*/ 38 h 201"/>
                <a:gd name="T52" fmla="*/ 164 w 203"/>
                <a:gd name="T53" fmla="*/ 21 h 201"/>
                <a:gd name="T54" fmla="*/ 192 w 203"/>
                <a:gd name="T55" fmla="*/ 36 h 201"/>
                <a:gd name="T56" fmla="*/ 65 w 203"/>
                <a:gd name="T57" fmla="*/ 53 h 201"/>
                <a:gd name="T58" fmla="*/ 198 w 203"/>
                <a:gd name="T59" fmla="*/ 178 h 201"/>
                <a:gd name="T60" fmla="*/ 70 w 203"/>
                <a:gd name="T61" fmla="*/ 195 h 201"/>
                <a:gd name="T62" fmla="*/ 70 w 203"/>
                <a:gd name="T63" fmla="*/ 57 h 201"/>
                <a:gd name="T64" fmla="*/ 198 w 203"/>
                <a:gd name="T65" fmla="*/ 40 h 201"/>
                <a:gd name="T66" fmla="*/ 198 w 203"/>
                <a:gd name="T67" fmla="*/ 178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3" h="201">
                  <a:moveTo>
                    <a:pt x="164" y="16"/>
                  </a:moveTo>
                  <a:lnTo>
                    <a:pt x="159" y="13"/>
                  </a:lnTo>
                  <a:lnTo>
                    <a:pt x="134" y="0"/>
                  </a:lnTo>
                  <a:lnTo>
                    <a:pt x="0" y="19"/>
                  </a:lnTo>
                  <a:lnTo>
                    <a:pt x="0" y="163"/>
                  </a:lnTo>
                  <a:lnTo>
                    <a:pt x="68" y="201"/>
                  </a:lnTo>
                  <a:lnTo>
                    <a:pt x="203" y="182"/>
                  </a:lnTo>
                  <a:lnTo>
                    <a:pt x="203" y="37"/>
                  </a:lnTo>
                  <a:lnTo>
                    <a:pt x="164" y="16"/>
                  </a:lnTo>
                  <a:close/>
                  <a:moveTo>
                    <a:pt x="27" y="173"/>
                  </a:moveTo>
                  <a:lnTo>
                    <a:pt x="4" y="161"/>
                  </a:lnTo>
                  <a:lnTo>
                    <a:pt x="4" y="26"/>
                  </a:lnTo>
                  <a:lnTo>
                    <a:pt x="27" y="38"/>
                  </a:lnTo>
                  <a:lnTo>
                    <a:pt x="27" y="173"/>
                  </a:lnTo>
                  <a:close/>
                  <a:moveTo>
                    <a:pt x="7" y="22"/>
                  </a:moveTo>
                  <a:lnTo>
                    <a:pt x="133" y="4"/>
                  </a:lnTo>
                  <a:lnTo>
                    <a:pt x="153" y="15"/>
                  </a:lnTo>
                  <a:lnTo>
                    <a:pt x="28" y="34"/>
                  </a:lnTo>
                  <a:lnTo>
                    <a:pt x="7" y="22"/>
                  </a:lnTo>
                  <a:close/>
                  <a:moveTo>
                    <a:pt x="64" y="193"/>
                  </a:moveTo>
                  <a:lnTo>
                    <a:pt x="33" y="176"/>
                  </a:lnTo>
                  <a:lnTo>
                    <a:pt x="33" y="42"/>
                  </a:lnTo>
                  <a:lnTo>
                    <a:pt x="64" y="59"/>
                  </a:lnTo>
                  <a:lnTo>
                    <a:pt x="64" y="193"/>
                  </a:lnTo>
                  <a:close/>
                  <a:moveTo>
                    <a:pt x="65" y="53"/>
                  </a:moveTo>
                  <a:lnTo>
                    <a:pt x="37" y="38"/>
                  </a:lnTo>
                  <a:lnTo>
                    <a:pt x="164" y="21"/>
                  </a:lnTo>
                  <a:lnTo>
                    <a:pt x="192" y="36"/>
                  </a:lnTo>
                  <a:lnTo>
                    <a:pt x="65" y="53"/>
                  </a:lnTo>
                  <a:close/>
                  <a:moveTo>
                    <a:pt x="198" y="178"/>
                  </a:moveTo>
                  <a:lnTo>
                    <a:pt x="70" y="195"/>
                  </a:lnTo>
                  <a:lnTo>
                    <a:pt x="70" y="57"/>
                  </a:lnTo>
                  <a:lnTo>
                    <a:pt x="198" y="40"/>
                  </a:lnTo>
                  <a:lnTo>
                    <a:pt x="198" y="1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2"/>
            <p:cNvSpPr>
              <a:spLocks noEditPoints="1"/>
            </p:cNvSpPr>
            <p:nvPr/>
          </p:nvSpPr>
          <p:spPr bwMode="auto">
            <a:xfrm>
              <a:off x="5902325" y="2770188"/>
              <a:ext cx="322263" cy="319087"/>
            </a:xfrm>
            <a:custGeom>
              <a:avLst/>
              <a:gdLst>
                <a:gd name="T0" fmla="*/ 160 w 203"/>
                <a:gd name="T1" fmla="*/ 14 h 201"/>
                <a:gd name="T2" fmla="*/ 0 w 203"/>
                <a:gd name="T3" fmla="*/ 19 h 201"/>
                <a:gd name="T4" fmla="*/ 69 w 203"/>
                <a:gd name="T5" fmla="*/ 201 h 201"/>
                <a:gd name="T6" fmla="*/ 203 w 203"/>
                <a:gd name="T7" fmla="*/ 37 h 201"/>
                <a:gd name="T8" fmla="*/ 27 w 203"/>
                <a:gd name="T9" fmla="*/ 173 h 201"/>
                <a:gd name="T10" fmla="*/ 5 w 203"/>
                <a:gd name="T11" fmla="*/ 26 h 201"/>
                <a:gd name="T12" fmla="*/ 27 w 203"/>
                <a:gd name="T13" fmla="*/ 173 h 201"/>
                <a:gd name="T14" fmla="*/ 133 w 203"/>
                <a:gd name="T15" fmla="*/ 4 h 201"/>
                <a:gd name="T16" fmla="*/ 29 w 203"/>
                <a:gd name="T17" fmla="*/ 34 h 201"/>
                <a:gd name="T18" fmla="*/ 64 w 203"/>
                <a:gd name="T19" fmla="*/ 193 h 201"/>
                <a:gd name="T20" fmla="*/ 33 w 203"/>
                <a:gd name="T21" fmla="*/ 42 h 201"/>
                <a:gd name="T22" fmla="*/ 64 w 203"/>
                <a:gd name="T23" fmla="*/ 193 h 201"/>
                <a:gd name="T24" fmla="*/ 37 w 203"/>
                <a:gd name="T25" fmla="*/ 38 h 201"/>
                <a:gd name="T26" fmla="*/ 192 w 203"/>
                <a:gd name="T27" fmla="*/ 36 h 201"/>
                <a:gd name="T28" fmla="*/ 79 w 203"/>
                <a:gd name="T29" fmla="*/ 195 h 201"/>
                <a:gd name="T30" fmla="*/ 72 w 203"/>
                <a:gd name="T31" fmla="*/ 59 h 201"/>
                <a:gd name="T32" fmla="*/ 79 w 203"/>
                <a:gd name="T33" fmla="*/ 195 h 201"/>
                <a:gd name="T34" fmla="*/ 86 w 203"/>
                <a:gd name="T35" fmla="*/ 194 h 201"/>
                <a:gd name="T36" fmla="*/ 96 w 203"/>
                <a:gd name="T37" fmla="*/ 56 h 201"/>
                <a:gd name="T38" fmla="*/ 114 w 203"/>
                <a:gd name="T39" fmla="*/ 190 h 201"/>
                <a:gd name="T40" fmla="*/ 103 w 203"/>
                <a:gd name="T41" fmla="*/ 54 h 201"/>
                <a:gd name="T42" fmla="*/ 114 w 203"/>
                <a:gd name="T43" fmla="*/ 190 h 201"/>
                <a:gd name="T44" fmla="*/ 121 w 203"/>
                <a:gd name="T45" fmla="*/ 189 h 201"/>
                <a:gd name="T46" fmla="*/ 131 w 203"/>
                <a:gd name="T47" fmla="*/ 51 h 201"/>
                <a:gd name="T48" fmla="*/ 149 w 203"/>
                <a:gd name="T49" fmla="*/ 185 h 201"/>
                <a:gd name="T50" fmla="*/ 138 w 203"/>
                <a:gd name="T51" fmla="*/ 50 h 201"/>
                <a:gd name="T52" fmla="*/ 149 w 203"/>
                <a:gd name="T53" fmla="*/ 185 h 201"/>
                <a:gd name="T54" fmla="*/ 156 w 203"/>
                <a:gd name="T55" fmla="*/ 185 h 201"/>
                <a:gd name="T56" fmla="*/ 166 w 203"/>
                <a:gd name="T57" fmla="*/ 47 h 201"/>
                <a:gd name="T58" fmla="*/ 183 w 203"/>
                <a:gd name="T59" fmla="*/ 181 h 201"/>
                <a:gd name="T60" fmla="*/ 173 w 203"/>
                <a:gd name="T61" fmla="*/ 45 h 201"/>
                <a:gd name="T62" fmla="*/ 183 w 203"/>
                <a:gd name="T63" fmla="*/ 181 h 201"/>
                <a:gd name="T64" fmla="*/ 191 w 203"/>
                <a:gd name="T65" fmla="*/ 180 h 201"/>
                <a:gd name="T66" fmla="*/ 197 w 203"/>
                <a:gd name="T67" fmla="*/ 4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3" h="201">
                  <a:moveTo>
                    <a:pt x="165" y="16"/>
                  </a:moveTo>
                  <a:lnTo>
                    <a:pt x="160" y="14"/>
                  </a:lnTo>
                  <a:lnTo>
                    <a:pt x="134" y="0"/>
                  </a:lnTo>
                  <a:lnTo>
                    <a:pt x="0" y="19"/>
                  </a:lnTo>
                  <a:lnTo>
                    <a:pt x="0" y="163"/>
                  </a:lnTo>
                  <a:lnTo>
                    <a:pt x="69" y="201"/>
                  </a:lnTo>
                  <a:lnTo>
                    <a:pt x="203" y="182"/>
                  </a:lnTo>
                  <a:lnTo>
                    <a:pt x="203" y="37"/>
                  </a:lnTo>
                  <a:lnTo>
                    <a:pt x="165" y="16"/>
                  </a:lnTo>
                  <a:close/>
                  <a:moveTo>
                    <a:pt x="27" y="173"/>
                  </a:moveTo>
                  <a:lnTo>
                    <a:pt x="5" y="161"/>
                  </a:lnTo>
                  <a:lnTo>
                    <a:pt x="5" y="26"/>
                  </a:lnTo>
                  <a:lnTo>
                    <a:pt x="27" y="38"/>
                  </a:lnTo>
                  <a:lnTo>
                    <a:pt x="27" y="173"/>
                  </a:lnTo>
                  <a:close/>
                  <a:moveTo>
                    <a:pt x="7" y="22"/>
                  </a:moveTo>
                  <a:lnTo>
                    <a:pt x="133" y="4"/>
                  </a:lnTo>
                  <a:lnTo>
                    <a:pt x="154" y="15"/>
                  </a:lnTo>
                  <a:lnTo>
                    <a:pt x="29" y="34"/>
                  </a:lnTo>
                  <a:lnTo>
                    <a:pt x="7" y="22"/>
                  </a:lnTo>
                  <a:close/>
                  <a:moveTo>
                    <a:pt x="64" y="193"/>
                  </a:moveTo>
                  <a:lnTo>
                    <a:pt x="33" y="176"/>
                  </a:lnTo>
                  <a:lnTo>
                    <a:pt x="33" y="42"/>
                  </a:lnTo>
                  <a:lnTo>
                    <a:pt x="64" y="59"/>
                  </a:lnTo>
                  <a:lnTo>
                    <a:pt x="64" y="193"/>
                  </a:lnTo>
                  <a:close/>
                  <a:moveTo>
                    <a:pt x="65" y="53"/>
                  </a:moveTo>
                  <a:lnTo>
                    <a:pt x="37" y="38"/>
                  </a:lnTo>
                  <a:lnTo>
                    <a:pt x="163" y="21"/>
                  </a:lnTo>
                  <a:lnTo>
                    <a:pt x="192" y="36"/>
                  </a:lnTo>
                  <a:lnTo>
                    <a:pt x="65" y="53"/>
                  </a:lnTo>
                  <a:close/>
                  <a:moveTo>
                    <a:pt x="79" y="195"/>
                  </a:moveTo>
                  <a:lnTo>
                    <a:pt x="72" y="196"/>
                  </a:lnTo>
                  <a:lnTo>
                    <a:pt x="72" y="59"/>
                  </a:lnTo>
                  <a:lnTo>
                    <a:pt x="79" y="58"/>
                  </a:lnTo>
                  <a:lnTo>
                    <a:pt x="79" y="195"/>
                  </a:lnTo>
                  <a:close/>
                  <a:moveTo>
                    <a:pt x="96" y="192"/>
                  </a:moveTo>
                  <a:lnTo>
                    <a:pt x="86" y="194"/>
                  </a:lnTo>
                  <a:lnTo>
                    <a:pt x="86" y="57"/>
                  </a:lnTo>
                  <a:lnTo>
                    <a:pt x="96" y="56"/>
                  </a:lnTo>
                  <a:lnTo>
                    <a:pt x="96" y="192"/>
                  </a:lnTo>
                  <a:close/>
                  <a:moveTo>
                    <a:pt x="114" y="190"/>
                  </a:moveTo>
                  <a:lnTo>
                    <a:pt x="103" y="191"/>
                  </a:lnTo>
                  <a:lnTo>
                    <a:pt x="103" y="54"/>
                  </a:lnTo>
                  <a:lnTo>
                    <a:pt x="114" y="53"/>
                  </a:lnTo>
                  <a:lnTo>
                    <a:pt x="114" y="190"/>
                  </a:lnTo>
                  <a:close/>
                  <a:moveTo>
                    <a:pt x="131" y="188"/>
                  </a:moveTo>
                  <a:lnTo>
                    <a:pt x="121" y="189"/>
                  </a:lnTo>
                  <a:lnTo>
                    <a:pt x="121" y="53"/>
                  </a:lnTo>
                  <a:lnTo>
                    <a:pt x="131" y="51"/>
                  </a:lnTo>
                  <a:lnTo>
                    <a:pt x="131" y="188"/>
                  </a:lnTo>
                  <a:close/>
                  <a:moveTo>
                    <a:pt x="149" y="185"/>
                  </a:moveTo>
                  <a:lnTo>
                    <a:pt x="138" y="187"/>
                  </a:lnTo>
                  <a:lnTo>
                    <a:pt x="138" y="50"/>
                  </a:lnTo>
                  <a:lnTo>
                    <a:pt x="149" y="48"/>
                  </a:lnTo>
                  <a:lnTo>
                    <a:pt x="149" y="185"/>
                  </a:lnTo>
                  <a:close/>
                  <a:moveTo>
                    <a:pt x="166" y="183"/>
                  </a:moveTo>
                  <a:lnTo>
                    <a:pt x="156" y="185"/>
                  </a:lnTo>
                  <a:lnTo>
                    <a:pt x="156" y="48"/>
                  </a:lnTo>
                  <a:lnTo>
                    <a:pt x="166" y="47"/>
                  </a:lnTo>
                  <a:lnTo>
                    <a:pt x="166" y="183"/>
                  </a:lnTo>
                  <a:close/>
                  <a:moveTo>
                    <a:pt x="183" y="181"/>
                  </a:moveTo>
                  <a:lnTo>
                    <a:pt x="173" y="182"/>
                  </a:lnTo>
                  <a:lnTo>
                    <a:pt x="173" y="45"/>
                  </a:lnTo>
                  <a:lnTo>
                    <a:pt x="183" y="44"/>
                  </a:lnTo>
                  <a:lnTo>
                    <a:pt x="183" y="181"/>
                  </a:lnTo>
                  <a:close/>
                  <a:moveTo>
                    <a:pt x="197" y="179"/>
                  </a:moveTo>
                  <a:lnTo>
                    <a:pt x="191" y="180"/>
                  </a:lnTo>
                  <a:lnTo>
                    <a:pt x="191" y="43"/>
                  </a:lnTo>
                  <a:lnTo>
                    <a:pt x="197" y="42"/>
                  </a:lnTo>
                  <a:lnTo>
                    <a:pt x="197" y="17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512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Группа 48"/>
          <p:cNvGrpSpPr/>
          <p:nvPr/>
        </p:nvGrpSpPr>
        <p:grpSpPr>
          <a:xfrm>
            <a:off x="375171" y="332767"/>
            <a:ext cx="7151013" cy="4285009"/>
            <a:chOff x="328163" y="1008576"/>
            <a:chExt cx="7151013" cy="4285009"/>
          </a:xfrm>
        </p:grpSpPr>
        <p:pic>
          <p:nvPicPr>
            <p:cNvPr id="50" name="image13-filtered.png"/>
            <p:cNvPicPr/>
            <p:nvPr/>
          </p:nvPicPr>
          <p:blipFill>
            <a:blip r:embed="rId5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2876" y="1008576"/>
              <a:ext cx="6664205" cy="4285009"/>
            </a:xfrm>
            <a:prstGeom prst="rect">
              <a:avLst/>
            </a:prstGeom>
            <a:ln w="12700">
              <a:miter lim="400000"/>
            </a:ln>
            <a:effectLst>
              <a:outerShdw blurRad="63500" dist="25400" dir="5400000" rotWithShape="0">
                <a:srgbClr val="000000">
                  <a:alpha val="50000"/>
                </a:srgbClr>
              </a:outerShdw>
            </a:effectLst>
          </p:spPr>
        </p:pic>
        <p:pic>
          <p:nvPicPr>
            <p:cNvPr id="51" name="Picture 97" descr="http://upload.wikimedia.org/wikipedia/ru/b/b3/Sedmoj_Continent.png"/>
            <p:cNvPicPr>
              <a:picLocks noChangeAspect="1" noChangeArrowheads="1"/>
            </p:cNvPicPr>
            <p:nvPr/>
          </p:nvPicPr>
          <p:blipFill>
            <a:blip r:embed="rId7" r:link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3187" y="2790814"/>
              <a:ext cx="693529" cy="6357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2" descr="https://upload.wikimedia.org/wikipedia/it/9/99/Auchan_logo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922" y="3481853"/>
              <a:ext cx="1602210" cy="362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4" descr="https://upload.wikimedia.org/wikipedia/commons/a/a8/Globus_(SB-Warenhaus)_logo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163" y="3899658"/>
              <a:ext cx="737169" cy="479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6" descr="http://www.ataksupermarket.ru/images/logo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163" y="4434123"/>
              <a:ext cx="815412" cy="3121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10" descr="http://toplogos.ru/images/logo-magnit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870" y="4713154"/>
              <a:ext cx="1494634" cy="3707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12" descr="http://img1.wikia.nocookie.net/__cb20110820102653/logopedia/images/b/be/Selgros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529" y="4035111"/>
              <a:ext cx="974569" cy="4872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14" descr="http://img1.wikia.nocookie.net/__cb20101218155940/logopedia/images/b/b9/Media_Markt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1198" y="4898523"/>
              <a:ext cx="2208003" cy="3709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16" descr="https://upload.wikimedia.org/wikipedia/commons/thumb/c/c5/Ikea_logo.svg/2000px-Ikea_logo.svg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1198" y="4494488"/>
              <a:ext cx="871219" cy="3127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0" descr="http://foodmarkets.ru/upload/news/11337/IvG__Gmk.jp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0504" y="2688408"/>
              <a:ext cx="892281" cy="892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2" descr="http://50505.ru/upload/medialibrary/cdc/klnbepr%20ookeevat.pn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4508" y="2655191"/>
              <a:ext cx="1003413" cy="1003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24" descr="http://toplogos.ru/images/logo-diksi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6920" y="3455503"/>
              <a:ext cx="694129" cy="9477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28" descr="http://zolotayarus.com/buy/img/okey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1037" y="3571322"/>
              <a:ext cx="1388589" cy="463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30" descr="http://toplogos.ru/images/logo-metro-cash-and-carry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2785" y="4094417"/>
              <a:ext cx="1282879" cy="3407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32" descr="http://zksrow.rybnik.com.pl/uploads/logo_CASTORAMA.jpg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8371" y="4484295"/>
              <a:ext cx="1315127" cy="3440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34" descr="http://vignette1.wikia.nocookie.net/logopedia/images/0/08/Leroy-merlin-logo.png/revision/latest?cb=20131227124453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6851" y="1356698"/>
              <a:ext cx="1322062" cy="861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36" descr="http://shop-360.ru/img/rivegauche-logo.png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780" y="3106402"/>
              <a:ext cx="1230271" cy="2990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38" descr="http://logonoid.com/images/obi-logo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91449" y="3493603"/>
              <a:ext cx="958121" cy="2376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42" descr="https://upload.wikimedia.org/wikipedia/ru/thumb/2/24/Eldorado_Logo.svg/1280px-Eldorado_Logo.svg.png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0925" y="4434123"/>
              <a:ext cx="1452304" cy="2802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44" descr="http://www.posovetyi.ru/upload/medialibrary/e61/maxidom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3321" y="3849037"/>
              <a:ext cx="1476133" cy="4846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46" descr="http://itcrumbs.ru/wp-content/uploads/2011/02/645px-Mvideo.svg_.png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8537" y="4775634"/>
              <a:ext cx="1202442" cy="494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50" descr="http://toplogos.ru/images/logo-ile-de-beaute.jpg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4101" y="3842508"/>
              <a:ext cx="844478" cy="674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54" descr="https://upload.wikimedia.org/wikipedia/en/4/47/L'Occitane_en_Provence_logo_2013.png"/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0979" y="3290419"/>
              <a:ext cx="1387118" cy="4264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56" descr="http://toplogos.ru/images/logo-megamart.png"/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5262" y="2740142"/>
              <a:ext cx="2194155" cy="287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58" descr="http://moscow.hh.ru/employer-logo/617868.png"/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5934" y="2060532"/>
              <a:ext cx="985428" cy="655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60" descr="https://upload.wikimedia.org/wikipedia/ru/3/30/Lenta_logo.png"/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6413" y="2270934"/>
              <a:ext cx="1313004" cy="3851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58"/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1499" y="2406926"/>
              <a:ext cx="907677" cy="7658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8100" cmpd="dbl" algn="ctr">
                  <a:solidFill>
                    <a:srgbClr val="000000"/>
                  </a:solidFill>
                  <a:miter lim="800000"/>
                  <a:headEnd/>
                  <a:tailEnd type="none" w="med" len="lg"/>
                </a14:hiddenLine>
              </a:ext>
            </a:extLst>
          </p:spPr>
        </p:pic>
      </p:grpSp>
      <p:grpSp>
        <p:nvGrpSpPr>
          <p:cNvPr id="3" name="Группа 2"/>
          <p:cNvGrpSpPr/>
          <p:nvPr/>
        </p:nvGrpSpPr>
        <p:grpSpPr>
          <a:xfrm>
            <a:off x="8053799" y="392011"/>
            <a:ext cx="3905998" cy="6124866"/>
            <a:chOff x="168138" y="1411782"/>
            <a:chExt cx="3905998" cy="5083791"/>
          </a:xfrm>
        </p:grpSpPr>
        <p:sp>
          <p:nvSpPr>
            <p:cNvPr id="35" name="Shape 499"/>
            <p:cNvSpPr/>
            <p:nvPr/>
          </p:nvSpPr>
          <p:spPr>
            <a:xfrm>
              <a:off x="168138" y="4746935"/>
              <a:ext cx="3905998" cy="174863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65023" tIns="65023" rIns="65023" bIns="65023">
              <a:spAutoFit/>
            </a:bodyPr>
            <a:lstStyle/>
            <a:p>
              <a:pPr>
                <a:defRPr sz="1800"/>
              </a:pPr>
              <a:r>
                <a:rPr lang="ru-RU" sz="15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  <a:sym typeface="Arial Narrow"/>
                </a:rPr>
                <a:t>УСЛУГИ ВЫСОКОГО КАЧЕСТВА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Сертификация ISO 9001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Сотрудничество, основанное на КПЭ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Прибытие под погрузку</a:t>
              </a:r>
              <a:r>
                <a:rPr lang="en-US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 </a:t>
              </a: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/</a:t>
              </a:r>
              <a:r>
                <a:rPr lang="en-US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 </a:t>
              </a: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разгрузку  &gt; 97%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Оперативный возврат документов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Сканирование документов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Архивирование документов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Использование Системы Управления Транспорта  клиента</a:t>
              </a:r>
            </a:p>
          </p:txBody>
        </p:sp>
        <p:sp>
          <p:nvSpPr>
            <p:cNvPr id="38" name="Shape 497"/>
            <p:cNvSpPr/>
            <p:nvPr/>
          </p:nvSpPr>
          <p:spPr>
            <a:xfrm>
              <a:off x="168138" y="1411782"/>
              <a:ext cx="3905998" cy="157822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65023" tIns="65023" rIns="65023" bIns="65023">
              <a:spAutoFit/>
            </a:bodyPr>
            <a:lstStyle/>
            <a:p>
              <a:pPr>
                <a:buClr>
                  <a:srgbClr val="E42624"/>
                </a:buClr>
                <a:buSzPct val="100000"/>
                <a:defRPr sz="1800"/>
              </a:pPr>
              <a:r>
                <a:rPr lang="ru-RU" sz="15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  <a:sym typeface="Arial Narrow"/>
                </a:rPr>
                <a:t>280 ОПЫТНЫХ СОТРУДНИКОВ В КОМАНДЕ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LTL доставки  всем </a:t>
              </a:r>
              <a:r>
                <a:rPr lang="ru-RU" sz="1181" dirty="0" err="1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ритейлерам</a:t>
              </a: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 (магазины</a:t>
              </a:r>
              <a:r>
                <a:rPr lang="en-US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 / </a:t>
              </a: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РЦ)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Ж/Д перевозки (Дальний Восток</a:t>
              </a:r>
              <a:r>
                <a:rPr lang="en-US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 </a:t>
              </a: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/ вагоны</a:t>
              </a:r>
              <a:r>
                <a:rPr lang="en-US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 </a:t>
              </a: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/ контейнеры)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FTL доставки по всей России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Дистрибуция в городской черте (&gt;500 поставок ежедневно)</a:t>
              </a:r>
            </a:p>
          </p:txBody>
        </p:sp>
        <p:sp>
          <p:nvSpPr>
            <p:cNvPr id="61" name="Shape 498"/>
            <p:cNvSpPr/>
            <p:nvPr/>
          </p:nvSpPr>
          <p:spPr>
            <a:xfrm>
              <a:off x="168138" y="2957689"/>
              <a:ext cx="3704378" cy="175922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65023" tIns="65023" rIns="65023" bIns="65023">
              <a:spAutoFit/>
            </a:bodyPr>
            <a:lstStyle/>
            <a:p>
              <a:pPr>
                <a:buClr>
                  <a:srgbClr val="E42624"/>
                </a:buClr>
                <a:buSzPct val="100000"/>
                <a:defRPr sz="1800"/>
              </a:pPr>
              <a:r>
                <a:rPr lang="en-US" sz="15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  <a:sym typeface="Arial Narrow"/>
                </a:rPr>
                <a:t>KEWILL -  </a:t>
              </a:r>
              <a:r>
                <a:rPr lang="ru-RU" sz="1500" b="1" dirty="0">
                  <a:solidFill>
                    <a:srgbClr val="E7E6E6">
                      <a:lumMod val="25000"/>
                    </a:srgbClr>
                  </a:solidFill>
                  <a:latin typeface="Arial" charset="0"/>
                  <a:ea typeface="Arial" charset="0"/>
                  <a:cs typeface="Arial" charset="0"/>
                  <a:sym typeface="Arial Narrow"/>
                </a:rPr>
                <a:t>СИСТЕМА УПРАВЛЕНИЯ ТРАНСПОРТОМ 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Необходимо подать заявку на осуществление операций по перевозке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Общий интерфейс с другими приложениями с целью оптимизации цепи поставок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Планирование и оптимизация транспортных потоков </a:t>
              </a:r>
            </a:p>
            <a:p>
              <a:pPr marL="222250" indent="-222250">
                <a:lnSpc>
                  <a:spcPct val="120000"/>
                </a:lnSpc>
                <a:buClr>
                  <a:srgbClr val="3E9ACC"/>
                </a:buClr>
                <a:buSzPct val="100000"/>
                <a:buFont typeface="Arial" panose="020B0604020202020204" pitchFamily="34" charset="0"/>
                <a:buChar char="•"/>
                <a:defRPr sz="1800"/>
              </a:pPr>
              <a:r>
                <a:rPr lang="ru-RU" sz="1181" dirty="0">
                  <a:solidFill>
                    <a:srgbClr val="404040"/>
                  </a:solidFill>
                  <a:latin typeface="Arial" charset="0"/>
                  <a:ea typeface="Arial" charset="0"/>
                  <a:cs typeface="Arial" charset="0"/>
                  <a:sym typeface="Arial"/>
                </a:rPr>
                <a:t>Регистрация запросов по EDI</a:t>
              </a:r>
            </a:p>
          </p:txBody>
        </p:sp>
      </p:grpSp>
      <p:pic>
        <p:nvPicPr>
          <p:cNvPr id="359" name="Image 25"/>
          <p:cNvPicPr preferRelativeResize="0">
            <a:picLocks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H="1">
            <a:off x="7860978" y="852968"/>
            <a:ext cx="192821" cy="4945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609600" y="576943"/>
            <a:ext cx="500310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  <a:latin typeface="Arial" charset="0"/>
                <a:ea typeface="Arial" charset="0"/>
                <a:cs typeface="Arial" charset="0"/>
              </a:rPr>
              <a:t>FM LOGISTIC</a:t>
            </a:r>
          </a:p>
          <a:p>
            <a:r>
              <a:rPr lang="ru-RU" sz="3000" b="1" dirty="0">
                <a:solidFill>
                  <a:srgbClr val="3E9ACC"/>
                </a:solidFill>
                <a:latin typeface="Arial" charset="0"/>
                <a:ea typeface="Arial" charset="0"/>
                <a:cs typeface="Arial" charset="0"/>
              </a:rPr>
              <a:t>ПЕРЕВОЗКИ ПО РОССИИ</a:t>
            </a:r>
          </a:p>
        </p:txBody>
      </p:sp>
      <p:grpSp>
        <p:nvGrpSpPr>
          <p:cNvPr id="42" name="Группа 41"/>
          <p:cNvGrpSpPr/>
          <p:nvPr/>
        </p:nvGrpSpPr>
        <p:grpSpPr>
          <a:xfrm>
            <a:off x="696685" y="576943"/>
            <a:ext cx="3829575" cy="783771"/>
            <a:chOff x="696685" y="576943"/>
            <a:chExt cx="2939144" cy="783771"/>
          </a:xfrm>
        </p:grpSpPr>
        <p:cxnSp>
          <p:nvCxnSpPr>
            <p:cNvPr id="43" name="Прямая соединительная линия 42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bSticker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13652" y="4683052"/>
            <a:ext cx="3392979" cy="553998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ДИСТРИБУЦИЯ В РОССИИ – ЭТО </a:t>
            </a:r>
          </a:p>
        </p:txBody>
      </p:sp>
      <p:sp>
        <p:nvSpPr>
          <p:cNvPr id="46" name="Shape 481"/>
          <p:cNvSpPr/>
          <p:nvPr/>
        </p:nvSpPr>
        <p:spPr>
          <a:xfrm>
            <a:off x="348336" y="5176038"/>
            <a:ext cx="3489389" cy="12216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13 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кросс-</a:t>
            </a: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докинговых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 площадок на складах и в представительских офисах FM Logistic </a:t>
            </a:r>
          </a:p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en-US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15 </a:t>
            </a: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транспортных офисов FM Logistic в России</a:t>
            </a:r>
          </a:p>
        </p:txBody>
      </p:sp>
      <p:sp>
        <p:nvSpPr>
          <p:cNvPr id="47" name="RbSticker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098990" y="4671243"/>
            <a:ext cx="4185039" cy="830997"/>
          </a:xfrm>
          <a:prstGeom prst="rect">
            <a:avLst/>
          </a:prstGeom>
          <a:effectLst/>
        </p:spPr>
        <p:txBody>
          <a:bodyPr vert="horz" wrap="square" lIns="0" tIns="0" rIns="0" bIns="0" rtlCol="0" anchor="ctr">
            <a:spAutoFit/>
          </a:bodyPr>
          <a:lstStyle/>
          <a:p>
            <a:pPr>
              <a:defRPr b="0">
                <a:solidFill>
                  <a:srgbClr val="000000"/>
                </a:solidFill>
              </a:defRPr>
            </a:pPr>
            <a:r>
              <a:rPr lang="ru-RU" b="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</a:rPr>
              <a:t>РЕГУЛЯРНЫЕ ПОСТАВКИ В 60 ГОРОДОВ  В СООТВЕТСТВИИ С  ОПРЕДЕЛЕННЫМ РАСПИСАНИЕМ</a:t>
            </a:r>
          </a:p>
        </p:txBody>
      </p:sp>
      <p:sp>
        <p:nvSpPr>
          <p:cNvPr id="48" name="Shape 481"/>
          <p:cNvSpPr/>
          <p:nvPr/>
        </p:nvSpPr>
        <p:spPr>
          <a:xfrm>
            <a:off x="4070147" y="5622361"/>
            <a:ext cx="3073758" cy="6764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Регулярное покрытие 30 </a:t>
            </a:r>
            <a:r>
              <a:rPr lang="ru-RU" sz="1181" dirty="0" err="1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ритейлеров</a:t>
            </a:r>
            <a:endParaRPr lang="ru-RU" sz="1181" dirty="0">
              <a:solidFill>
                <a:srgbClr val="404040"/>
              </a:solidFill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171450" indent="-171450">
              <a:lnSpc>
                <a:spcPct val="150000"/>
              </a:lnSpc>
              <a:buClr>
                <a:srgbClr val="3E9ACC"/>
              </a:buClr>
              <a:buSzPct val="100000"/>
              <a:buFont typeface="Arial" charset="0"/>
              <a:buChar char="•"/>
              <a:defRPr sz="1800"/>
            </a:pPr>
            <a:r>
              <a:rPr lang="ru-RU" sz="1181" dirty="0">
                <a:solidFill>
                  <a:srgbClr val="404040"/>
                </a:solidFill>
                <a:latin typeface="Arial" charset="0"/>
                <a:ea typeface="Arial" charset="0"/>
                <a:cs typeface="Arial" charset="0"/>
                <a:sym typeface="Arial"/>
              </a:rPr>
              <a:t>Около 250 000 поставок в год</a:t>
            </a:r>
          </a:p>
        </p:txBody>
      </p:sp>
    </p:spTree>
    <p:extLst>
      <p:ext uri="{BB962C8B-B14F-4D97-AF65-F5344CB8AC3E}">
        <p14:creationId xmlns:p14="http://schemas.microsoft.com/office/powerpoint/2010/main" val="315244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Группа 42"/>
          <p:cNvGrpSpPr/>
          <p:nvPr/>
        </p:nvGrpSpPr>
        <p:grpSpPr>
          <a:xfrm>
            <a:off x="907952" y="690065"/>
            <a:ext cx="4179936" cy="783771"/>
            <a:chOff x="696685" y="576943"/>
            <a:chExt cx="2939144" cy="783771"/>
          </a:xfrm>
        </p:grpSpPr>
        <p:cxnSp>
          <p:nvCxnSpPr>
            <p:cNvPr id="44" name="Прямая соединительная линия 43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TextBox 45"/>
          <p:cNvSpPr txBox="1"/>
          <p:nvPr/>
        </p:nvSpPr>
        <p:spPr>
          <a:xfrm>
            <a:off x="797055" y="690065"/>
            <a:ext cx="4212692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/>
                </a:solidFill>
                <a:ea typeface="Arial" charset="0"/>
                <a:cs typeface="Arial" charset="0"/>
              </a:rPr>
              <a:t>FM LOGISTIC</a:t>
            </a:r>
            <a:r>
              <a:rPr lang="ru-RU" sz="2000" dirty="0">
                <a:solidFill>
                  <a:prstClr val="black"/>
                </a:solidFill>
                <a:ea typeface="Arial" charset="0"/>
                <a:cs typeface="Arial" charset="0"/>
              </a:rPr>
              <a:t> НОВОСИБИРСК</a:t>
            </a:r>
            <a:endParaRPr lang="en-US" sz="2000" dirty="0">
              <a:solidFill>
                <a:prstClr val="black"/>
              </a:solidFill>
              <a:ea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3000" b="1" dirty="0">
                <a:solidFill>
                  <a:srgbClr val="3E9ACC"/>
                </a:solidFill>
                <a:ea typeface="Arial" charset="0"/>
                <a:cs typeface="Arial" charset="0"/>
              </a:rPr>
              <a:t>КЛЮЧЕВЫЕ ЦИФРЫ</a:t>
            </a:r>
          </a:p>
        </p:txBody>
      </p:sp>
      <p:graphicFrame>
        <p:nvGraphicFramePr>
          <p:cNvPr id="47" name="Диаграмма 46"/>
          <p:cNvGraphicFramePr/>
          <p:nvPr>
            <p:extLst/>
          </p:nvPr>
        </p:nvGraphicFramePr>
        <p:xfrm>
          <a:off x="-339936" y="2548674"/>
          <a:ext cx="2160740" cy="1548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8" name="Диаграмма 47"/>
          <p:cNvGraphicFramePr/>
          <p:nvPr>
            <p:extLst/>
          </p:nvPr>
        </p:nvGraphicFramePr>
        <p:xfrm>
          <a:off x="576030" y="2971949"/>
          <a:ext cx="1274486" cy="1123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9" name="Диаграмма 48"/>
          <p:cNvGraphicFramePr/>
          <p:nvPr>
            <p:extLst/>
          </p:nvPr>
        </p:nvGraphicFramePr>
        <p:xfrm>
          <a:off x="1889035" y="3009984"/>
          <a:ext cx="1154685" cy="1087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0" name="Freeform 6"/>
          <p:cNvSpPr>
            <a:spLocks/>
          </p:cNvSpPr>
          <p:nvPr/>
        </p:nvSpPr>
        <p:spPr bwMode="auto">
          <a:xfrm>
            <a:off x="978723" y="3214897"/>
            <a:ext cx="847508" cy="139679"/>
          </a:xfrm>
          <a:custGeom>
            <a:avLst/>
            <a:gdLst>
              <a:gd name="T0" fmla="*/ 1554 w 1554"/>
              <a:gd name="T1" fmla="*/ 0 h 159"/>
              <a:gd name="T2" fmla="*/ 157 w 1554"/>
              <a:gd name="T3" fmla="*/ 0 h 159"/>
              <a:gd name="T4" fmla="*/ 0 w 1554"/>
              <a:gd name="T5" fmla="*/ 159 h 159"/>
              <a:gd name="connsiteX0" fmla="*/ 8283 w 8283"/>
              <a:gd name="connsiteY0" fmla="*/ 0 h 10000"/>
              <a:gd name="connsiteX1" fmla="*/ 1010 w 8283"/>
              <a:gd name="connsiteY1" fmla="*/ 0 h 10000"/>
              <a:gd name="connsiteX2" fmla="*/ 0 w 8283"/>
              <a:gd name="connsiteY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83" h="10000">
                <a:moveTo>
                  <a:pt x="8283" y="0"/>
                </a:moveTo>
                <a:lnTo>
                  <a:pt x="1010" y="0"/>
                </a:lnTo>
                <a:cubicBezTo>
                  <a:pt x="673" y="3333"/>
                  <a:pt x="337" y="6667"/>
                  <a:pt x="0" y="10000"/>
                </a:cubicBezTo>
              </a:path>
            </a:pathLst>
          </a:custGeom>
          <a:noFill/>
          <a:ln w="6350" cap="flat">
            <a:solidFill>
              <a:schemeClr val="bg2">
                <a:lumMod val="75000"/>
              </a:schemeClr>
            </a:solidFill>
            <a:prstDash val="solid"/>
            <a:miter lim="800000"/>
            <a:headEnd/>
            <a:tailEnd type="oval"/>
          </a:ln>
          <a:extLst/>
        </p:spPr>
        <p:txBody>
          <a:bodyPr vert="horz" wrap="square" lIns="64301" tIns="32151" rIns="64301" bIns="32151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28" dirty="0">
              <a:solidFill>
                <a:prstClr val="black"/>
              </a:solidFill>
              <a:latin typeface="Times New Roman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021655" y="2978279"/>
            <a:ext cx="14482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err="1">
                <a:solidFill>
                  <a:srgbClr val="44546A"/>
                </a:solidFill>
                <a:cs typeface="Arial" pitchFamily="34" charset="0"/>
              </a:rPr>
              <a:t>Грузообработка</a:t>
            </a:r>
            <a:endParaRPr lang="ru-RU" sz="1200" b="1" dirty="0">
              <a:solidFill>
                <a:srgbClr val="44546A"/>
              </a:solidFill>
              <a:cs typeface="Arial" pitchFamily="34" charset="0"/>
            </a:endParaRPr>
          </a:p>
        </p:txBody>
      </p:sp>
      <p:sp>
        <p:nvSpPr>
          <p:cNvPr id="52" name="Freeform 6"/>
          <p:cNvSpPr>
            <a:spLocks/>
          </p:cNvSpPr>
          <p:nvPr/>
        </p:nvSpPr>
        <p:spPr bwMode="auto">
          <a:xfrm>
            <a:off x="2746501" y="3221004"/>
            <a:ext cx="799604" cy="184005"/>
          </a:xfrm>
          <a:custGeom>
            <a:avLst/>
            <a:gdLst>
              <a:gd name="T0" fmla="*/ 1554 w 1554"/>
              <a:gd name="T1" fmla="*/ 0 h 159"/>
              <a:gd name="T2" fmla="*/ 157 w 1554"/>
              <a:gd name="T3" fmla="*/ 0 h 159"/>
              <a:gd name="T4" fmla="*/ 0 w 1554"/>
              <a:gd name="T5" fmla="*/ 159 h 159"/>
              <a:gd name="connsiteX0" fmla="*/ 8283 w 8283"/>
              <a:gd name="connsiteY0" fmla="*/ 0 h 10000"/>
              <a:gd name="connsiteX1" fmla="*/ 1010 w 8283"/>
              <a:gd name="connsiteY1" fmla="*/ 0 h 10000"/>
              <a:gd name="connsiteX2" fmla="*/ 0 w 8283"/>
              <a:gd name="connsiteY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83" h="10000">
                <a:moveTo>
                  <a:pt x="8283" y="0"/>
                </a:moveTo>
                <a:lnTo>
                  <a:pt x="1010" y="0"/>
                </a:lnTo>
                <a:cubicBezTo>
                  <a:pt x="673" y="3333"/>
                  <a:pt x="337" y="6667"/>
                  <a:pt x="0" y="10000"/>
                </a:cubicBezTo>
              </a:path>
            </a:pathLst>
          </a:custGeom>
          <a:noFill/>
          <a:ln w="6350" cap="flat">
            <a:solidFill>
              <a:schemeClr val="bg2">
                <a:lumMod val="75000"/>
              </a:schemeClr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4301" tIns="32151" rIns="64301" bIns="32151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28" dirty="0">
              <a:solidFill>
                <a:prstClr val="black"/>
              </a:solidFill>
              <a:latin typeface="Times New Roman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773458" y="2983271"/>
            <a:ext cx="11107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44546A"/>
                </a:solidFill>
                <a:cs typeface="Arial" pitchFamily="34" charset="0"/>
              </a:rPr>
              <a:t>Хранение</a:t>
            </a:r>
          </a:p>
        </p:txBody>
      </p:sp>
      <p:sp>
        <p:nvSpPr>
          <p:cNvPr id="66" name="TextBox 11"/>
          <p:cNvSpPr txBox="1"/>
          <p:nvPr/>
        </p:nvSpPr>
        <p:spPr>
          <a:xfrm>
            <a:off x="504803" y="3419894"/>
            <a:ext cx="414282" cy="215444"/>
          </a:xfrm>
          <a:prstGeom prst="rect">
            <a:avLst/>
          </a:prstGeom>
          <a:noFill/>
          <a:ln>
            <a:noFill/>
          </a:ln>
        </p:spPr>
        <p:txBody>
          <a:bodyPr wrap="square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spc="-141" dirty="0">
                <a:solidFill>
                  <a:srgbClr val="44546A"/>
                </a:solidFill>
              </a:rPr>
              <a:t>70</a:t>
            </a:r>
            <a:r>
              <a:rPr lang="en-GB" sz="1400" b="1" spc="-141" baseline="30000" dirty="0">
                <a:solidFill>
                  <a:srgbClr val="44546A"/>
                </a:solidFill>
              </a:rPr>
              <a:t>%</a:t>
            </a:r>
          </a:p>
        </p:txBody>
      </p:sp>
      <p:sp>
        <p:nvSpPr>
          <p:cNvPr id="67" name="TextBox 18"/>
          <p:cNvSpPr txBox="1"/>
          <p:nvPr/>
        </p:nvSpPr>
        <p:spPr>
          <a:xfrm>
            <a:off x="2081921" y="3439668"/>
            <a:ext cx="717087" cy="420628"/>
          </a:xfrm>
          <a:prstGeom prst="rect">
            <a:avLst/>
          </a:prstGeom>
          <a:noFill/>
          <a:ln>
            <a:noFill/>
          </a:ln>
        </p:spPr>
        <p:txBody>
          <a:bodyPr wrap="square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spc="-141" dirty="0">
                <a:solidFill>
                  <a:srgbClr val="44546A"/>
                </a:solidFill>
              </a:rPr>
              <a:t>30</a:t>
            </a:r>
            <a:r>
              <a:rPr lang="en-GB" sz="1400" b="1" spc="-141" baseline="30000" dirty="0">
                <a:solidFill>
                  <a:srgbClr val="44546A"/>
                </a:solidFill>
                <a:latin typeface="Times New Roman" charset="0"/>
              </a:rPr>
              <a:t>%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2000" b="1" spc="-141" baseline="30000" dirty="0">
              <a:solidFill>
                <a:srgbClr val="44546A"/>
              </a:solidFill>
            </a:endParaRPr>
          </a:p>
        </p:txBody>
      </p:sp>
      <p:pic>
        <p:nvPicPr>
          <p:cNvPr id="73" name="Imag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40416" y="6368934"/>
            <a:ext cx="2150202" cy="381980"/>
          </a:xfrm>
          <a:prstGeom prst="rect">
            <a:avLst/>
          </a:prstGeom>
        </p:spPr>
      </p:pic>
      <p:pic>
        <p:nvPicPr>
          <p:cNvPr id="51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74435">
            <a:off x="4833030" y="547655"/>
            <a:ext cx="4010933" cy="2655650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63" name="Freeform 6"/>
          <p:cNvSpPr>
            <a:spLocks/>
          </p:cNvSpPr>
          <p:nvPr/>
        </p:nvSpPr>
        <p:spPr bwMode="auto">
          <a:xfrm rot="10800000" flipH="1" flipV="1">
            <a:off x="6311607" y="2132856"/>
            <a:ext cx="1519909" cy="145460"/>
          </a:xfrm>
          <a:custGeom>
            <a:avLst/>
            <a:gdLst>
              <a:gd name="T0" fmla="*/ 1554 w 1554"/>
              <a:gd name="T1" fmla="*/ 0 h 159"/>
              <a:gd name="T2" fmla="*/ 157 w 1554"/>
              <a:gd name="T3" fmla="*/ 0 h 159"/>
              <a:gd name="T4" fmla="*/ 0 w 1554"/>
              <a:gd name="T5" fmla="*/ 159 h 159"/>
              <a:gd name="connsiteX0" fmla="*/ 8283 w 8283"/>
              <a:gd name="connsiteY0" fmla="*/ 0 h 10000"/>
              <a:gd name="connsiteX1" fmla="*/ 1010 w 8283"/>
              <a:gd name="connsiteY1" fmla="*/ 0 h 10000"/>
              <a:gd name="connsiteX2" fmla="*/ 0 w 8283"/>
              <a:gd name="connsiteY2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83" h="10000">
                <a:moveTo>
                  <a:pt x="8283" y="0"/>
                </a:moveTo>
                <a:lnTo>
                  <a:pt x="1010" y="0"/>
                </a:lnTo>
                <a:cubicBezTo>
                  <a:pt x="673" y="3333"/>
                  <a:pt x="337" y="6667"/>
                  <a:pt x="0" y="10000"/>
                </a:cubicBezTo>
              </a:path>
            </a:pathLst>
          </a:custGeom>
          <a:noFill/>
          <a:ln w="6350" cap="flat">
            <a:solidFill>
              <a:schemeClr val="tx2"/>
            </a:solidFill>
            <a:prstDash val="solid"/>
            <a:miter lim="800000"/>
            <a:headEnd/>
            <a:tailEnd type="oval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4243" tIns="27122" rIns="54243" bIns="27122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542" dirty="0">
              <a:solidFill>
                <a:prstClr val="black"/>
              </a:solidFill>
            </a:endParaRPr>
          </a:p>
        </p:txBody>
      </p:sp>
      <p:sp>
        <p:nvSpPr>
          <p:cNvPr id="68" name="Shape 234"/>
          <p:cNvSpPr/>
          <p:nvPr/>
        </p:nvSpPr>
        <p:spPr>
          <a:xfrm>
            <a:off x="6218194" y="1895289"/>
            <a:ext cx="1613322" cy="3309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568" tIns="38568" rIns="38568" bIns="38568" numCol="1" anchor="t">
            <a:noAutofit/>
          </a:bodyPr>
          <a:lstStyle>
            <a:lvl1pPr algn="l" defTabSz="914400">
              <a:defRPr sz="1400">
                <a:latin typeface="Arial Rounded MT Bold"/>
                <a:ea typeface="Arial Rounded MT Bold"/>
                <a:cs typeface="Arial Rounded MT Bold"/>
                <a:sym typeface="Arial Rounded MT Bold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 sz="1800"/>
            </a:pPr>
            <a:r>
              <a:rPr lang="en-US" sz="1200" b="1" dirty="0" smtClean="0">
                <a:solidFill>
                  <a:prstClr val="black"/>
                </a:solidFill>
                <a:latin typeface="Arial"/>
              </a:rPr>
              <a:t>FM </a:t>
            </a:r>
            <a:r>
              <a:rPr lang="ru-RU" sz="1200" b="1" dirty="0" smtClean="0">
                <a:solidFill>
                  <a:prstClr val="black"/>
                </a:solidFill>
                <a:latin typeface="Arial"/>
              </a:rPr>
              <a:t>НОВОСИБИРСК</a:t>
            </a:r>
            <a:endParaRPr sz="12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45972" y="1532333"/>
            <a:ext cx="16257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spc="-141" dirty="0">
                <a:solidFill>
                  <a:srgbClr val="002060"/>
                </a:solidFill>
              </a:rPr>
              <a:t>c</a:t>
            </a:r>
            <a:r>
              <a:rPr lang="fr-FR" b="1" spc="-141" dirty="0">
                <a:solidFill>
                  <a:srgbClr val="002060"/>
                </a:solidFill>
              </a:rPr>
              <a:t> </a:t>
            </a:r>
            <a:r>
              <a:rPr lang="en-US" b="1" spc="-141" dirty="0">
                <a:solidFill>
                  <a:srgbClr val="002060"/>
                </a:solidFill>
              </a:rPr>
              <a:t> 2000 </a:t>
            </a:r>
            <a:r>
              <a:rPr lang="ru-RU" b="1" spc="-141" dirty="0">
                <a:solidFill>
                  <a:srgbClr val="002060"/>
                </a:solidFill>
              </a:rPr>
              <a:t>год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880510" y="209493"/>
            <a:ext cx="2885836" cy="9412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92"/>
              </a:spcAft>
              <a:buClr>
                <a:srgbClr val="FFAB23"/>
              </a:buClr>
              <a:buSzPct val="100000"/>
            </a:pPr>
            <a:endParaRPr lang="en-US" sz="3200" b="1" dirty="0">
              <a:solidFill>
                <a:srgbClr val="E7E6E6">
                  <a:lumMod val="25000"/>
                </a:srgbClr>
              </a:solidFill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92"/>
              </a:spcAft>
              <a:buClr>
                <a:srgbClr val="FFAB23"/>
              </a:buClr>
              <a:buSzPct val="100000"/>
            </a:pPr>
            <a:endParaRPr lang="fr-FR" sz="1050" dirty="0">
              <a:solidFill>
                <a:prstClr val="black"/>
              </a:solidFill>
              <a:latin typeface="Arial Narrow" pitchFamily="34" charset="0"/>
              <a:cs typeface="Arial"/>
            </a:endParaRPr>
          </a:p>
          <a:p>
            <a:pPr fontAlgn="base">
              <a:spcBef>
                <a:spcPct val="0"/>
              </a:spcBef>
              <a:spcAft>
                <a:spcPts val="92"/>
              </a:spcAft>
              <a:buClr>
                <a:srgbClr val="FFAB23"/>
              </a:buClr>
              <a:buSzPct val="100000"/>
            </a:pPr>
            <a:endParaRPr lang="ru-RU" sz="1100" dirty="0">
              <a:solidFill>
                <a:srgbClr val="E7E6E6">
                  <a:lumMod val="2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225722" y="536176"/>
            <a:ext cx="24825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u="sng" dirty="0">
                <a:solidFill>
                  <a:prstClr val="black"/>
                </a:solidFill>
                <a:cs typeface="Arial"/>
              </a:rPr>
              <a:t>РАСПОЛОЖЕНИЕ:</a:t>
            </a:r>
          </a:p>
        </p:txBody>
      </p:sp>
      <p:sp>
        <p:nvSpPr>
          <p:cNvPr id="83" name="Espace réservé du texte 7"/>
          <p:cNvSpPr>
            <a:spLocks noGrp="1"/>
          </p:cNvSpPr>
          <p:nvPr>
            <p:ph type="body" sz="quarter" idx="17"/>
          </p:nvPr>
        </p:nvSpPr>
        <p:spPr>
          <a:xfrm>
            <a:off x="45877" y="2532726"/>
            <a:ext cx="3748585" cy="400252"/>
          </a:xfrm>
        </p:spPr>
        <p:txBody>
          <a:bodyPr>
            <a:normAutofit fontScale="92500"/>
          </a:bodyPr>
          <a:lstStyle/>
          <a:p>
            <a:r>
              <a:rPr lang="ru-RU" dirty="0" smtClean="0"/>
              <a:t>ОБОРОТ ПО ВИДАМ ДЕЯТЕЛЬНОСТИ</a:t>
            </a:r>
            <a:endParaRPr lang="fr-FR" dirty="0"/>
          </a:p>
        </p:txBody>
      </p:sp>
      <p:pic>
        <p:nvPicPr>
          <p:cNvPr id="38" name="Рисунок 37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661" y="4559022"/>
            <a:ext cx="3967128" cy="2305189"/>
          </a:xfrm>
        </p:spPr>
      </p:pic>
      <p:pic>
        <p:nvPicPr>
          <p:cNvPr id="39" name="Рисунок 38"/>
          <p:cNvPicPr>
            <a:picLocks noGrp="1" noChangeAspect="1"/>
          </p:cNvPicPr>
          <p:nvPr>
            <p:ph type="pic" sz="quarter" idx="16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4046" y="4575040"/>
            <a:ext cx="3736449" cy="2289171"/>
          </a:xfrm>
        </p:spPr>
      </p:pic>
      <p:sp>
        <p:nvSpPr>
          <p:cNvPr id="36" name="Espace réservé du texte 9"/>
          <p:cNvSpPr>
            <a:spLocks noGrp="1"/>
          </p:cNvSpPr>
          <p:nvPr>
            <p:ph type="body" sz="quarter" idx="27"/>
          </p:nvPr>
        </p:nvSpPr>
        <p:spPr>
          <a:xfrm>
            <a:off x="623392" y="4499729"/>
            <a:ext cx="2872096" cy="657463"/>
          </a:xfrm>
        </p:spPr>
        <p:txBody>
          <a:bodyPr>
            <a:normAutofit/>
          </a:bodyPr>
          <a:lstStyle/>
          <a:p>
            <a:r>
              <a:rPr lang="ru-RU" sz="1500" dirty="0">
                <a:solidFill>
                  <a:schemeClr val="bg2">
                    <a:lumMod val="50000"/>
                  </a:schemeClr>
                </a:solidFill>
              </a:rPr>
              <a:t>7</a:t>
            </a:r>
            <a:r>
              <a:rPr lang="ru-RU" sz="15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500" dirty="0">
                <a:solidFill>
                  <a:schemeClr val="bg2">
                    <a:lumMod val="50000"/>
                  </a:schemeClr>
                </a:solidFill>
              </a:rPr>
              <a:t>7</a:t>
            </a:r>
            <a:r>
              <a:rPr lang="ru-RU" sz="1500" dirty="0" smtClean="0">
                <a:solidFill>
                  <a:schemeClr val="bg2">
                    <a:lumMod val="50000"/>
                  </a:schemeClr>
                </a:solidFill>
              </a:rPr>
              <a:t>00м</a:t>
            </a:r>
            <a:r>
              <a:rPr lang="ru-RU" sz="1500" spc="-141" baseline="30000" dirty="0" smtClean="0">
                <a:solidFill>
                  <a:schemeClr val="bg2">
                    <a:lumMod val="50000"/>
                  </a:schemeClr>
                </a:solidFill>
                <a:latin typeface="Arial "/>
              </a:rPr>
              <a:t>2</a:t>
            </a:r>
            <a:r>
              <a:rPr lang="en-GB" sz="1500" spc="-141" dirty="0" smtClean="0">
                <a:solidFill>
                  <a:schemeClr val="bg2">
                    <a:lumMod val="50000"/>
                  </a:schemeClr>
                </a:solidFill>
                <a:latin typeface="Arial "/>
              </a:rPr>
              <a:t> </a:t>
            </a:r>
            <a:r>
              <a:rPr lang="ru-RU" sz="1500" spc="-141" dirty="0" smtClean="0">
                <a:solidFill>
                  <a:schemeClr val="bg2">
                    <a:lumMod val="50000"/>
                  </a:schemeClr>
                </a:solidFill>
                <a:latin typeface="Arial "/>
              </a:rPr>
              <a:t> </a:t>
            </a:r>
            <a:r>
              <a:rPr lang="ru-RU" b="0" spc="-14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складская</a:t>
            </a:r>
          </a:p>
          <a:p>
            <a:r>
              <a:rPr lang="ru-RU" b="0" spc="-14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площадь</a:t>
            </a:r>
            <a:endParaRPr lang="en-GB" b="0" spc="-14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endParaRPr lang="fr-FR" sz="1500" dirty="0"/>
          </a:p>
        </p:txBody>
      </p:sp>
      <p:sp>
        <p:nvSpPr>
          <p:cNvPr id="37" name="Espace réservé du texte 12"/>
          <p:cNvSpPr>
            <a:spLocks noGrp="1"/>
          </p:cNvSpPr>
          <p:nvPr>
            <p:ph type="body" sz="quarter" idx="30"/>
          </p:nvPr>
        </p:nvSpPr>
        <p:spPr>
          <a:xfrm>
            <a:off x="623392" y="5157192"/>
            <a:ext cx="2318431" cy="327811"/>
          </a:xfrm>
        </p:spPr>
        <p:txBody>
          <a:bodyPr>
            <a:noAutofit/>
          </a:bodyPr>
          <a:lstStyle/>
          <a:p>
            <a:r>
              <a:rPr lang="ru-RU" sz="1500" dirty="0" smtClean="0">
                <a:solidFill>
                  <a:schemeClr val="bg2">
                    <a:lumMod val="50000"/>
                  </a:schemeClr>
                </a:solidFill>
              </a:rPr>
              <a:t>12 000 </a:t>
            </a:r>
            <a:r>
              <a:rPr lang="ru-RU" b="0" spc="-141" dirty="0" err="1">
                <a:solidFill>
                  <a:schemeClr val="bg2">
                    <a:lumMod val="50000"/>
                  </a:schemeClr>
                </a:solidFill>
                <a:latin typeface="+mn-lt"/>
              </a:rPr>
              <a:t>паллетомест</a:t>
            </a:r>
            <a:r>
              <a:rPr lang="ru-RU" b="0" spc="-14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</a:p>
          <a:p>
            <a:r>
              <a:rPr lang="ru-RU" b="0" spc="-14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в стоке</a:t>
            </a:r>
            <a:r>
              <a:rPr lang="en-US" b="0" spc="-14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/</a:t>
            </a:r>
            <a:r>
              <a:rPr lang="en-US" sz="1500" b="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500" dirty="0" smtClean="0">
                <a:solidFill>
                  <a:schemeClr val="bg2">
                    <a:lumMod val="50000"/>
                  </a:schemeClr>
                </a:solidFill>
              </a:rPr>
              <a:t>1</a:t>
            </a:r>
            <a:r>
              <a:rPr lang="en-US" sz="1500" dirty="0" smtClean="0">
                <a:solidFill>
                  <a:schemeClr val="bg2">
                    <a:lumMod val="50000"/>
                  </a:schemeClr>
                </a:solidFill>
              </a:rPr>
              <a:t>6</a:t>
            </a:r>
            <a:r>
              <a:rPr lang="ru-RU" sz="1500" dirty="0" smtClean="0">
                <a:solidFill>
                  <a:schemeClr val="bg2">
                    <a:lumMod val="50000"/>
                  </a:schemeClr>
                </a:solidFill>
              </a:rPr>
              <a:t> 000 </a:t>
            </a:r>
            <a:r>
              <a:rPr lang="ru-RU" b="0" spc="-14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мелкоячеистого </a:t>
            </a:r>
            <a:endParaRPr lang="en-US" b="0" spc="-141" dirty="0" smtClean="0">
              <a:solidFill>
                <a:schemeClr val="bg2">
                  <a:lumMod val="50000"/>
                </a:schemeClr>
              </a:solidFill>
              <a:latin typeface="+mn-lt"/>
            </a:endParaRPr>
          </a:p>
          <a:p>
            <a:r>
              <a:rPr lang="ru-RU" b="0" spc="-141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хранения</a:t>
            </a:r>
            <a:endParaRPr lang="fr-FR" b="0" spc="-14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0" name="Espace réservé du texte 10"/>
          <p:cNvSpPr>
            <a:spLocks noGrp="1"/>
          </p:cNvSpPr>
          <p:nvPr>
            <p:ph type="body" sz="quarter" idx="28"/>
          </p:nvPr>
        </p:nvSpPr>
        <p:spPr>
          <a:xfrm>
            <a:off x="580878" y="6310016"/>
            <a:ext cx="2490786" cy="287336"/>
          </a:xfrm>
        </p:spPr>
        <p:txBody>
          <a:bodyPr>
            <a:noAutofit/>
          </a:bodyPr>
          <a:lstStyle/>
          <a:p>
            <a:r>
              <a:rPr lang="ru-RU" sz="1500" dirty="0" smtClean="0">
                <a:solidFill>
                  <a:schemeClr val="bg2">
                    <a:lumMod val="50000"/>
                  </a:schemeClr>
                </a:solidFill>
              </a:rPr>
              <a:t>60</a:t>
            </a:r>
            <a:r>
              <a:rPr lang="ru-RU" sz="1500" b="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b="0" spc="-141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сотрудников</a:t>
            </a:r>
            <a:endParaRPr lang="fr-FR" b="0" spc="-14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grpSp>
        <p:nvGrpSpPr>
          <p:cNvPr id="56" name="Groupe 52"/>
          <p:cNvGrpSpPr/>
          <p:nvPr/>
        </p:nvGrpSpPr>
        <p:grpSpPr>
          <a:xfrm>
            <a:off x="47328" y="5243691"/>
            <a:ext cx="440658" cy="430357"/>
            <a:chOff x="7564462" y="4318108"/>
            <a:chExt cx="1089940" cy="1084217"/>
          </a:xfrm>
        </p:grpSpPr>
        <p:sp>
          <p:nvSpPr>
            <p:cNvPr id="57" name="Freeform 22"/>
            <p:cNvSpPr>
              <a:spLocks/>
            </p:cNvSpPr>
            <p:nvPr/>
          </p:nvSpPr>
          <p:spPr bwMode="auto">
            <a:xfrm rot="8118618">
              <a:off x="7564462" y="4669446"/>
              <a:ext cx="381000" cy="381000"/>
            </a:xfrm>
            <a:custGeom>
              <a:avLst/>
              <a:gdLst>
                <a:gd name="T0" fmla="*/ 88 w 100"/>
                <a:gd name="T1" fmla="*/ 13 h 100"/>
                <a:gd name="T2" fmla="*/ 71 w 100"/>
                <a:gd name="T3" fmla="*/ 30 h 100"/>
                <a:gd name="T4" fmla="*/ 45 w 100"/>
                <a:gd name="T5" fmla="*/ 4 h 100"/>
                <a:gd name="T6" fmla="*/ 30 w 100"/>
                <a:gd name="T7" fmla="*/ 4 h 100"/>
                <a:gd name="T8" fmla="*/ 4 w 100"/>
                <a:gd name="T9" fmla="*/ 31 h 100"/>
                <a:gd name="T10" fmla="*/ 4 w 100"/>
                <a:gd name="T11" fmla="*/ 46 h 100"/>
                <a:gd name="T12" fmla="*/ 30 w 100"/>
                <a:gd name="T13" fmla="*/ 71 h 100"/>
                <a:gd name="T14" fmla="*/ 12 w 100"/>
                <a:gd name="T15" fmla="*/ 88 h 100"/>
                <a:gd name="T16" fmla="*/ 16 w 100"/>
                <a:gd name="T17" fmla="*/ 96 h 100"/>
                <a:gd name="T18" fmla="*/ 89 w 100"/>
                <a:gd name="T19" fmla="*/ 100 h 100"/>
                <a:gd name="T20" fmla="*/ 100 w 100"/>
                <a:gd name="T21" fmla="*/ 90 h 100"/>
                <a:gd name="T22" fmla="*/ 96 w 100"/>
                <a:gd name="T23" fmla="*/ 16 h 100"/>
                <a:gd name="T24" fmla="*/ 88 w 100"/>
                <a:gd name="T25" fmla="*/ 1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00">
                  <a:moveTo>
                    <a:pt x="88" y="13"/>
                  </a:moveTo>
                  <a:cubicBezTo>
                    <a:pt x="71" y="30"/>
                    <a:pt x="71" y="30"/>
                    <a:pt x="71" y="30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1" y="0"/>
                    <a:pt x="34" y="0"/>
                    <a:pt x="30" y="4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5"/>
                    <a:pt x="0" y="41"/>
                    <a:pt x="4" y="46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8" y="92"/>
                    <a:pt x="10" y="96"/>
                    <a:pt x="16" y="96"/>
                  </a:cubicBezTo>
                  <a:cubicBezTo>
                    <a:pt x="89" y="100"/>
                    <a:pt x="89" y="100"/>
                    <a:pt x="89" y="100"/>
                  </a:cubicBezTo>
                  <a:cubicBezTo>
                    <a:pt x="95" y="100"/>
                    <a:pt x="100" y="96"/>
                    <a:pt x="100" y="90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10"/>
                    <a:pt x="92" y="9"/>
                    <a:pt x="88" y="13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57853" tIns="28927" rIns="57853" bIns="28927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139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58" name="Freeform 23"/>
            <p:cNvSpPr>
              <a:spLocks/>
            </p:cNvSpPr>
            <p:nvPr/>
          </p:nvSpPr>
          <p:spPr bwMode="auto">
            <a:xfrm rot="8040412">
              <a:off x="7925018" y="4317314"/>
              <a:ext cx="379412" cy="381000"/>
            </a:xfrm>
            <a:custGeom>
              <a:avLst/>
              <a:gdLst>
                <a:gd name="T0" fmla="*/ 11 w 100"/>
                <a:gd name="T1" fmla="*/ 100 h 100"/>
                <a:gd name="T2" fmla="*/ 84 w 100"/>
                <a:gd name="T3" fmla="*/ 96 h 100"/>
                <a:gd name="T4" fmla="*/ 88 w 100"/>
                <a:gd name="T5" fmla="*/ 88 h 100"/>
                <a:gd name="T6" fmla="*/ 71 w 100"/>
                <a:gd name="T7" fmla="*/ 71 h 100"/>
                <a:gd name="T8" fmla="*/ 96 w 100"/>
                <a:gd name="T9" fmla="*/ 46 h 100"/>
                <a:gd name="T10" fmla="*/ 96 w 100"/>
                <a:gd name="T11" fmla="*/ 31 h 100"/>
                <a:gd name="T12" fmla="*/ 70 w 100"/>
                <a:gd name="T13" fmla="*/ 4 h 100"/>
                <a:gd name="T14" fmla="*/ 55 w 100"/>
                <a:gd name="T15" fmla="*/ 4 h 100"/>
                <a:gd name="T16" fmla="*/ 29 w 100"/>
                <a:gd name="T17" fmla="*/ 30 h 100"/>
                <a:gd name="T18" fmla="*/ 12 w 100"/>
                <a:gd name="T19" fmla="*/ 13 h 100"/>
                <a:gd name="T20" fmla="*/ 4 w 100"/>
                <a:gd name="T21" fmla="*/ 16 h 100"/>
                <a:gd name="T22" fmla="*/ 0 w 100"/>
                <a:gd name="T23" fmla="*/ 90 h 100"/>
                <a:gd name="T24" fmla="*/ 11 w 100"/>
                <a:gd name="T2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00">
                  <a:moveTo>
                    <a:pt x="11" y="100"/>
                  </a:moveTo>
                  <a:cubicBezTo>
                    <a:pt x="84" y="96"/>
                    <a:pt x="84" y="96"/>
                    <a:pt x="84" y="96"/>
                  </a:cubicBezTo>
                  <a:cubicBezTo>
                    <a:pt x="90" y="96"/>
                    <a:pt x="92" y="92"/>
                    <a:pt x="88" y="88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100" y="41"/>
                    <a:pt x="100" y="35"/>
                    <a:pt x="96" y="31"/>
                  </a:cubicBezTo>
                  <a:cubicBezTo>
                    <a:pt x="70" y="4"/>
                    <a:pt x="70" y="4"/>
                    <a:pt x="70" y="4"/>
                  </a:cubicBezTo>
                  <a:cubicBezTo>
                    <a:pt x="66" y="0"/>
                    <a:pt x="59" y="0"/>
                    <a:pt x="55" y="4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8" y="9"/>
                    <a:pt x="4" y="10"/>
                    <a:pt x="4" y="16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6"/>
                    <a:pt x="5" y="100"/>
                    <a:pt x="11" y="10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57853" tIns="28927" rIns="57853" bIns="28927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139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59" name="Freeform 24"/>
            <p:cNvSpPr>
              <a:spLocks/>
            </p:cNvSpPr>
            <p:nvPr/>
          </p:nvSpPr>
          <p:spPr bwMode="auto">
            <a:xfrm rot="8022136">
              <a:off x="7922599" y="5022118"/>
              <a:ext cx="381000" cy="379413"/>
            </a:xfrm>
            <a:custGeom>
              <a:avLst/>
              <a:gdLst>
                <a:gd name="T0" fmla="*/ 89 w 100"/>
                <a:gd name="T1" fmla="*/ 0 h 100"/>
                <a:gd name="T2" fmla="*/ 16 w 100"/>
                <a:gd name="T3" fmla="*/ 4 h 100"/>
                <a:gd name="T4" fmla="*/ 12 w 100"/>
                <a:gd name="T5" fmla="*/ 12 h 100"/>
                <a:gd name="T6" fmla="*/ 30 w 100"/>
                <a:gd name="T7" fmla="*/ 29 h 100"/>
                <a:gd name="T8" fmla="*/ 4 w 100"/>
                <a:gd name="T9" fmla="*/ 54 h 100"/>
                <a:gd name="T10" fmla="*/ 4 w 100"/>
                <a:gd name="T11" fmla="*/ 69 h 100"/>
                <a:gd name="T12" fmla="*/ 30 w 100"/>
                <a:gd name="T13" fmla="*/ 95 h 100"/>
                <a:gd name="T14" fmla="*/ 45 w 100"/>
                <a:gd name="T15" fmla="*/ 95 h 100"/>
                <a:gd name="T16" fmla="*/ 71 w 100"/>
                <a:gd name="T17" fmla="*/ 70 h 100"/>
                <a:gd name="T18" fmla="*/ 88 w 100"/>
                <a:gd name="T19" fmla="*/ 87 h 100"/>
                <a:gd name="T20" fmla="*/ 96 w 100"/>
                <a:gd name="T21" fmla="*/ 84 h 100"/>
                <a:gd name="T22" fmla="*/ 100 w 100"/>
                <a:gd name="T23" fmla="*/ 10 h 100"/>
                <a:gd name="T24" fmla="*/ 89 w 100"/>
                <a:gd name="T2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00">
                  <a:moveTo>
                    <a:pt x="89" y="0"/>
                  </a:move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8" y="8"/>
                    <a:pt x="12" y="12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0" y="58"/>
                    <a:pt x="0" y="65"/>
                    <a:pt x="4" y="69"/>
                  </a:cubicBezTo>
                  <a:cubicBezTo>
                    <a:pt x="30" y="95"/>
                    <a:pt x="30" y="95"/>
                    <a:pt x="30" y="95"/>
                  </a:cubicBezTo>
                  <a:cubicBezTo>
                    <a:pt x="34" y="100"/>
                    <a:pt x="41" y="100"/>
                    <a:pt x="45" y="95"/>
                  </a:cubicBezTo>
                  <a:cubicBezTo>
                    <a:pt x="71" y="70"/>
                    <a:pt x="71" y="70"/>
                    <a:pt x="71" y="70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92" y="91"/>
                    <a:pt x="96" y="90"/>
                    <a:pt x="96" y="84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4"/>
                    <a:pt x="95" y="0"/>
                    <a:pt x="89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57853" tIns="28927" rIns="57853" bIns="28927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139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60" name="Freeform 25"/>
            <p:cNvSpPr>
              <a:spLocks/>
            </p:cNvSpPr>
            <p:nvPr/>
          </p:nvSpPr>
          <p:spPr bwMode="auto">
            <a:xfrm rot="8184827">
              <a:off x="8274990" y="4668811"/>
              <a:ext cx="379412" cy="379413"/>
            </a:xfrm>
            <a:custGeom>
              <a:avLst/>
              <a:gdLst>
                <a:gd name="T0" fmla="*/ 96 w 100"/>
                <a:gd name="T1" fmla="*/ 54 h 100"/>
                <a:gd name="T2" fmla="*/ 71 w 100"/>
                <a:gd name="T3" fmla="*/ 29 h 100"/>
                <a:gd name="T4" fmla="*/ 88 w 100"/>
                <a:gd name="T5" fmla="*/ 12 h 100"/>
                <a:gd name="T6" fmla="*/ 84 w 100"/>
                <a:gd name="T7" fmla="*/ 4 h 100"/>
                <a:gd name="T8" fmla="*/ 11 w 100"/>
                <a:gd name="T9" fmla="*/ 0 h 100"/>
                <a:gd name="T10" fmla="*/ 0 w 100"/>
                <a:gd name="T11" fmla="*/ 10 h 100"/>
                <a:gd name="T12" fmla="*/ 4 w 100"/>
                <a:gd name="T13" fmla="*/ 84 h 100"/>
                <a:gd name="T14" fmla="*/ 12 w 100"/>
                <a:gd name="T15" fmla="*/ 87 h 100"/>
                <a:gd name="T16" fmla="*/ 29 w 100"/>
                <a:gd name="T17" fmla="*/ 70 h 100"/>
                <a:gd name="T18" fmla="*/ 55 w 100"/>
                <a:gd name="T19" fmla="*/ 95 h 100"/>
                <a:gd name="T20" fmla="*/ 70 w 100"/>
                <a:gd name="T21" fmla="*/ 95 h 100"/>
                <a:gd name="T22" fmla="*/ 96 w 100"/>
                <a:gd name="T23" fmla="*/ 69 h 100"/>
                <a:gd name="T24" fmla="*/ 96 w 100"/>
                <a:gd name="T25" fmla="*/ 5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00">
                  <a:moveTo>
                    <a:pt x="96" y="54"/>
                  </a:moveTo>
                  <a:cubicBezTo>
                    <a:pt x="71" y="29"/>
                    <a:pt x="71" y="29"/>
                    <a:pt x="71" y="29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92" y="8"/>
                    <a:pt x="90" y="4"/>
                    <a:pt x="84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90"/>
                    <a:pt x="8" y="91"/>
                    <a:pt x="12" y="87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9" y="100"/>
                    <a:pt x="66" y="100"/>
                    <a:pt x="70" y="95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100" y="65"/>
                    <a:pt x="100" y="58"/>
                    <a:pt x="96" y="54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57853" tIns="28927" rIns="57853" bIns="28927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139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61" name="Rectangle 50"/>
            <p:cNvSpPr/>
            <p:nvPr/>
          </p:nvSpPr>
          <p:spPr>
            <a:xfrm>
              <a:off x="7916716" y="4669847"/>
              <a:ext cx="384907" cy="384906"/>
            </a:xfrm>
            <a:prstGeom prst="rect">
              <a:avLst/>
            </a:prstGeom>
            <a:solidFill>
              <a:schemeClr val="bg2"/>
            </a:solidFill>
            <a:ln w="3810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fr-FR" sz="1139">
                <a:solidFill>
                  <a:prstClr val="white"/>
                </a:solidFill>
              </a:endParaRPr>
            </a:p>
          </p:txBody>
        </p:sp>
      </p:grpSp>
      <p:grpSp>
        <p:nvGrpSpPr>
          <p:cNvPr id="62" name="Groupe 51"/>
          <p:cNvGrpSpPr/>
          <p:nvPr/>
        </p:nvGrpSpPr>
        <p:grpSpPr>
          <a:xfrm>
            <a:off x="46651" y="6237313"/>
            <a:ext cx="432725" cy="620688"/>
            <a:chOff x="-780342" y="1594406"/>
            <a:chExt cx="1736306" cy="2663363"/>
          </a:xfrm>
          <a:solidFill>
            <a:schemeClr val="bg1">
              <a:lumMod val="50000"/>
            </a:schemeClr>
          </a:solidFill>
        </p:grpSpPr>
        <p:sp>
          <p:nvSpPr>
            <p:cNvPr id="69" name="Oval 5"/>
            <p:cNvSpPr>
              <a:spLocks noChangeArrowheads="1"/>
            </p:cNvSpPr>
            <p:nvPr/>
          </p:nvSpPr>
          <p:spPr bwMode="auto">
            <a:xfrm>
              <a:off x="520607" y="1691721"/>
              <a:ext cx="312433" cy="3124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137" tIns="38569" rIns="77137" bIns="3856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388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494998" y="2075860"/>
              <a:ext cx="460966" cy="1101198"/>
            </a:xfrm>
            <a:custGeom>
              <a:avLst/>
              <a:gdLst>
                <a:gd name="T0" fmla="*/ 38 w 52"/>
                <a:gd name="T1" fmla="*/ 0 h 124"/>
                <a:gd name="T2" fmla="*/ 4 w 52"/>
                <a:gd name="T3" fmla="*/ 0 h 124"/>
                <a:gd name="T4" fmla="*/ 9 w 52"/>
                <a:gd name="T5" fmla="*/ 13 h 124"/>
                <a:gd name="T6" fmla="*/ 9 w 52"/>
                <a:gd name="T7" fmla="*/ 62 h 124"/>
                <a:gd name="T8" fmla="*/ 0 w 52"/>
                <a:gd name="T9" fmla="*/ 79 h 124"/>
                <a:gd name="T10" fmla="*/ 0 w 52"/>
                <a:gd name="T11" fmla="*/ 114 h 124"/>
                <a:gd name="T12" fmla="*/ 10 w 52"/>
                <a:gd name="T13" fmla="*/ 124 h 124"/>
                <a:gd name="T14" fmla="*/ 21 w 52"/>
                <a:gd name="T15" fmla="*/ 116 h 124"/>
                <a:gd name="T16" fmla="*/ 31 w 52"/>
                <a:gd name="T17" fmla="*/ 124 h 124"/>
                <a:gd name="T18" fmla="*/ 41 w 52"/>
                <a:gd name="T19" fmla="*/ 114 h 124"/>
                <a:gd name="T20" fmla="*/ 41 w 52"/>
                <a:gd name="T21" fmla="*/ 65 h 124"/>
                <a:gd name="T22" fmla="*/ 52 w 52"/>
                <a:gd name="T23" fmla="*/ 52 h 124"/>
                <a:gd name="T24" fmla="*/ 52 w 52"/>
                <a:gd name="T25" fmla="*/ 13 h 124"/>
                <a:gd name="T26" fmla="*/ 38 w 52"/>
                <a:gd name="T2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124">
                  <a:moveTo>
                    <a:pt x="38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7" y="3"/>
                    <a:pt x="9" y="8"/>
                    <a:pt x="9" y="1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9" y="69"/>
                    <a:pt x="5" y="75"/>
                    <a:pt x="0" y="79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20"/>
                    <a:pt x="5" y="124"/>
                    <a:pt x="10" y="124"/>
                  </a:cubicBezTo>
                  <a:cubicBezTo>
                    <a:pt x="15" y="124"/>
                    <a:pt x="19" y="121"/>
                    <a:pt x="21" y="116"/>
                  </a:cubicBezTo>
                  <a:cubicBezTo>
                    <a:pt x="22" y="121"/>
                    <a:pt x="26" y="124"/>
                    <a:pt x="31" y="124"/>
                  </a:cubicBezTo>
                  <a:cubicBezTo>
                    <a:pt x="36" y="124"/>
                    <a:pt x="41" y="120"/>
                    <a:pt x="41" y="114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47" y="64"/>
                    <a:pt x="52" y="59"/>
                    <a:pt x="52" y="5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6"/>
                    <a:pt x="45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137" tIns="38569" rIns="77137" bIns="3856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388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auto">
            <a:xfrm>
              <a:off x="-780342" y="2075860"/>
              <a:ext cx="466088" cy="1101198"/>
            </a:xfrm>
            <a:custGeom>
              <a:avLst/>
              <a:gdLst>
                <a:gd name="T0" fmla="*/ 42 w 52"/>
                <a:gd name="T1" fmla="*/ 62 h 124"/>
                <a:gd name="T2" fmla="*/ 42 w 52"/>
                <a:gd name="T3" fmla="*/ 13 h 124"/>
                <a:gd name="T4" fmla="*/ 47 w 52"/>
                <a:gd name="T5" fmla="*/ 0 h 124"/>
                <a:gd name="T6" fmla="*/ 13 w 52"/>
                <a:gd name="T7" fmla="*/ 0 h 124"/>
                <a:gd name="T8" fmla="*/ 0 w 52"/>
                <a:gd name="T9" fmla="*/ 13 h 124"/>
                <a:gd name="T10" fmla="*/ 0 w 52"/>
                <a:gd name="T11" fmla="*/ 52 h 124"/>
                <a:gd name="T12" fmla="*/ 10 w 52"/>
                <a:gd name="T13" fmla="*/ 65 h 124"/>
                <a:gd name="T14" fmla="*/ 10 w 52"/>
                <a:gd name="T15" fmla="*/ 114 h 124"/>
                <a:gd name="T16" fmla="*/ 21 w 52"/>
                <a:gd name="T17" fmla="*/ 124 h 124"/>
                <a:gd name="T18" fmla="*/ 31 w 52"/>
                <a:gd name="T19" fmla="*/ 116 h 124"/>
                <a:gd name="T20" fmla="*/ 41 w 52"/>
                <a:gd name="T21" fmla="*/ 124 h 124"/>
                <a:gd name="T22" fmla="*/ 52 w 52"/>
                <a:gd name="T23" fmla="*/ 114 h 124"/>
                <a:gd name="T24" fmla="*/ 52 w 52"/>
                <a:gd name="T25" fmla="*/ 80 h 124"/>
                <a:gd name="T26" fmla="*/ 42 w 52"/>
                <a:gd name="T27" fmla="*/ 6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124">
                  <a:moveTo>
                    <a:pt x="42" y="62"/>
                  </a:moveTo>
                  <a:cubicBezTo>
                    <a:pt x="42" y="13"/>
                    <a:pt x="42" y="13"/>
                    <a:pt x="42" y="13"/>
                  </a:cubicBezTo>
                  <a:cubicBezTo>
                    <a:pt x="42" y="8"/>
                    <a:pt x="44" y="3"/>
                    <a:pt x="4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9"/>
                    <a:pt x="5" y="64"/>
                    <a:pt x="10" y="65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0" y="120"/>
                    <a:pt x="15" y="124"/>
                    <a:pt x="21" y="124"/>
                  </a:cubicBezTo>
                  <a:cubicBezTo>
                    <a:pt x="26" y="124"/>
                    <a:pt x="30" y="121"/>
                    <a:pt x="31" y="116"/>
                  </a:cubicBezTo>
                  <a:cubicBezTo>
                    <a:pt x="32" y="121"/>
                    <a:pt x="36" y="124"/>
                    <a:pt x="41" y="124"/>
                  </a:cubicBezTo>
                  <a:cubicBezTo>
                    <a:pt x="47" y="124"/>
                    <a:pt x="52" y="120"/>
                    <a:pt x="52" y="114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46" y="76"/>
                    <a:pt x="42" y="70"/>
                    <a:pt x="42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137" tIns="38569" rIns="77137" bIns="3856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388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74" name="Oval 8"/>
            <p:cNvSpPr>
              <a:spLocks noChangeArrowheads="1"/>
            </p:cNvSpPr>
            <p:nvPr/>
          </p:nvSpPr>
          <p:spPr bwMode="auto">
            <a:xfrm>
              <a:off x="-662540" y="1691721"/>
              <a:ext cx="317554" cy="3124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137" tIns="38569" rIns="77137" bIns="3856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388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75" name="Freeform 9"/>
            <p:cNvSpPr>
              <a:spLocks/>
            </p:cNvSpPr>
            <p:nvPr/>
          </p:nvSpPr>
          <p:spPr bwMode="auto">
            <a:xfrm>
              <a:off x="-309132" y="1789036"/>
              <a:ext cx="783643" cy="2468733"/>
            </a:xfrm>
            <a:custGeom>
              <a:avLst/>
              <a:gdLst>
                <a:gd name="T0" fmla="*/ 70 w 88"/>
                <a:gd name="T1" fmla="*/ 108 h 277"/>
                <a:gd name="T2" fmla="*/ 74 w 88"/>
                <a:gd name="T3" fmla="*/ 108 h 277"/>
                <a:gd name="T4" fmla="*/ 88 w 88"/>
                <a:gd name="T5" fmla="*/ 94 h 277"/>
                <a:gd name="T6" fmla="*/ 88 w 88"/>
                <a:gd name="T7" fmla="*/ 45 h 277"/>
                <a:gd name="T8" fmla="*/ 74 w 88"/>
                <a:gd name="T9" fmla="*/ 31 h 277"/>
                <a:gd name="T10" fmla="*/ 57 w 88"/>
                <a:gd name="T11" fmla="*/ 31 h 277"/>
                <a:gd name="T12" fmla="*/ 44 w 88"/>
                <a:gd name="T13" fmla="*/ 48 h 277"/>
                <a:gd name="T14" fmla="*/ 31 w 88"/>
                <a:gd name="T15" fmla="*/ 31 h 277"/>
                <a:gd name="T16" fmla="*/ 14 w 88"/>
                <a:gd name="T17" fmla="*/ 31 h 277"/>
                <a:gd name="T18" fmla="*/ 0 w 88"/>
                <a:gd name="T19" fmla="*/ 45 h 277"/>
                <a:gd name="T20" fmla="*/ 0 w 88"/>
                <a:gd name="T21" fmla="*/ 94 h 277"/>
                <a:gd name="T22" fmla="*/ 14 w 88"/>
                <a:gd name="T23" fmla="*/ 108 h 277"/>
                <a:gd name="T24" fmla="*/ 18 w 88"/>
                <a:gd name="T25" fmla="*/ 108 h 277"/>
                <a:gd name="T26" fmla="*/ 18 w 88"/>
                <a:gd name="T27" fmla="*/ 172 h 277"/>
                <a:gd name="T28" fmla="*/ 31 w 88"/>
                <a:gd name="T29" fmla="*/ 185 h 277"/>
                <a:gd name="T30" fmla="*/ 44 w 88"/>
                <a:gd name="T31" fmla="*/ 177 h 277"/>
                <a:gd name="T32" fmla="*/ 57 w 88"/>
                <a:gd name="T33" fmla="*/ 185 h 277"/>
                <a:gd name="T34" fmla="*/ 70 w 88"/>
                <a:gd name="T35" fmla="*/ 172 h 277"/>
                <a:gd name="T36" fmla="*/ 70 w 88"/>
                <a:gd name="T37" fmla="*/ 10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" h="277">
                  <a:moveTo>
                    <a:pt x="70" y="108"/>
                  </a:moveTo>
                  <a:cubicBezTo>
                    <a:pt x="74" y="108"/>
                    <a:pt x="74" y="108"/>
                    <a:pt x="74" y="108"/>
                  </a:cubicBezTo>
                  <a:cubicBezTo>
                    <a:pt x="82" y="108"/>
                    <a:pt x="88" y="102"/>
                    <a:pt x="88" y="94"/>
                  </a:cubicBezTo>
                  <a:cubicBezTo>
                    <a:pt x="88" y="45"/>
                    <a:pt x="88" y="45"/>
                    <a:pt x="88" y="45"/>
                  </a:cubicBezTo>
                  <a:cubicBezTo>
                    <a:pt x="88" y="37"/>
                    <a:pt x="82" y="31"/>
                    <a:pt x="74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6" y="31"/>
                    <a:pt x="0" y="37"/>
                    <a:pt x="0" y="4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102"/>
                    <a:pt x="6" y="108"/>
                    <a:pt x="14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276"/>
                    <a:pt x="18" y="4"/>
                    <a:pt x="18" y="172"/>
                  </a:cubicBezTo>
                  <a:cubicBezTo>
                    <a:pt x="18" y="179"/>
                    <a:pt x="24" y="185"/>
                    <a:pt x="31" y="185"/>
                  </a:cubicBezTo>
                  <a:cubicBezTo>
                    <a:pt x="37" y="185"/>
                    <a:pt x="42" y="182"/>
                    <a:pt x="44" y="177"/>
                  </a:cubicBezTo>
                  <a:cubicBezTo>
                    <a:pt x="46" y="182"/>
                    <a:pt x="51" y="185"/>
                    <a:pt x="57" y="185"/>
                  </a:cubicBezTo>
                  <a:cubicBezTo>
                    <a:pt x="64" y="185"/>
                    <a:pt x="70" y="179"/>
                    <a:pt x="70" y="172"/>
                  </a:cubicBezTo>
                  <a:cubicBezTo>
                    <a:pt x="70" y="0"/>
                    <a:pt x="70" y="277"/>
                    <a:pt x="70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137" tIns="38569" rIns="77137" bIns="3856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388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76" name="Freeform 10"/>
            <p:cNvSpPr>
              <a:spLocks/>
            </p:cNvSpPr>
            <p:nvPr/>
          </p:nvSpPr>
          <p:spPr bwMode="auto">
            <a:xfrm>
              <a:off x="-109380" y="1594406"/>
              <a:ext cx="389260" cy="389261"/>
            </a:xfrm>
            <a:custGeom>
              <a:avLst/>
              <a:gdLst>
                <a:gd name="T0" fmla="*/ 44 w 44"/>
                <a:gd name="T1" fmla="*/ 22 h 44"/>
                <a:gd name="T2" fmla="*/ 22 w 44"/>
                <a:gd name="T3" fmla="*/ 0 h 44"/>
                <a:gd name="T4" fmla="*/ 0 w 44"/>
                <a:gd name="T5" fmla="*/ 22 h 44"/>
                <a:gd name="T6" fmla="*/ 22 w 44"/>
                <a:gd name="T7" fmla="*/ 44 h 44"/>
                <a:gd name="T8" fmla="*/ 44 w 44"/>
                <a:gd name="T9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4">
                  <a:moveTo>
                    <a:pt x="44" y="22"/>
                  </a:moveTo>
                  <a:cubicBezTo>
                    <a:pt x="44" y="10"/>
                    <a:pt x="34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5"/>
                    <a:pt x="11" y="44"/>
                    <a:pt x="22" y="44"/>
                  </a:cubicBezTo>
                  <a:cubicBezTo>
                    <a:pt x="33" y="44"/>
                    <a:pt x="44" y="35"/>
                    <a:pt x="4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7137" tIns="38569" rIns="77137" bIns="38569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388">
                <a:solidFill>
                  <a:prstClr val="black"/>
                </a:solidFill>
                <a:latin typeface="Times New Roman" charset="0"/>
              </a:endParaRPr>
            </a:p>
          </p:txBody>
        </p:sp>
      </p:grpSp>
      <p:grpSp>
        <p:nvGrpSpPr>
          <p:cNvPr id="77" name="Groupe 161"/>
          <p:cNvGrpSpPr/>
          <p:nvPr/>
        </p:nvGrpSpPr>
        <p:grpSpPr>
          <a:xfrm>
            <a:off x="47328" y="4506459"/>
            <a:ext cx="469556" cy="387433"/>
            <a:chOff x="5215485" y="-1433040"/>
            <a:chExt cx="1719213" cy="1418526"/>
          </a:xfrm>
        </p:grpSpPr>
        <p:grpSp>
          <p:nvGrpSpPr>
            <p:cNvPr id="78" name="Groupe 160"/>
            <p:cNvGrpSpPr/>
            <p:nvPr/>
          </p:nvGrpSpPr>
          <p:grpSpPr>
            <a:xfrm>
              <a:off x="5656920" y="-777415"/>
              <a:ext cx="791076" cy="762901"/>
              <a:chOff x="5389563" y="-1114425"/>
              <a:chExt cx="1158875" cy="1117600"/>
            </a:xfrm>
            <a:solidFill>
              <a:srgbClr val="7F7F7F"/>
            </a:solidFill>
          </p:grpSpPr>
          <p:sp>
            <p:nvSpPr>
              <p:cNvPr id="82" name="Freeform 46"/>
              <p:cNvSpPr>
                <a:spLocks noEditPoints="1"/>
              </p:cNvSpPr>
              <p:nvPr/>
            </p:nvSpPr>
            <p:spPr bwMode="auto">
              <a:xfrm>
                <a:off x="5389563" y="-939800"/>
                <a:ext cx="757238" cy="757238"/>
              </a:xfrm>
              <a:custGeom>
                <a:avLst/>
                <a:gdLst>
                  <a:gd name="T0" fmla="*/ 195 w 200"/>
                  <a:gd name="T1" fmla="*/ 81 h 200"/>
                  <a:gd name="T2" fmla="*/ 172 w 200"/>
                  <a:gd name="T3" fmla="*/ 70 h 200"/>
                  <a:gd name="T4" fmla="*/ 180 w 200"/>
                  <a:gd name="T5" fmla="*/ 46 h 200"/>
                  <a:gd name="T6" fmla="*/ 178 w 200"/>
                  <a:gd name="T7" fmla="*/ 37 h 200"/>
                  <a:gd name="T8" fmla="*/ 163 w 200"/>
                  <a:gd name="T9" fmla="*/ 22 h 200"/>
                  <a:gd name="T10" fmla="*/ 154 w 200"/>
                  <a:gd name="T11" fmla="*/ 20 h 200"/>
                  <a:gd name="T12" fmla="*/ 130 w 200"/>
                  <a:gd name="T13" fmla="*/ 28 h 200"/>
                  <a:gd name="T14" fmla="*/ 119 w 200"/>
                  <a:gd name="T15" fmla="*/ 5 h 200"/>
                  <a:gd name="T16" fmla="*/ 111 w 200"/>
                  <a:gd name="T17" fmla="*/ 0 h 200"/>
                  <a:gd name="T18" fmla="*/ 89 w 200"/>
                  <a:gd name="T19" fmla="*/ 0 h 200"/>
                  <a:gd name="T20" fmla="*/ 81 w 200"/>
                  <a:gd name="T21" fmla="*/ 5 h 200"/>
                  <a:gd name="T22" fmla="*/ 70 w 200"/>
                  <a:gd name="T23" fmla="*/ 28 h 200"/>
                  <a:gd name="T24" fmla="*/ 46 w 200"/>
                  <a:gd name="T25" fmla="*/ 20 h 200"/>
                  <a:gd name="T26" fmla="*/ 37 w 200"/>
                  <a:gd name="T27" fmla="*/ 22 h 200"/>
                  <a:gd name="T28" fmla="*/ 21 w 200"/>
                  <a:gd name="T29" fmla="*/ 37 h 200"/>
                  <a:gd name="T30" fmla="*/ 19 w 200"/>
                  <a:gd name="T31" fmla="*/ 46 h 200"/>
                  <a:gd name="T32" fmla="*/ 28 w 200"/>
                  <a:gd name="T33" fmla="*/ 70 h 200"/>
                  <a:gd name="T34" fmla="*/ 5 w 200"/>
                  <a:gd name="T35" fmla="*/ 81 h 200"/>
                  <a:gd name="T36" fmla="*/ 0 w 200"/>
                  <a:gd name="T37" fmla="*/ 89 h 200"/>
                  <a:gd name="T38" fmla="*/ 0 w 200"/>
                  <a:gd name="T39" fmla="*/ 111 h 200"/>
                  <a:gd name="T40" fmla="*/ 5 w 200"/>
                  <a:gd name="T41" fmla="*/ 119 h 200"/>
                  <a:gd name="T42" fmla="*/ 28 w 200"/>
                  <a:gd name="T43" fmla="*/ 130 h 200"/>
                  <a:gd name="T44" fmla="*/ 19 w 200"/>
                  <a:gd name="T45" fmla="*/ 154 h 200"/>
                  <a:gd name="T46" fmla="*/ 21 w 200"/>
                  <a:gd name="T47" fmla="*/ 163 h 200"/>
                  <a:gd name="T48" fmla="*/ 37 w 200"/>
                  <a:gd name="T49" fmla="*/ 179 h 200"/>
                  <a:gd name="T50" fmla="*/ 46 w 200"/>
                  <a:gd name="T51" fmla="*/ 181 h 200"/>
                  <a:gd name="T52" fmla="*/ 70 w 200"/>
                  <a:gd name="T53" fmla="*/ 172 h 200"/>
                  <a:gd name="T54" fmla="*/ 81 w 200"/>
                  <a:gd name="T55" fmla="*/ 195 h 200"/>
                  <a:gd name="T56" fmla="*/ 89 w 200"/>
                  <a:gd name="T57" fmla="*/ 200 h 200"/>
                  <a:gd name="T58" fmla="*/ 111 w 200"/>
                  <a:gd name="T59" fmla="*/ 200 h 200"/>
                  <a:gd name="T60" fmla="*/ 119 w 200"/>
                  <a:gd name="T61" fmla="*/ 195 h 200"/>
                  <a:gd name="T62" fmla="*/ 130 w 200"/>
                  <a:gd name="T63" fmla="*/ 172 h 200"/>
                  <a:gd name="T64" fmla="*/ 154 w 200"/>
                  <a:gd name="T65" fmla="*/ 181 h 200"/>
                  <a:gd name="T66" fmla="*/ 163 w 200"/>
                  <a:gd name="T67" fmla="*/ 179 h 200"/>
                  <a:gd name="T68" fmla="*/ 178 w 200"/>
                  <a:gd name="T69" fmla="*/ 163 h 200"/>
                  <a:gd name="T70" fmla="*/ 180 w 200"/>
                  <a:gd name="T71" fmla="*/ 154 h 200"/>
                  <a:gd name="T72" fmla="*/ 172 w 200"/>
                  <a:gd name="T73" fmla="*/ 130 h 200"/>
                  <a:gd name="T74" fmla="*/ 195 w 200"/>
                  <a:gd name="T75" fmla="*/ 119 h 200"/>
                  <a:gd name="T76" fmla="*/ 200 w 200"/>
                  <a:gd name="T77" fmla="*/ 111 h 200"/>
                  <a:gd name="T78" fmla="*/ 200 w 200"/>
                  <a:gd name="T79" fmla="*/ 89 h 200"/>
                  <a:gd name="T80" fmla="*/ 195 w 200"/>
                  <a:gd name="T81" fmla="*/ 81 h 200"/>
                  <a:gd name="T82" fmla="*/ 106 w 200"/>
                  <a:gd name="T83" fmla="*/ 45 h 200"/>
                  <a:gd name="T84" fmla="*/ 155 w 200"/>
                  <a:gd name="T85" fmla="*/ 94 h 200"/>
                  <a:gd name="T86" fmla="*/ 155 w 200"/>
                  <a:gd name="T87" fmla="*/ 106 h 200"/>
                  <a:gd name="T88" fmla="*/ 106 w 200"/>
                  <a:gd name="T89" fmla="*/ 155 h 200"/>
                  <a:gd name="T90" fmla="*/ 94 w 200"/>
                  <a:gd name="T91" fmla="*/ 155 h 200"/>
                  <a:gd name="T92" fmla="*/ 45 w 200"/>
                  <a:gd name="T93" fmla="*/ 106 h 200"/>
                  <a:gd name="T94" fmla="*/ 45 w 200"/>
                  <a:gd name="T95" fmla="*/ 94 h 200"/>
                  <a:gd name="T96" fmla="*/ 94 w 200"/>
                  <a:gd name="T97" fmla="*/ 45 h 200"/>
                  <a:gd name="T98" fmla="*/ 106 w 200"/>
                  <a:gd name="T99" fmla="*/ 45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0" h="200">
                    <a:moveTo>
                      <a:pt x="195" y="81"/>
                    </a:moveTo>
                    <a:cubicBezTo>
                      <a:pt x="172" y="70"/>
                      <a:pt x="172" y="70"/>
                      <a:pt x="172" y="70"/>
                    </a:cubicBezTo>
                    <a:cubicBezTo>
                      <a:pt x="180" y="46"/>
                      <a:pt x="180" y="46"/>
                      <a:pt x="180" y="46"/>
                    </a:cubicBezTo>
                    <a:cubicBezTo>
                      <a:pt x="182" y="43"/>
                      <a:pt x="181" y="39"/>
                      <a:pt x="178" y="37"/>
                    </a:cubicBezTo>
                    <a:cubicBezTo>
                      <a:pt x="163" y="22"/>
                      <a:pt x="163" y="22"/>
                      <a:pt x="163" y="22"/>
                    </a:cubicBezTo>
                    <a:cubicBezTo>
                      <a:pt x="161" y="19"/>
                      <a:pt x="157" y="18"/>
                      <a:pt x="154" y="20"/>
                    </a:cubicBezTo>
                    <a:cubicBezTo>
                      <a:pt x="130" y="28"/>
                      <a:pt x="130" y="28"/>
                      <a:pt x="130" y="28"/>
                    </a:cubicBezTo>
                    <a:cubicBezTo>
                      <a:pt x="119" y="5"/>
                      <a:pt x="119" y="5"/>
                      <a:pt x="119" y="5"/>
                    </a:cubicBezTo>
                    <a:cubicBezTo>
                      <a:pt x="117" y="2"/>
                      <a:pt x="114" y="0"/>
                      <a:pt x="111" y="0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6" y="0"/>
                      <a:pt x="83" y="2"/>
                      <a:pt x="81" y="5"/>
                    </a:cubicBezTo>
                    <a:cubicBezTo>
                      <a:pt x="70" y="28"/>
                      <a:pt x="70" y="28"/>
                      <a:pt x="70" y="28"/>
                    </a:cubicBezTo>
                    <a:cubicBezTo>
                      <a:pt x="46" y="20"/>
                      <a:pt x="46" y="20"/>
                      <a:pt x="46" y="20"/>
                    </a:cubicBezTo>
                    <a:cubicBezTo>
                      <a:pt x="43" y="18"/>
                      <a:pt x="39" y="19"/>
                      <a:pt x="37" y="22"/>
                    </a:cubicBezTo>
                    <a:cubicBezTo>
                      <a:pt x="21" y="37"/>
                      <a:pt x="21" y="37"/>
                      <a:pt x="21" y="37"/>
                    </a:cubicBezTo>
                    <a:cubicBezTo>
                      <a:pt x="19" y="39"/>
                      <a:pt x="18" y="43"/>
                      <a:pt x="19" y="46"/>
                    </a:cubicBezTo>
                    <a:cubicBezTo>
                      <a:pt x="28" y="70"/>
                      <a:pt x="28" y="70"/>
                      <a:pt x="28" y="70"/>
                    </a:cubicBezTo>
                    <a:cubicBezTo>
                      <a:pt x="5" y="81"/>
                      <a:pt x="5" y="81"/>
                      <a:pt x="5" y="81"/>
                    </a:cubicBezTo>
                    <a:cubicBezTo>
                      <a:pt x="2" y="83"/>
                      <a:pt x="0" y="86"/>
                      <a:pt x="0" y="89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14"/>
                      <a:pt x="2" y="117"/>
                      <a:pt x="5" y="119"/>
                    </a:cubicBezTo>
                    <a:cubicBezTo>
                      <a:pt x="28" y="130"/>
                      <a:pt x="28" y="130"/>
                      <a:pt x="28" y="130"/>
                    </a:cubicBezTo>
                    <a:cubicBezTo>
                      <a:pt x="19" y="154"/>
                      <a:pt x="19" y="154"/>
                      <a:pt x="19" y="154"/>
                    </a:cubicBezTo>
                    <a:cubicBezTo>
                      <a:pt x="18" y="157"/>
                      <a:pt x="19" y="161"/>
                      <a:pt x="21" y="163"/>
                    </a:cubicBezTo>
                    <a:cubicBezTo>
                      <a:pt x="37" y="179"/>
                      <a:pt x="37" y="179"/>
                      <a:pt x="37" y="179"/>
                    </a:cubicBezTo>
                    <a:cubicBezTo>
                      <a:pt x="39" y="181"/>
                      <a:pt x="43" y="182"/>
                      <a:pt x="46" y="181"/>
                    </a:cubicBezTo>
                    <a:cubicBezTo>
                      <a:pt x="70" y="172"/>
                      <a:pt x="70" y="172"/>
                      <a:pt x="70" y="172"/>
                    </a:cubicBezTo>
                    <a:cubicBezTo>
                      <a:pt x="81" y="195"/>
                      <a:pt x="81" y="195"/>
                      <a:pt x="81" y="195"/>
                    </a:cubicBezTo>
                    <a:cubicBezTo>
                      <a:pt x="83" y="198"/>
                      <a:pt x="86" y="200"/>
                      <a:pt x="89" y="200"/>
                    </a:cubicBezTo>
                    <a:cubicBezTo>
                      <a:pt x="111" y="200"/>
                      <a:pt x="111" y="200"/>
                      <a:pt x="111" y="200"/>
                    </a:cubicBezTo>
                    <a:cubicBezTo>
                      <a:pt x="114" y="200"/>
                      <a:pt x="117" y="198"/>
                      <a:pt x="119" y="195"/>
                    </a:cubicBezTo>
                    <a:cubicBezTo>
                      <a:pt x="130" y="172"/>
                      <a:pt x="130" y="172"/>
                      <a:pt x="130" y="172"/>
                    </a:cubicBezTo>
                    <a:cubicBezTo>
                      <a:pt x="154" y="181"/>
                      <a:pt x="154" y="181"/>
                      <a:pt x="154" y="181"/>
                    </a:cubicBezTo>
                    <a:cubicBezTo>
                      <a:pt x="157" y="182"/>
                      <a:pt x="161" y="181"/>
                      <a:pt x="163" y="179"/>
                    </a:cubicBezTo>
                    <a:cubicBezTo>
                      <a:pt x="178" y="163"/>
                      <a:pt x="178" y="163"/>
                      <a:pt x="178" y="163"/>
                    </a:cubicBezTo>
                    <a:cubicBezTo>
                      <a:pt x="181" y="161"/>
                      <a:pt x="182" y="157"/>
                      <a:pt x="180" y="154"/>
                    </a:cubicBezTo>
                    <a:cubicBezTo>
                      <a:pt x="172" y="130"/>
                      <a:pt x="172" y="130"/>
                      <a:pt x="172" y="130"/>
                    </a:cubicBezTo>
                    <a:cubicBezTo>
                      <a:pt x="195" y="119"/>
                      <a:pt x="195" y="119"/>
                      <a:pt x="195" y="119"/>
                    </a:cubicBezTo>
                    <a:cubicBezTo>
                      <a:pt x="198" y="117"/>
                      <a:pt x="200" y="114"/>
                      <a:pt x="200" y="111"/>
                    </a:cubicBezTo>
                    <a:cubicBezTo>
                      <a:pt x="200" y="89"/>
                      <a:pt x="200" y="89"/>
                      <a:pt x="200" y="89"/>
                    </a:cubicBezTo>
                    <a:cubicBezTo>
                      <a:pt x="200" y="86"/>
                      <a:pt x="198" y="83"/>
                      <a:pt x="195" y="81"/>
                    </a:cubicBezTo>
                    <a:close/>
                    <a:moveTo>
                      <a:pt x="106" y="45"/>
                    </a:moveTo>
                    <a:cubicBezTo>
                      <a:pt x="132" y="48"/>
                      <a:pt x="152" y="68"/>
                      <a:pt x="155" y="94"/>
                    </a:cubicBezTo>
                    <a:cubicBezTo>
                      <a:pt x="155" y="106"/>
                      <a:pt x="155" y="106"/>
                      <a:pt x="155" y="106"/>
                    </a:cubicBezTo>
                    <a:cubicBezTo>
                      <a:pt x="152" y="132"/>
                      <a:pt x="132" y="153"/>
                      <a:pt x="106" y="155"/>
                    </a:cubicBezTo>
                    <a:cubicBezTo>
                      <a:pt x="94" y="155"/>
                      <a:pt x="94" y="155"/>
                      <a:pt x="94" y="155"/>
                    </a:cubicBezTo>
                    <a:cubicBezTo>
                      <a:pt x="68" y="153"/>
                      <a:pt x="47" y="132"/>
                      <a:pt x="45" y="106"/>
                    </a:cubicBezTo>
                    <a:cubicBezTo>
                      <a:pt x="45" y="94"/>
                      <a:pt x="45" y="94"/>
                      <a:pt x="45" y="94"/>
                    </a:cubicBezTo>
                    <a:cubicBezTo>
                      <a:pt x="47" y="68"/>
                      <a:pt x="68" y="48"/>
                      <a:pt x="94" y="45"/>
                    </a:cubicBezTo>
                    <a:lnTo>
                      <a:pt x="106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853" tIns="28927" rIns="57853" bIns="28927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139">
                  <a:solidFill>
                    <a:prstClr val="black"/>
                  </a:solidFill>
                  <a:latin typeface="Times New Roman" charset="0"/>
                </a:endParaRPr>
              </a:p>
            </p:txBody>
          </p:sp>
          <p:sp>
            <p:nvSpPr>
              <p:cNvPr id="84" name="Freeform 47"/>
              <p:cNvSpPr>
                <a:spLocks noEditPoints="1"/>
              </p:cNvSpPr>
              <p:nvPr/>
            </p:nvSpPr>
            <p:spPr bwMode="auto">
              <a:xfrm>
                <a:off x="6059488" y="-1114425"/>
                <a:ext cx="488950" cy="488950"/>
              </a:xfrm>
              <a:custGeom>
                <a:avLst/>
                <a:gdLst>
                  <a:gd name="T0" fmla="*/ 111 w 129"/>
                  <a:gd name="T1" fmla="*/ 84 h 129"/>
                  <a:gd name="T2" fmla="*/ 126 w 129"/>
                  <a:gd name="T3" fmla="*/ 76 h 129"/>
                  <a:gd name="T4" fmla="*/ 129 w 129"/>
                  <a:gd name="T5" fmla="*/ 72 h 129"/>
                  <a:gd name="T6" fmla="*/ 129 w 129"/>
                  <a:gd name="T7" fmla="*/ 57 h 129"/>
                  <a:gd name="T8" fmla="*/ 126 w 129"/>
                  <a:gd name="T9" fmla="*/ 52 h 129"/>
                  <a:gd name="T10" fmla="*/ 111 w 129"/>
                  <a:gd name="T11" fmla="*/ 45 h 129"/>
                  <a:gd name="T12" fmla="*/ 116 w 129"/>
                  <a:gd name="T13" fmla="*/ 29 h 129"/>
                  <a:gd name="T14" fmla="*/ 115 w 129"/>
                  <a:gd name="T15" fmla="*/ 24 h 129"/>
                  <a:gd name="T16" fmla="*/ 105 w 129"/>
                  <a:gd name="T17" fmla="*/ 14 h 129"/>
                  <a:gd name="T18" fmla="*/ 99 w 129"/>
                  <a:gd name="T19" fmla="*/ 12 h 129"/>
                  <a:gd name="T20" fmla="*/ 84 w 129"/>
                  <a:gd name="T21" fmla="*/ 18 h 129"/>
                  <a:gd name="T22" fmla="*/ 76 w 129"/>
                  <a:gd name="T23" fmla="*/ 3 h 129"/>
                  <a:gd name="T24" fmla="*/ 72 w 129"/>
                  <a:gd name="T25" fmla="*/ 0 h 129"/>
                  <a:gd name="T26" fmla="*/ 57 w 129"/>
                  <a:gd name="T27" fmla="*/ 0 h 129"/>
                  <a:gd name="T28" fmla="*/ 52 w 129"/>
                  <a:gd name="T29" fmla="*/ 3 h 129"/>
                  <a:gd name="T30" fmla="*/ 45 w 129"/>
                  <a:gd name="T31" fmla="*/ 18 h 129"/>
                  <a:gd name="T32" fmla="*/ 29 w 129"/>
                  <a:gd name="T33" fmla="*/ 12 h 129"/>
                  <a:gd name="T34" fmla="*/ 24 w 129"/>
                  <a:gd name="T35" fmla="*/ 14 h 129"/>
                  <a:gd name="T36" fmla="*/ 14 w 129"/>
                  <a:gd name="T37" fmla="*/ 24 h 129"/>
                  <a:gd name="T38" fmla="*/ 12 w 129"/>
                  <a:gd name="T39" fmla="*/ 29 h 129"/>
                  <a:gd name="T40" fmla="*/ 18 w 129"/>
                  <a:gd name="T41" fmla="*/ 45 h 129"/>
                  <a:gd name="T42" fmla="*/ 3 w 129"/>
                  <a:gd name="T43" fmla="*/ 52 h 129"/>
                  <a:gd name="T44" fmla="*/ 0 w 129"/>
                  <a:gd name="T45" fmla="*/ 57 h 129"/>
                  <a:gd name="T46" fmla="*/ 0 w 129"/>
                  <a:gd name="T47" fmla="*/ 72 h 129"/>
                  <a:gd name="T48" fmla="*/ 3 w 129"/>
                  <a:gd name="T49" fmla="*/ 76 h 129"/>
                  <a:gd name="T50" fmla="*/ 18 w 129"/>
                  <a:gd name="T51" fmla="*/ 84 h 129"/>
                  <a:gd name="T52" fmla="*/ 12 w 129"/>
                  <a:gd name="T53" fmla="*/ 100 h 129"/>
                  <a:gd name="T54" fmla="*/ 14 w 129"/>
                  <a:gd name="T55" fmla="*/ 105 h 129"/>
                  <a:gd name="T56" fmla="*/ 24 w 129"/>
                  <a:gd name="T57" fmla="*/ 115 h 129"/>
                  <a:gd name="T58" fmla="*/ 29 w 129"/>
                  <a:gd name="T59" fmla="*/ 116 h 129"/>
                  <a:gd name="T60" fmla="*/ 45 w 129"/>
                  <a:gd name="T61" fmla="*/ 111 h 129"/>
                  <a:gd name="T62" fmla="*/ 52 w 129"/>
                  <a:gd name="T63" fmla="*/ 126 h 129"/>
                  <a:gd name="T64" fmla="*/ 57 w 129"/>
                  <a:gd name="T65" fmla="*/ 129 h 129"/>
                  <a:gd name="T66" fmla="*/ 72 w 129"/>
                  <a:gd name="T67" fmla="*/ 129 h 129"/>
                  <a:gd name="T68" fmla="*/ 76 w 129"/>
                  <a:gd name="T69" fmla="*/ 126 h 129"/>
                  <a:gd name="T70" fmla="*/ 84 w 129"/>
                  <a:gd name="T71" fmla="*/ 111 h 129"/>
                  <a:gd name="T72" fmla="*/ 99 w 129"/>
                  <a:gd name="T73" fmla="*/ 116 h 129"/>
                  <a:gd name="T74" fmla="*/ 105 w 129"/>
                  <a:gd name="T75" fmla="*/ 115 h 129"/>
                  <a:gd name="T76" fmla="*/ 115 w 129"/>
                  <a:gd name="T77" fmla="*/ 105 h 129"/>
                  <a:gd name="T78" fmla="*/ 116 w 129"/>
                  <a:gd name="T79" fmla="*/ 100 h 129"/>
                  <a:gd name="T80" fmla="*/ 111 w 129"/>
                  <a:gd name="T81" fmla="*/ 84 h 129"/>
                  <a:gd name="T82" fmla="*/ 94 w 129"/>
                  <a:gd name="T83" fmla="*/ 64 h 129"/>
                  <a:gd name="T84" fmla="*/ 64 w 129"/>
                  <a:gd name="T85" fmla="*/ 94 h 129"/>
                  <a:gd name="T86" fmla="*/ 34 w 129"/>
                  <a:gd name="T87" fmla="*/ 64 h 129"/>
                  <a:gd name="T88" fmla="*/ 64 w 129"/>
                  <a:gd name="T89" fmla="*/ 34 h 129"/>
                  <a:gd name="T90" fmla="*/ 94 w 129"/>
                  <a:gd name="T91" fmla="*/ 6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9" h="129">
                    <a:moveTo>
                      <a:pt x="111" y="84"/>
                    </a:moveTo>
                    <a:cubicBezTo>
                      <a:pt x="126" y="76"/>
                      <a:pt x="126" y="76"/>
                      <a:pt x="126" y="76"/>
                    </a:cubicBezTo>
                    <a:cubicBezTo>
                      <a:pt x="128" y="76"/>
                      <a:pt x="129" y="74"/>
                      <a:pt x="129" y="72"/>
                    </a:cubicBezTo>
                    <a:cubicBezTo>
                      <a:pt x="129" y="57"/>
                      <a:pt x="129" y="57"/>
                      <a:pt x="129" y="57"/>
                    </a:cubicBezTo>
                    <a:cubicBezTo>
                      <a:pt x="129" y="55"/>
                      <a:pt x="128" y="53"/>
                      <a:pt x="126" y="52"/>
                    </a:cubicBezTo>
                    <a:cubicBezTo>
                      <a:pt x="111" y="45"/>
                      <a:pt x="111" y="45"/>
                      <a:pt x="111" y="45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7" y="27"/>
                      <a:pt x="116" y="25"/>
                      <a:pt x="115" y="24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3" y="12"/>
                      <a:pt x="101" y="12"/>
                      <a:pt x="99" y="12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75" y="1"/>
                      <a:pt x="74" y="0"/>
                      <a:pt x="72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5" y="0"/>
                      <a:pt x="53" y="1"/>
                      <a:pt x="52" y="3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7" y="12"/>
                      <a:pt x="25" y="12"/>
                      <a:pt x="24" y="1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2" y="25"/>
                      <a:pt x="12" y="27"/>
                      <a:pt x="12" y="29"/>
                    </a:cubicBezTo>
                    <a:cubicBezTo>
                      <a:pt x="18" y="45"/>
                      <a:pt x="18" y="45"/>
                      <a:pt x="18" y="45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1" y="53"/>
                      <a:pt x="0" y="55"/>
                      <a:pt x="0" y="57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4"/>
                      <a:pt x="1" y="76"/>
                      <a:pt x="3" y="76"/>
                    </a:cubicBezTo>
                    <a:cubicBezTo>
                      <a:pt x="18" y="84"/>
                      <a:pt x="18" y="84"/>
                      <a:pt x="18" y="84"/>
                    </a:cubicBezTo>
                    <a:cubicBezTo>
                      <a:pt x="12" y="100"/>
                      <a:pt x="12" y="100"/>
                      <a:pt x="12" y="100"/>
                    </a:cubicBezTo>
                    <a:cubicBezTo>
                      <a:pt x="12" y="101"/>
                      <a:pt x="12" y="104"/>
                      <a:pt x="14" y="105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25" y="117"/>
                      <a:pt x="27" y="117"/>
                      <a:pt x="29" y="116"/>
                    </a:cubicBezTo>
                    <a:cubicBezTo>
                      <a:pt x="45" y="111"/>
                      <a:pt x="45" y="111"/>
                      <a:pt x="45" y="111"/>
                    </a:cubicBezTo>
                    <a:cubicBezTo>
                      <a:pt x="52" y="126"/>
                      <a:pt x="52" y="126"/>
                      <a:pt x="52" y="126"/>
                    </a:cubicBezTo>
                    <a:cubicBezTo>
                      <a:pt x="53" y="128"/>
                      <a:pt x="55" y="129"/>
                      <a:pt x="57" y="129"/>
                    </a:cubicBezTo>
                    <a:cubicBezTo>
                      <a:pt x="72" y="129"/>
                      <a:pt x="72" y="129"/>
                      <a:pt x="72" y="129"/>
                    </a:cubicBezTo>
                    <a:cubicBezTo>
                      <a:pt x="74" y="129"/>
                      <a:pt x="75" y="128"/>
                      <a:pt x="76" y="126"/>
                    </a:cubicBezTo>
                    <a:cubicBezTo>
                      <a:pt x="84" y="111"/>
                      <a:pt x="84" y="111"/>
                      <a:pt x="84" y="111"/>
                    </a:cubicBezTo>
                    <a:cubicBezTo>
                      <a:pt x="99" y="116"/>
                      <a:pt x="99" y="116"/>
                      <a:pt x="99" y="116"/>
                    </a:cubicBezTo>
                    <a:cubicBezTo>
                      <a:pt x="101" y="117"/>
                      <a:pt x="103" y="117"/>
                      <a:pt x="105" y="115"/>
                    </a:cubicBezTo>
                    <a:cubicBezTo>
                      <a:pt x="115" y="105"/>
                      <a:pt x="115" y="105"/>
                      <a:pt x="115" y="105"/>
                    </a:cubicBezTo>
                    <a:cubicBezTo>
                      <a:pt x="116" y="104"/>
                      <a:pt x="117" y="101"/>
                      <a:pt x="116" y="100"/>
                    </a:cubicBezTo>
                    <a:lnTo>
                      <a:pt x="111" y="84"/>
                    </a:lnTo>
                    <a:close/>
                    <a:moveTo>
                      <a:pt x="94" y="64"/>
                    </a:moveTo>
                    <a:cubicBezTo>
                      <a:pt x="94" y="81"/>
                      <a:pt x="81" y="94"/>
                      <a:pt x="64" y="94"/>
                    </a:cubicBezTo>
                    <a:cubicBezTo>
                      <a:pt x="48" y="94"/>
                      <a:pt x="34" y="81"/>
                      <a:pt x="34" y="64"/>
                    </a:cubicBezTo>
                    <a:cubicBezTo>
                      <a:pt x="34" y="48"/>
                      <a:pt x="48" y="34"/>
                      <a:pt x="64" y="34"/>
                    </a:cubicBezTo>
                    <a:cubicBezTo>
                      <a:pt x="81" y="34"/>
                      <a:pt x="94" y="48"/>
                      <a:pt x="94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853" tIns="28927" rIns="57853" bIns="28927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139">
                  <a:solidFill>
                    <a:prstClr val="black"/>
                  </a:solidFill>
                  <a:latin typeface="Times New Roman" charset="0"/>
                </a:endParaRPr>
              </a:p>
            </p:txBody>
          </p:sp>
          <p:sp>
            <p:nvSpPr>
              <p:cNvPr id="85" name="Freeform 48"/>
              <p:cNvSpPr>
                <a:spLocks noEditPoints="1"/>
              </p:cNvSpPr>
              <p:nvPr/>
            </p:nvSpPr>
            <p:spPr bwMode="auto">
              <a:xfrm>
                <a:off x="6059488" y="-485775"/>
                <a:ext cx="488950" cy="488950"/>
              </a:xfrm>
              <a:custGeom>
                <a:avLst/>
                <a:gdLst>
                  <a:gd name="T0" fmla="*/ 111 w 129"/>
                  <a:gd name="T1" fmla="*/ 84 h 129"/>
                  <a:gd name="T2" fmla="*/ 126 w 129"/>
                  <a:gd name="T3" fmla="*/ 76 h 129"/>
                  <a:gd name="T4" fmla="*/ 129 w 129"/>
                  <a:gd name="T5" fmla="*/ 72 h 129"/>
                  <a:gd name="T6" fmla="*/ 129 w 129"/>
                  <a:gd name="T7" fmla="*/ 57 h 129"/>
                  <a:gd name="T8" fmla="*/ 126 w 129"/>
                  <a:gd name="T9" fmla="*/ 52 h 129"/>
                  <a:gd name="T10" fmla="*/ 111 w 129"/>
                  <a:gd name="T11" fmla="*/ 45 h 129"/>
                  <a:gd name="T12" fmla="*/ 116 w 129"/>
                  <a:gd name="T13" fmla="*/ 29 h 129"/>
                  <a:gd name="T14" fmla="*/ 115 w 129"/>
                  <a:gd name="T15" fmla="*/ 24 h 129"/>
                  <a:gd name="T16" fmla="*/ 105 w 129"/>
                  <a:gd name="T17" fmla="*/ 14 h 129"/>
                  <a:gd name="T18" fmla="*/ 99 w 129"/>
                  <a:gd name="T19" fmla="*/ 12 h 129"/>
                  <a:gd name="T20" fmla="*/ 84 w 129"/>
                  <a:gd name="T21" fmla="*/ 18 h 129"/>
                  <a:gd name="T22" fmla="*/ 76 w 129"/>
                  <a:gd name="T23" fmla="*/ 3 h 129"/>
                  <a:gd name="T24" fmla="*/ 72 w 129"/>
                  <a:gd name="T25" fmla="*/ 0 h 129"/>
                  <a:gd name="T26" fmla="*/ 57 w 129"/>
                  <a:gd name="T27" fmla="*/ 0 h 129"/>
                  <a:gd name="T28" fmla="*/ 52 w 129"/>
                  <a:gd name="T29" fmla="*/ 3 h 129"/>
                  <a:gd name="T30" fmla="*/ 45 w 129"/>
                  <a:gd name="T31" fmla="*/ 18 h 129"/>
                  <a:gd name="T32" fmla="*/ 29 w 129"/>
                  <a:gd name="T33" fmla="*/ 12 h 129"/>
                  <a:gd name="T34" fmla="*/ 24 w 129"/>
                  <a:gd name="T35" fmla="*/ 14 h 129"/>
                  <a:gd name="T36" fmla="*/ 14 w 129"/>
                  <a:gd name="T37" fmla="*/ 24 h 129"/>
                  <a:gd name="T38" fmla="*/ 12 w 129"/>
                  <a:gd name="T39" fmla="*/ 29 h 129"/>
                  <a:gd name="T40" fmla="*/ 18 w 129"/>
                  <a:gd name="T41" fmla="*/ 45 h 129"/>
                  <a:gd name="T42" fmla="*/ 3 w 129"/>
                  <a:gd name="T43" fmla="*/ 52 h 129"/>
                  <a:gd name="T44" fmla="*/ 0 w 129"/>
                  <a:gd name="T45" fmla="*/ 57 h 129"/>
                  <a:gd name="T46" fmla="*/ 0 w 129"/>
                  <a:gd name="T47" fmla="*/ 72 h 129"/>
                  <a:gd name="T48" fmla="*/ 3 w 129"/>
                  <a:gd name="T49" fmla="*/ 76 h 129"/>
                  <a:gd name="T50" fmla="*/ 18 w 129"/>
                  <a:gd name="T51" fmla="*/ 84 h 129"/>
                  <a:gd name="T52" fmla="*/ 12 w 129"/>
                  <a:gd name="T53" fmla="*/ 100 h 129"/>
                  <a:gd name="T54" fmla="*/ 14 w 129"/>
                  <a:gd name="T55" fmla="*/ 105 h 129"/>
                  <a:gd name="T56" fmla="*/ 24 w 129"/>
                  <a:gd name="T57" fmla="*/ 115 h 129"/>
                  <a:gd name="T58" fmla="*/ 29 w 129"/>
                  <a:gd name="T59" fmla="*/ 116 h 129"/>
                  <a:gd name="T60" fmla="*/ 45 w 129"/>
                  <a:gd name="T61" fmla="*/ 111 h 129"/>
                  <a:gd name="T62" fmla="*/ 52 w 129"/>
                  <a:gd name="T63" fmla="*/ 126 h 129"/>
                  <a:gd name="T64" fmla="*/ 57 w 129"/>
                  <a:gd name="T65" fmla="*/ 129 h 129"/>
                  <a:gd name="T66" fmla="*/ 72 w 129"/>
                  <a:gd name="T67" fmla="*/ 129 h 129"/>
                  <a:gd name="T68" fmla="*/ 76 w 129"/>
                  <a:gd name="T69" fmla="*/ 126 h 129"/>
                  <a:gd name="T70" fmla="*/ 84 w 129"/>
                  <a:gd name="T71" fmla="*/ 111 h 129"/>
                  <a:gd name="T72" fmla="*/ 99 w 129"/>
                  <a:gd name="T73" fmla="*/ 116 h 129"/>
                  <a:gd name="T74" fmla="*/ 105 w 129"/>
                  <a:gd name="T75" fmla="*/ 115 h 129"/>
                  <a:gd name="T76" fmla="*/ 115 w 129"/>
                  <a:gd name="T77" fmla="*/ 105 h 129"/>
                  <a:gd name="T78" fmla="*/ 116 w 129"/>
                  <a:gd name="T79" fmla="*/ 100 h 129"/>
                  <a:gd name="T80" fmla="*/ 111 w 129"/>
                  <a:gd name="T81" fmla="*/ 84 h 129"/>
                  <a:gd name="T82" fmla="*/ 94 w 129"/>
                  <a:gd name="T83" fmla="*/ 64 h 129"/>
                  <a:gd name="T84" fmla="*/ 64 w 129"/>
                  <a:gd name="T85" fmla="*/ 94 h 129"/>
                  <a:gd name="T86" fmla="*/ 34 w 129"/>
                  <a:gd name="T87" fmla="*/ 64 h 129"/>
                  <a:gd name="T88" fmla="*/ 64 w 129"/>
                  <a:gd name="T89" fmla="*/ 34 h 129"/>
                  <a:gd name="T90" fmla="*/ 94 w 129"/>
                  <a:gd name="T91" fmla="*/ 6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9" h="129">
                    <a:moveTo>
                      <a:pt x="111" y="84"/>
                    </a:moveTo>
                    <a:cubicBezTo>
                      <a:pt x="126" y="76"/>
                      <a:pt x="126" y="76"/>
                      <a:pt x="126" y="76"/>
                    </a:cubicBezTo>
                    <a:cubicBezTo>
                      <a:pt x="128" y="76"/>
                      <a:pt x="129" y="74"/>
                      <a:pt x="129" y="72"/>
                    </a:cubicBezTo>
                    <a:cubicBezTo>
                      <a:pt x="129" y="57"/>
                      <a:pt x="129" y="57"/>
                      <a:pt x="129" y="57"/>
                    </a:cubicBezTo>
                    <a:cubicBezTo>
                      <a:pt x="129" y="55"/>
                      <a:pt x="128" y="53"/>
                      <a:pt x="126" y="52"/>
                    </a:cubicBezTo>
                    <a:cubicBezTo>
                      <a:pt x="111" y="45"/>
                      <a:pt x="111" y="45"/>
                      <a:pt x="111" y="45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7" y="27"/>
                      <a:pt x="116" y="25"/>
                      <a:pt x="115" y="24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3" y="12"/>
                      <a:pt x="101" y="12"/>
                      <a:pt x="99" y="12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75" y="1"/>
                      <a:pt x="74" y="0"/>
                      <a:pt x="72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5" y="0"/>
                      <a:pt x="53" y="1"/>
                      <a:pt x="52" y="3"/>
                    </a:cubicBezTo>
                    <a:cubicBezTo>
                      <a:pt x="45" y="18"/>
                      <a:pt x="45" y="18"/>
                      <a:pt x="45" y="18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7" y="12"/>
                      <a:pt x="25" y="12"/>
                      <a:pt x="24" y="1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2" y="25"/>
                      <a:pt x="12" y="27"/>
                      <a:pt x="12" y="29"/>
                    </a:cubicBezTo>
                    <a:cubicBezTo>
                      <a:pt x="18" y="45"/>
                      <a:pt x="18" y="45"/>
                      <a:pt x="18" y="45"/>
                    </a:cubicBezTo>
                    <a:cubicBezTo>
                      <a:pt x="3" y="52"/>
                      <a:pt x="3" y="52"/>
                      <a:pt x="3" y="52"/>
                    </a:cubicBezTo>
                    <a:cubicBezTo>
                      <a:pt x="1" y="53"/>
                      <a:pt x="0" y="55"/>
                      <a:pt x="0" y="57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4"/>
                      <a:pt x="1" y="76"/>
                      <a:pt x="3" y="76"/>
                    </a:cubicBezTo>
                    <a:cubicBezTo>
                      <a:pt x="18" y="84"/>
                      <a:pt x="18" y="84"/>
                      <a:pt x="18" y="84"/>
                    </a:cubicBezTo>
                    <a:cubicBezTo>
                      <a:pt x="12" y="100"/>
                      <a:pt x="12" y="100"/>
                      <a:pt x="12" y="100"/>
                    </a:cubicBezTo>
                    <a:cubicBezTo>
                      <a:pt x="12" y="101"/>
                      <a:pt x="12" y="104"/>
                      <a:pt x="14" y="105"/>
                    </a:cubicBezTo>
                    <a:cubicBezTo>
                      <a:pt x="24" y="115"/>
                      <a:pt x="24" y="115"/>
                      <a:pt x="24" y="115"/>
                    </a:cubicBezTo>
                    <a:cubicBezTo>
                      <a:pt x="25" y="117"/>
                      <a:pt x="27" y="117"/>
                      <a:pt x="29" y="116"/>
                    </a:cubicBezTo>
                    <a:cubicBezTo>
                      <a:pt x="45" y="111"/>
                      <a:pt x="45" y="111"/>
                      <a:pt x="45" y="111"/>
                    </a:cubicBezTo>
                    <a:cubicBezTo>
                      <a:pt x="52" y="126"/>
                      <a:pt x="52" y="126"/>
                      <a:pt x="52" y="126"/>
                    </a:cubicBezTo>
                    <a:cubicBezTo>
                      <a:pt x="53" y="128"/>
                      <a:pt x="55" y="129"/>
                      <a:pt x="57" y="129"/>
                    </a:cubicBezTo>
                    <a:cubicBezTo>
                      <a:pt x="72" y="129"/>
                      <a:pt x="72" y="129"/>
                      <a:pt x="72" y="129"/>
                    </a:cubicBezTo>
                    <a:cubicBezTo>
                      <a:pt x="74" y="129"/>
                      <a:pt x="75" y="128"/>
                      <a:pt x="76" y="126"/>
                    </a:cubicBezTo>
                    <a:cubicBezTo>
                      <a:pt x="84" y="111"/>
                      <a:pt x="84" y="111"/>
                      <a:pt x="84" y="111"/>
                    </a:cubicBezTo>
                    <a:cubicBezTo>
                      <a:pt x="99" y="116"/>
                      <a:pt x="99" y="116"/>
                      <a:pt x="99" y="116"/>
                    </a:cubicBezTo>
                    <a:cubicBezTo>
                      <a:pt x="101" y="117"/>
                      <a:pt x="103" y="117"/>
                      <a:pt x="105" y="115"/>
                    </a:cubicBezTo>
                    <a:cubicBezTo>
                      <a:pt x="115" y="105"/>
                      <a:pt x="115" y="105"/>
                      <a:pt x="115" y="105"/>
                    </a:cubicBezTo>
                    <a:cubicBezTo>
                      <a:pt x="116" y="104"/>
                      <a:pt x="117" y="101"/>
                      <a:pt x="116" y="100"/>
                    </a:cubicBezTo>
                    <a:lnTo>
                      <a:pt x="111" y="84"/>
                    </a:lnTo>
                    <a:close/>
                    <a:moveTo>
                      <a:pt x="94" y="64"/>
                    </a:moveTo>
                    <a:cubicBezTo>
                      <a:pt x="94" y="81"/>
                      <a:pt x="81" y="94"/>
                      <a:pt x="64" y="94"/>
                    </a:cubicBezTo>
                    <a:cubicBezTo>
                      <a:pt x="48" y="94"/>
                      <a:pt x="34" y="81"/>
                      <a:pt x="34" y="64"/>
                    </a:cubicBezTo>
                    <a:cubicBezTo>
                      <a:pt x="34" y="48"/>
                      <a:pt x="48" y="34"/>
                      <a:pt x="64" y="34"/>
                    </a:cubicBezTo>
                    <a:cubicBezTo>
                      <a:pt x="81" y="34"/>
                      <a:pt x="94" y="48"/>
                      <a:pt x="94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853" tIns="28927" rIns="57853" bIns="28927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139">
                  <a:solidFill>
                    <a:prstClr val="black"/>
                  </a:solidFill>
                  <a:latin typeface="Times New Roman" charset="0"/>
                </a:endParaRPr>
              </a:p>
            </p:txBody>
          </p:sp>
        </p:grpSp>
        <p:sp>
          <p:nvSpPr>
            <p:cNvPr id="79" name="Freeform 29"/>
            <p:cNvSpPr>
              <a:spLocks/>
            </p:cNvSpPr>
            <p:nvPr/>
          </p:nvSpPr>
          <p:spPr bwMode="auto">
            <a:xfrm>
              <a:off x="5221492" y="-1433040"/>
              <a:ext cx="1704635" cy="423249"/>
            </a:xfrm>
            <a:custGeom>
              <a:avLst/>
              <a:gdLst>
                <a:gd name="T0" fmla="*/ 439 w 439"/>
                <a:gd name="T1" fmla="*/ 109 h 109"/>
                <a:gd name="T2" fmla="*/ 439 w 439"/>
                <a:gd name="T3" fmla="*/ 71 h 109"/>
                <a:gd name="T4" fmla="*/ 245 w 439"/>
                <a:gd name="T5" fmla="*/ 0 h 109"/>
                <a:gd name="T6" fmla="*/ 192 w 439"/>
                <a:gd name="T7" fmla="*/ 0 h 109"/>
                <a:gd name="T8" fmla="*/ 0 w 439"/>
                <a:gd name="T9" fmla="*/ 71 h 109"/>
                <a:gd name="T10" fmla="*/ 0 w 439"/>
                <a:gd name="T11" fmla="*/ 109 h 109"/>
                <a:gd name="T12" fmla="*/ 27 w 439"/>
                <a:gd name="T13" fmla="*/ 109 h 109"/>
                <a:gd name="T14" fmla="*/ 413 w 439"/>
                <a:gd name="T15" fmla="*/ 109 h 109"/>
                <a:gd name="T16" fmla="*/ 439 w 439"/>
                <a:gd name="T17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9" h="109">
                  <a:moveTo>
                    <a:pt x="439" y="109"/>
                  </a:moveTo>
                  <a:lnTo>
                    <a:pt x="439" y="71"/>
                  </a:lnTo>
                  <a:lnTo>
                    <a:pt x="245" y="0"/>
                  </a:lnTo>
                  <a:lnTo>
                    <a:pt x="192" y="0"/>
                  </a:lnTo>
                  <a:lnTo>
                    <a:pt x="0" y="71"/>
                  </a:lnTo>
                  <a:lnTo>
                    <a:pt x="0" y="109"/>
                  </a:lnTo>
                  <a:lnTo>
                    <a:pt x="27" y="109"/>
                  </a:lnTo>
                  <a:lnTo>
                    <a:pt x="413" y="109"/>
                  </a:lnTo>
                  <a:lnTo>
                    <a:pt x="439" y="109"/>
                  </a:lnTo>
                  <a:close/>
                </a:path>
              </a:pathLst>
            </a:custGeom>
            <a:solidFill>
              <a:srgbClr val="7F7F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57853" tIns="28927" rIns="57853" bIns="28927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139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81" name="Freeform 34"/>
            <p:cNvSpPr>
              <a:spLocks/>
            </p:cNvSpPr>
            <p:nvPr/>
          </p:nvSpPr>
          <p:spPr bwMode="auto">
            <a:xfrm>
              <a:off x="5215485" y="-941033"/>
              <a:ext cx="1719213" cy="897916"/>
            </a:xfrm>
            <a:custGeom>
              <a:avLst/>
              <a:gdLst>
                <a:gd name="T0" fmla="*/ 156 w 161"/>
                <a:gd name="T1" fmla="*/ 89 h 89"/>
                <a:gd name="T2" fmla="*/ 161 w 161"/>
                <a:gd name="T3" fmla="*/ 84 h 89"/>
                <a:gd name="T4" fmla="*/ 161 w 161"/>
                <a:gd name="T5" fmla="*/ 0 h 89"/>
                <a:gd name="T6" fmla="*/ 0 w 161"/>
                <a:gd name="T7" fmla="*/ 0 h 89"/>
                <a:gd name="T8" fmla="*/ 0 w 161"/>
                <a:gd name="T9" fmla="*/ 84 h 89"/>
                <a:gd name="T10" fmla="*/ 5 w 161"/>
                <a:gd name="T11" fmla="*/ 89 h 89"/>
                <a:gd name="T12" fmla="*/ 24 w 161"/>
                <a:gd name="T13" fmla="*/ 89 h 89"/>
                <a:gd name="T14" fmla="*/ 24 w 161"/>
                <a:gd name="T15" fmla="*/ 9 h 89"/>
                <a:gd name="T16" fmla="*/ 137 w 161"/>
                <a:gd name="T17" fmla="*/ 9 h 89"/>
                <a:gd name="T18" fmla="*/ 137 w 161"/>
                <a:gd name="T1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89">
                  <a:moveTo>
                    <a:pt x="156" y="89"/>
                  </a:moveTo>
                  <a:cubicBezTo>
                    <a:pt x="159" y="89"/>
                    <a:pt x="161" y="87"/>
                    <a:pt x="161" y="84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7"/>
                    <a:pt x="2" y="89"/>
                    <a:pt x="5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7" y="89"/>
                    <a:pt x="137" y="89"/>
                    <a:pt x="137" y="89"/>
                  </a:cubicBezTo>
                </a:path>
              </a:pathLst>
            </a:custGeom>
            <a:solidFill>
              <a:srgbClr val="7F7F7F"/>
            </a:solidFill>
            <a:ln>
              <a:noFill/>
            </a:ln>
          </p:spPr>
          <p:txBody>
            <a:bodyPr vert="horz" wrap="square" lIns="57853" tIns="28927" rIns="57853" bIns="28927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139">
                <a:solidFill>
                  <a:prstClr val="black"/>
                </a:solidFill>
                <a:latin typeface="Times New Roman" charset="0"/>
              </a:endParaRPr>
            </a:p>
          </p:txBody>
        </p:sp>
      </p:grpSp>
      <p:sp>
        <p:nvSpPr>
          <p:cNvPr id="7" name="Блок-схема: процесс 6"/>
          <p:cNvSpPr/>
          <p:nvPr/>
        </p:nvSpPr>
        <p:spPr>
          <a:xfrm>
            <a:off x="-5565" y="4024542"/>
            <a:ext cx="2855844" cy="286059"/>
          </a:xfrm>
          <a:prstGeom prst="flowChartProcess">
            <a:avLst/>
          </a:prstGeom>
          <a:solidFill>
            <a:srgbClr val="5B9BD5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8" name="Блок-схема: данные 7"/>
          <p:cNvSpPr/>
          <p:nvPr/>
        </p:nvSpPr>
        <p:spPr>
          <a:xfrm>
            <a:off x="2383517" y="4027698"/>
            <a:ext cx="899989" cy="297807"/>
          </a:xfrm>
          <a:prstGeom prst="flowChartInputOutput">
            <a:avLst/>
          </a:prstGeom>
          <a:solidFill>
            <a:srgbClr val="5B9BD5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4015040"/>
            <a:ext cx="27243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>
                <a:solidFill>
                  <a:prstClr val="white"/>
                </a:solidFill>
                <a:latin typeface="Arial "/>
              </a:rPr>
              <a:t> ХАРАКТЕРИСТИКИ СКЛАДА</a:t>
            </a:r>
            <a:endParaRPr lang="ru-RU" sz="1400" b="1" dirty="0">
              <a:solidFill>
                <a:prstClr val="white"/>
              </a:solidFill>
              <a:latin typeface="Arial 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730754" y="3429545"/>
            <a:ext cx="755812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Arial "/>
              </a:rPr>
              <a:t>МНОГОФУНКЦИОНАЛЬНЫЙ СКЛАД КЛАССА «А»</a:t>
            </a:r>
          </a:p>
        </p:txBody>
      </p:sp>
      <p:pic>
        <p:nvPicPr>
          <p:cNvPr id="54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0" r="100000">
                        <a14:foregroundMark x1="13158" y1="9211" x2="81579" y2="92105"/>
                        <a14:foregroundMark x1="13158" y1="90789" x2="90789" y2="13158"/>
                        <a14:backgroundMark x1="93421" y1="5263" x2="93421" y2="5263"/>
                        <a14:backgroundMark x1="3947" y1="5263" x2="3947" y2="5263"/>
                        <a14:backgroundMark x1="3947" y1="94737" x2="3947" y2="94737"/>
                        <a14:backgroundMark x1="94737" y1="94737" x2="94737" y2="947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7678" y="2162989"/>
            <a:ext cx="161919" cy="160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" name="Picture 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0" b="100000" l="0" r="100000">
                        <a14:foregroundMark x1="12987" y1="12987" x2="88312" y2="12987"/>
                        <a14:foregroundMark x1="92208" y1="18182" x2="90909" y2="76623"/>
                        <a14:foregroundMark x1="89610" y1="80519" x2="12987" y2="79221"/>
                        <a14:foregroundMark x1="12987" y1="79221" x2="12987" y2="79221"/>
                        <a14:backgroundMark x1="2597" y1="3896" x2="2597" y2="3896"/>
                        <a14:backgroundMark x1="97403" y1="3896" x2="97403" y2="3896"/>
                        <a14:backgroundMark x1="96104" y1="94805" x2="96104" y2="94805"/>
                        <a14:backgroundMark x1="2597" y1="96104" x2="2597" y2="9610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789" y="2162989"/>
            <a:ext cx="164739" cy="160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8817660" y="843953"/>
            <a:ext cx="317295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79801" defTabSz="151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E7E6E6">
                    <a:lumMod val="50000"/>
                  </a:srgbClr>
                </a:solidFill>
                <a:cs typeface="Arial"/>
              </a:rPr>
              <a:t>630088, </a:t>
            </a:r>
            <a:r>
              <a:rPr lang="ru-RU" sz="1400" dirty="0" err="1">
                <a:solidFill>
                  <a:srgbClr val="E7E6E6">
                    <a:lumMod val="50000"/>
                  </a:srgbClr>
                </a:solidFill>
                <a:cs typeface="Arial"/>
              </a:rPr>
              <a:t>Россия,Новосибирск</a:t>
            </a:r>
            <a:r>
              <a:rPr lang="ru-RU" sz="1400" dirty="0">
                <a:solidFill>
                  <a:srgbClr val="E7E6E6">
                    <a:lumMod val="50000"/>
                  </a:srgbClr>
                </a:solidFill>
                <a:cs typeface="Arial"/>
              </a:rPr>
              <a:t>,</a:t>
            </a:r>
          </a:p>
          <a:p>
            <a:pPr marL="379801" defTabSz="151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E7E6E6">
                    <a:lumMod val="50000"/>
                  </a:srgbClr>
                </a:solidFill>
                <a:cs typeface="Arial"/>
              </a:rPr>
              <a:t>ул. Петухова, 71</a:t>
            </a:r>
            <a:endParaRPr lang="en-US" sz="1400" dirty="0">
              <a:solidFill>
                <a:srgbClr val="E7E6E6">
                  <a:lumMod val="50000"/>
                </a:srgbClr>
              </a:solidFill>
              <a:cs typeface="Arial"/>
            </a:endParaRPr>
          </a:p>
          <a:p>
            <a:pPr marL="379801" defTabSz="151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u="sng" dirty="0">
                <a:solidFill>
                  <a:srgbClr val="E7E6E6">
                    <a:lumMod val="50000"/>
                  </a:srgbClr>
                </a:solidFill>
                <a:cs typeface="Arial"/>
              </a:rPr>
              <a:t>GPS </a:t>
            </a:r>
            <a:r>
              <a:rPr lang="ru-RU" sz="1400" u="sng" dirty="0">
                <a:solidFill>
                  <a:srgbClr val="E7E6E6">
                    <a:lumMod val="50000"/>
                  </a:srgbClr>
                </a:solidFill>
                <a:cs typeface="Arial"/>
              </a:rPr>
              <a:t>координаты:</a:t>
            </a:r>
          </a:p>
          <a:p>
            <a:pPr marL="379801" defTabSz="151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E7E6E6">
                    <a:lumMod val="50000"/>
                  </a:srgbClr>
                </a:solidFill>
                <a:cs typeface="Arial"/>
              </a:rPr>
              <a:t>Широта 54°56′31″N  (54.941914)</a:t>
            </a:r>
          </a:p>
          <a:p>
            <a:pPr marL="379801" defTabSz="15133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E7E6E6">
                    <a:lumMod val="50000"/>
                  </a:srgbClr>
                </a:solidFill>
                <a:cs typeface="Arial"/>
              </a:rPr>
              <a:t>Долгота	82°55′1″E (82.916931)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1500" dirty="0">
              <a:solidFill>
                <a:prstClr val="black"/>
              </a:solidFill>
              <a:ea typeface="Segoe UI Symbo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37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8629569" y="5733255"/>
            <a:ext cx="3371087" cy="6230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647727" y="4849613"/>
            <a:ext cx="8487283" cy="151216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" y="3645024"/>
            <a:ext cx="12216680" cy="321297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776" y="5805264"/>
            <a:ext cx="793883" cy="6391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8" name="Espace réservé du texte 84"/>
          <p:cNvSpPr>
            <a:spLocks noGrp="1"/>
          </p:cNvSpPr>
          <p:nvPr>
            <p:ph type="body" sz="quarter" idx="73"/>
          </p:nvPr>
        </p:nvSpPr>
        <p:spPr>
          <a:xfrm>
            <a:off x="9157100" y="3601600"/>
            <a:ext cx="2700000" cy="2295217"/>
          </a:xfrm>
          <a:solidFill>
            <a:srgbClr val="E7E7E7"/>
          </a:solidFill>
        </p:spPr>
        <p:txBody>
          <a:bodyPr>
            <a:normAutofit/>
          </a:bodyPr>
          <a:lstStyle/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5338" algn="l"/>
                <a:tab pos="1062038" algn="l"/>
              </a:tabLst>
            </a:pPr>
            <a:r>
              <a:rPr lang="en-US" sz="1100" b="1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Beiersdorf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(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BDF)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с 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20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10 года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5338" algn="l"/>
                <a:tab pos="1062038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Группа товаров: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косметическая продукция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5338" algn="l"/>
                <a:tab pos="1062038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Деятельность: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складская, транспортная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логистика</a:t>
            </a:r>
            <a:endParaRPr lang="en-US" sz="1100" dirty="0" smtClean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5338" algn="l"/>
                <a:tab pos="1062038" algn="l"/>
              </a:tabLst>
            </a:pPr>
            <a:endParaRPr lang="ru-RU" sz="1100" b="1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endParaRPr lang="ru-RU" sz="1100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endParaRPr lang="fr-FR" dirty="0"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09600" y="1710467"/>
            <a:ext cx="2318047" cy="1586432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82" name="Espace réservé du texte 81"/>
          <p:cNvSpPr>
            <a:spLocks noGrp="1"/>
          </p:cNvSpPr>
          <p:nvPr>
            <p:ph type="body" sz="quarter" idx="70"/>
          </p:nvPr>
        </p:nvSpPr>
        <p:spPr>
          <a:xfrm>
            <a:off x="199118" y="3601601"/>
            <a:ext cx="2700000" cy="2295216"/>
          </a:xfrm>
          <a:solidFill>
            <a:srgbClr val="E7E7E7"/>
          </a:solidFill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IKEA, с </a:t>
            </a:r>
            <a:r>
              <a:rPr lang="ru-RU" dirty="0" smtClean="0">
                <a:solidFill>
                  <a:schemeClr val="bg2">
                    <a:lumMod val="25000"/>
                  </a:schemeClr>
                </a:solidFill>
              </a:rPr>
              <a:t>2014:</a:t>
            </a:r>
            <a:r>
              <a:rPr lang="ru-RU" b="0" dirty="0" smtClean="0"/>
              <a:t>:</a:t>
            </a:r>
            <a:endParaRPr lang="ru-RU" b="0" dirty="0"/>
          </a:p>
          <a:p>
            <a:pPr marL="0" indent="0">
              <a:buNone/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Группа товаров: 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мебель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</a:rPr>
              <a:t>Деятельность : </a:t>
            </a:r>
            <a:r>
              <a:rPr lang="ru-RU" sz="1100" b="0" dirty="0">
                <a:solidFill>
                  <a:schemeClr val="bg2">
                    <a:lumMod val="25000"/>
                  </a:schemeClr>
                </a:solidFill>
              </a:rPr>
              <a:t>складское хранение, транспортная </a:t>
            </a:r>
            <a:r>
              <a:rPr lang="ru-RU" sz="1100" b="0" dirty="0" smtClean="0">
                <a:solidFill>
                  <a:schemeClr val="bg2">
                    <a:lumMod val="25000"/>
                  </a:schemeClr>
                </a:solidFill>
              </a:rPr>
              <a:t>логистика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en-US" sz="1100" b="1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Metro </a:t>
            </a:r>
            <a:r>
              <a:rPr lang="en-US" sz="1100" b="1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Cash&amp;Carry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с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20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1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5</a:t>
            </a:r>
            <a:r>
              <a:rPr lang="fr-FR" sz="1100" b="1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  <a:endParaRPr lang="ru-RU" sz="1100" b="1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Группа товаров :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FMCG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Деятельность :</a:t>
            </a:r>
            <a:r>
              <a:rPr lang="en-GB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кросс-</a:t>
            </a:r>
            <a:r>
              <a:rPr lang="ru-RU" sz="1100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докинг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транспортная логистика</a:t>
            </a:r>
          </a:p>
          <a:p>
            <a:pPr marL="0" indent="0">
              <a:buNone/>
            </a:pPr>
            <a:r>
              <a:rPr lang="en-US" dirty="0">
                <a:solidFill>
                  <a:schemeClr val="bg2">
                    <a:lumMod val="25000"/>
                  </a:schemeClr>
                </a:solidFill>
              </a:rPr>
              <a:t>Decathlon, 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с 2016 года</a:t>
            </a:r>
            <a:r>
              <a:rPr lang="en-US" dirty="0" smtClean="0">
                <a:solidFill>
                  <a:schemeClr val="bg2">
                    <a:lumMod val="25000"/>
                  </a:schemeClr>
                </a:solidFill>
              </a:rPr>
              <a:t>:</a:t>
            </a:r>
            <a:endParaRPr lang="ru-RU" dirty="0" smtClean="0">
              <a:solidFill>
                <a:schemeClr val="bg2">
                  <a:lumMod val="25000"/>
                </a:schemeClr>
              </a:solidFill>
            </a:endParaRPr>
          </a:p>
          <a:p>
            <a:pPr marL="0" indent="0">
              <a:buNone/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Группа товаров: </a:t>
            </a:r>
            <a:r>
              <a:rPr lang="ru-RU" b="0" dirty="0" smtClean="0">
                <a:solidFill>
                  <a:schemeClr val="bg2">
                    <a:lumMod val="25000"/>
                  </a:schemeClr>
                </a:solidFill>
              </a:rPr>
              <a:t>спортивные товары</a:t>
            </a:r>
            <a:endParaRPr lang="ru-RU" b="0" dirty="0">
              <a:solidFill>
                <a:schemeClr val="bg2">
                  <a:lumMod val="25000"/>
                </a:schemeClr>
              </a:solidFill>
            </a:endParaRP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</a:rPr>
              <a:t>Деятельность :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</a:rPr>
              <a:t>кросс-</a:t>
            </a:r>
            <a:r>
              <a:rPr lang="ru-RU" sz="1100" dirty="0" err="1" smtClean="0">
                <a:solidFill>
                  <a:schemeClr val="bg2">
                    <a:lumMod val="25000"/>
                  </a:schemeClr>
                </a:solidFill>
              </a:rPr>
              <a:t>докинг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</a:rPr>
              <a:t>, складское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</a:rPr>
              <a:t>хранение, транспортная логистика</a:t>
            </a:r>
            <a:endParaRPr lang="ru-RU" b="0" dirty="0">
              <a:solidFill>
                <a:schemeClr val="bg2">
                  <a:lumMod val="25000"/>
                </a:schemeClr>
              </a:solidFill>
            </a:endParaRPr>
          </a:p>
          <a:p>
            <a:endParaRPr lang="fr-FR" dirty="0"/>
          </a:p>
        </p:txBody>
      </p:sp>
      <p:sp>
        <p:nvSpPr>
          <p:cNvPr id="84" name="Espace réservé du texte 83"/>
          <p:cNvSpPr>
            <a:spLocks noGrp="1"/>
          </p:cNvSpPr>
          <p:nvPr>
            <p:ph type="body" sz="quarter" idx="72"/>
          </p:nvPr>
        </p:nvSpPr>
        <p:spPr>
          <a:xfrm>
            <a:off x="3217164" y="3601601"/>
            <a:ext cx="2700000" cy="2295216"/>
          </a:xfrm>
          <a:solidFill>
            <a:srgbClr val="E7E7E7"/>
          </a:solidFill>
        </p:spPr>
        <p:txBody>
          <a:bodyPr>
            <a:normAutofit/>
          </a:bodyPr>
          <a:lstStyle/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Royal </a:t>
            </a:r>
            <a:r>
              <a:rPr lang="en-US" sz="1100" b="1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Canin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с 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20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1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3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года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Группа товаров: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корм для животных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Деятельность:</a:t>
            </a:r>
            <a:r>
              <a:rPr lang="en-GB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хранение, полное складское обслуживание</a:t>
            </a:r>
          </a:p>
          <a:p>
            <a:endParaRPr lang="fr-FR" dirty="0"/>
          </a:p>
        </p:txBody>
      </p:sp>
      <p:sp>
        <p:nvSpPr>
          <p:cNvPr id="85" name="Espace réservé du texte 84"/>
          <p:cNvSpPr>
            <a:spLocks noGrp="1"/>
          </p:cNvSpPr>
          <p:nvPr>
            <p:ph type="body" sz="quarter" idx="73"/>
          </p:nvPr>
        </p:nvSpPr>
        <p:spPr>
          <a:xfrm>
            <a:off x="6123743" y="3601601"/>
            <a:ext cx="2767499" cy="2305531"/>
          </a:xfrm>
          <a:solidFill>
            <a:srgbClr val="E7E7E7"/>
          </a:solidFill>
        </p:spPr>
        <p:txBody>
          <a:bodyPr lIns="36000" rIns="0">
            <a:noAutofit/>
          </a:bodyPr>
          <a:lstStyle/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BOSCH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с 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20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10 года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Группа товаров: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запчасти для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сервисных центров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электроинструменты</a:t>
            </a:r>
            <a:endParaRPr lang="ru-RU" sz="1100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Деятельность:</a:t>
            </a:r>
            <a:r>
              <a:rPr lang="en-GB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складская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и транспортная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логистика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Atlantic Niemen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с 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20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1</a:t>
            </a:r>
            <a:r>
              <a:rPr lang="en-US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5</a:t>
            </a:r>
            <a:r>
              <a:rPr lang="fr-FR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Группа товаров: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Водонагреватели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бойлеры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endParaRPr lang="ru-RU" sz="1100" dirty="0" smtClean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r>
              <a:rPr lang="ru-RU" sz="1100" b="1" dirty="0" smtClean="0">
                <a:solidFill>
                  <a:schemeClr val="bg2">
                    <a:lumMod val="25000"/>
                  </a:schemeClr>
                </a:solidFill>
                <a:latin typeface="+mn-lt"/>
              </a:rPr>
              <a:t>Деятельность</a:t>
            </a:r>
            <a:r>
              <a:rPr lang="ru-RU" sz="1100" b="1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складское хранение, транспортная логистика</a:t>
            </a:r>
          </a:p>
          <a:p>
            <a:pPr marL="0" lvl="2" indent="0" defTabSz="737022">
              <a:lnSpc>
                <a:spcPct val="115000"/>
              </a:lnSpc>
              <a:spcBef>
                <a:spcPct val="10000"/>
              </a:spcBef>
              <a:buClr>
                <a:srgbClr val="1554A1"/>
              </a:buClr>
              <a:buSzPct val="150000"/>
              <a:buNone/>
              <a:tabLst>
                <a:tab pos="796542" algn="l"/>
              </a:tabLst>
            </a:pPr>
            <a:endParaRPr lang="ru-RU" sz="1100" dirty="0">
              <a:solidFill>
                <a:schemeClr val="bg2">
                  <a:lumMod val="25000"/>
                </a:schemeClr>
              </a:solidFill>
              <a:latin typeface="Arial Narrow" pitchFamily="34" charset="0"/>
            </a:endParaRPr>
          </a:p>
          <a:p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292977FA-F99D-A649-AECE-A1C60C16E0A8}" type="slidenum">
              <a:rPr lang="fr-FR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9</a:t>
            </a:fld>
            <a:endParaRPr lang="fr-FR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735231" y="1726897"/>
            <a:ext cx="6312024" cy="157707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78034" y="1712645"/>
            <a:ext cx="3750014" cy="1584254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907952" y="690065"/>
            <a:ext cx="4107928" cy="783771"/>
            <a:chOff x="696685" y="576943"/>
            <a:chExt cx="2939144" cy="783771"/>
          </a:xfrm>
        </p:grpSpPr>
        <p:cxnSp>
          <p:nvCxnSpPr>
            <p:cNvPr id="46" name="Прямая соединительная линия 45"/>
            <p:cNvCxnSpPr/>
            <p:nvPr/>
          </p:nvCxnSpPr>
          <p:spPr>
            <a:xfrm>
              <a:off x="696685" y="576943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>
              <a:off x="696685" y="1360714"/>
              <a:ext cx="2939144" cy="0"/>
            </a:xfrm>
            <a:prstGeom prst="line">
              <a:avLst/>
            </a:prstGeom>
            <a:ln>
              <a:solidFill>
                <a:srgbClr val="3E9A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797055" y="690065"/>
            <a:ext cx="3864969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/>
                </a:solidFill>
                <a:ea typeface="Arial" charset="0"/>
                <a:cs typeface="Arial" charset="0"/>
              </a:rPr>
              <a:t>FM LOGISTIC</a:t>
            </a:r>
            <a:r>
              <a:rPr lang="ru-RU" sz="2000" dirty="0">
                <a:solidFill>
                  <a:prstClr val="black"/>
                </a:solidFill>
                <a:ea typeface="Arial" charset="0"/>
                <a:cs typeface="Arial" charset="0"/>
              </a:rPr>
              <a:t> НОВОСИБИРСК</a:t>
            </a:r>
            <a:endParaRPr lang="en-US" sz="2000" dirty="0">
              <a:solidFill>
                <a:prstClr val="black"/>
              </a:solidFill>
              <a:ea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3000" b="1" dirty="0">
                <a:solidFill>
                  <a:srgbClr val="3E9ACC"/>
                </a:solidFill>
                <a:ea typeface="Arial" charset="0"/>
                <a:cs typeface="Arial" charset="0"/>
              </a:rPr>
              <a:t>НАШИ КЛИЕНТЫ</a:t>
            </a:r>
          </a:p>
        </p:txBody>
      </p:sp>
      <p:pic>
        <p:nvPicPr>
          <p:cNvPr id="4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312" y="5981204"/>
            <a:ext cx="1287588" cy="412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96" y="5946265"/>
            <a:ext cx="671450" cy="47419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354" y="1717421"/>
            <a:ext cx="2700000" cy="178833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401" y="1715770"/>
            <a:ext cx="2700000" cy="186049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716966"/>
            <a:ext cx="2700000" cy="167228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5" y="1710467"/>
            <a:ext cx="2700000" cy="1646525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792" y="5946482"/>
            <a:ext cx="1294062" cy="471084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Picture 7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008" y="6036971"/>
            <a:ext cx="1099138" cy="298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458" y="6062790"/>
            <a:ext cx="1099351" cy="246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-119473" y="3303853"/>
            <a:ext cx="12346681" cy="462326"/>
          </a:xfrm>
          <a:prstGeom prst="rect">
            <a:avLst/>
          </a:prstGeom>
          <a:solidFill>
            <a:srgbClr val="5B9BD5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91344" y="3381127"/>
            <a:ext cx="14911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</a:rPr>
              <a:t>Торговые сети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143672" y="3356992"/>
            <a:ext cx="2435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</a:rPr>
              <a:t>Пищевая продукция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096000" y="3255873"/>
            <a:ext cx="25968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</a:rPr>
              <a:t>Промышленна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</a:rPr>
              <a:t>продукция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9120336" y="3273464"/>
            <a:ext cx="17861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</a:rPr>
              <a:t>Средства личной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prstClr val="white"/>
                </a:solidFill>
              </a:rPr>
              <a:t>гигиены</a:t>
            </a:r>
          </a:p>
        </p:txBody>
      </p:sp>
      <p:pic>
        <p:nvPicPr>
          <p:cNvPr id="33" name="Image 9"/>
          <p:cNvPicPr>
            <a:picLocks noChangeAspect="1"/>
          </p:cNvPicPr>
          <p:nvPr/>
        </p:nvPicPr>
        <p:blipFill>
          <a:blip r:embed="rId14">
            <a:biLevel thresh="25000"/>
          </a:blip>
          <a:stretch>
            <a:fillRect/>
          </a:stretch>
        </p:blipFill>
        <p:spPr>
          <a:xfrm>
            <a:off x="5578802" y="3343081"/>
            <a:ext cx="301174" cy="376467"/>
          </a:xfrm>
          <a:prstGeom prst="rect">
            <a:avLst/>
          </a:prstGeom>
        </p:spPr>
      </p:pic>
      <p:grpSp>
        <p:nvGrpSpPr>
          <p:cNvPr id="34" name="Group 55"/>
          <p:cNvGrpSpPr>
            <a:grpSpLocks noChangeAspect="1"/>
          </p:cNvGrpSpPr>
          <p:nvPr/>
        </p:nvGrpSpPr>
        <p:grpSpPr bwMode="auto">
          <a:xfrm>
            <a:off x="11574095" y="3340086"/>
            <a:ext cx="225028" cy="346472"/>
            <a:chOff x="2139" y="774"/>
            <a:chExt cx="189" cy="291"/>
          </a:xfrm>
          <a:solidFill>
            <a:srgbClr val="FFFFFF"/>
          </a:solidFill>
        </p:grpSpPr>
        <p:sp>
          <p:nvSpPr>
            <p:cNvPr id="35" name="Freeform 56"/>
            <p:cNvSpPr>
              <a:spLocks/>
            </p:cNvSpPr>
            <p:nvPr/>
          </p:nvSpPr>
          <p:spPr bwMode="auto">
            <a:xfrm>
              <a:off x="2180" y="788"/>
              <a:ext cx="62" cy="38"/>
            </a:xfrm>
            <a:custGeom>
              <a:avLst/>
              <a:gdLst>
                <a:gd name="T0" fmla="*/ 230 w 285"/>
                <a:gd name="T1" fmla="*/ 87 h 174"/>
                <a:gd name="T2" fmla="*/ 285 w 285"/>
                <a:gd name="T3" fmla="*/ 31 h 174"/>
                <a:gd name="T4" fmla="*/ 285 w 285"/>
                <a:gd name="T5" fmla="*/ 0 h 174"/>
                <a:gd name="T6" fmla="*/ 0 w 285"/>
                <a:gd name="T7" fmla="*/ 0 h 174"/>
                <a:gd name="T8" fmla="*/ 0 w 285"/>
                <a:gd name="T9" fmla="*/ 174 h 174"/>
                <a:gd name="T10" fmla="*/ 285 w 285"/>
                <a:gd name="T11" fmla="*/ 174 h 174"/>
                <a:gd name="T12" fmla="*/ 285 w 285"/>
                <a:gd name="T13" fmla="*/ 142 h 174"/>
                <a:gd name="T14" fmla="*/ 230 w 285"/>
                <a:gd name="T15" fmla="*/ 87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5" h="174">
                  <a:moveTo>
                    <a:pt x="230" y="87"/>
                  </a:moveTo>
                  <a:cubicBezTo>
                    <a:pt x="230" y="56"/>
                    <a:pt x="255" y="31"/>
                    <a:pt x="285" y="31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285" y="174"/>
                    <a:pt x="285" y="174"/>
                    <a:pt x="285" y="174"/>
                  </a:cubicBezTo>
                  <a:cubicBezTo>
                    <a:pt x="285" y="142"/>
                    <a:pt x="285" y="142"/>
                    <a:pt x="285" y="142"/>
                  </a:cubicBezTo>
                  <a:cubicBezTo>
                    <a:pt x="255" y="142"/>
                    <a:pt x="230" y="117"/>
                    <a:pt x="230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900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36" name="Freeform 57"/>
            <p:cNvSpPr>
              <a:spLocks/>
            </p:cNvSpPr>
            <p:nvPr/>
          </p:nvSpPr>
          <p:spPr bwMode="auto">
            <a:xfrm>
              <a:off x="2247" y="774"/>
              <a:ext cx="81" cy="67"/>
            </a:xfrm>
            <a:custGeom>
              <a:avLst/>
              <a:gdLst>
                <a:gd name="T0" fmla="*/ 0 w 368"/>
                <a:gd name="T1" fmla="*/ 152 h 303"/>
                <a:gd name="T2" fmla="*/ 184 w 368"/>
                <a:gd name="T3" fmla="*/ 76 h 303"/>
                <a:gd name="T4" fmla="*/ 368 w 368"/>
                <a:gd name="T5" fmla="*/ 0 h 303"/>
                <a:gd name="T6" fmla="*/ 368 w 368"/>
                <a:gd name="T7" fmla="*/ 303 h 303"/>
                <a:gd name="T8" fmla="*/ 184 w 368"/>
                <a:gd name="T9" fmla="*/ 227 h 303"/>
                <a:gd name="T10" fmla="*/ 0 w 368"/>
                <a:gd name="T11" fmla="*/ 152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8" h="303">
                  <a:moveTo>
                    <a:pt x="0" y="152"/>
                  </a:moveTo>
                  <a:cubicBezTo>
                    <a:pt x="184" y="76"/>
                    <a:pt x="184" y="76"/>
                    <a:pt x="184" y="76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339" y="187"/>
                    <a:pt x="338" y="112"/>
                    <a:pt x="368" y="303"/>
                  </a:cubicBezTo>
                  <a:cubicBezTo>
                    <a:pt x="184" y="227"/>
                    <a:pt x="184" y="227"/>
                    <a:pt x="184" y="227"/>
                  </a:cubicBez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900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37" name="Freeform 58"/>
            <p:cNvSpPr>
              <a:spLocks noEditPoints="1"/>
            </p:cNvSpPr>
            <p:nvPr/>
          </p:nvSpPr>
          <p:spPr bwMode="auto">
            <a:xfrm>
              <a:off x="2139" y="839"/>
              <a:ext cx="144" cy="226"/>
            </a:xfrm>
            <a:custGeom>
              <a:avLst/>
              <a:gdLst>
                <a:gd name="T0" fmla="*/ 524 w 657"/>
                <a:gd name="T1" fmla="*/ 143 h 1026"/>
                <a:gd name="T2" fmla="*/ 524 w 657"/>
                <a:gd name="T3" fmla="*/ 0 h 1026"/>
                <a:gd name="T4" fmla="*/ 134 w 657"/>
                <a:gd name="T5" fmla="*/ 0 h 1026"/>
                <a:gd name="T6" fmla="*/ 134 w 657"/>
                <a:gd name="T7" fmla="*/ 143 h 1026"/>
                <a:gd name="T8" fmla="*/ 0 w 657"/>
                <a:gd name="T9" fmla="*/ 300 h 1026"/>
                <a:gd name="T10" fmla="*/ 0 w 657"/>
                <a:gd name="T11" fmla="*/ 485 h 1026"/>
                <a:gd name="T12" fmla="*/ 0 w 657"/>
                <a:gd name="T13" fmla="*/ 795 h 1026"/>
                <a:gd name="T14" fmla="*/ 0 w 657"/>
                <a:gd name="T15" fmla="*/ 997 h 1026"/>
                <a:gd name="T16" fmla="*/ 40 w 657"/>
                <a:gd name="T17" fmla="*/ 1026 h 1026"/>
                <a:gd name="T18" fmla="*/ 618 w 657"/>
                <a:gd name="T19" fmla="*/ 1026 h 1026"/>
                <a:gd name="T20" fmla="*/ 657 w 657"/>
                <a:gd name="T21" fmla="*/ 997 h 1026"/>
                <a:gd name="T22" fmla="*/ 657 w 657"/>
                <a:gd name="T23" fmla="*/ 795 h 1026"/>
                <a:gd name="T24" fmla="*/ 657 w 657"/>
                <a:gd name="T25" fmla="*/ 485 h 1026"/>
                <a:gd name="T26" fmla="*/ 657 w 657"/>
                <a:gd name="T27" fmla="*/ 300 h 1026"/>
                <a:gd name="T28" fmla="*/ 524 w 657"/>
                <a:gd name="T29" fmla="*/ 143 h 1026"/>
                <a:gd name="T30" fmla="*/ 114 w 657"/>
                <a:gd name="T31" fmla="*/ 961 h 1026"/>
                <a:gd name="T32" fmla="*/ 74 w 657"/>
                <a:gd name="T33" fmla="*/ 937 h 1026"/>
                <a:gd name="T34" fmla="*/ 74 w 657"/>
                <a:gd name="T35" fmla="*/ 768 h 1026"/>
                <a:gd name="T36" fmla="*/ 74 w 657"/>
                <a:gd name="T37" fmla="*/ 507 h 1026"/>
                <a:gd name="T38" fmla="*/ 74 w 657"/>
                <a:gd name="T39" fmla="*/ 353 h 1026"/>
                <a:gd name="T40" fmla="*/ 207 w 657"/>
                <a:gd name="T41" fmla="*/ 221 h 1026"/>
                <a:gd name="T42" fmla="*/ 114 w 657"/>
                <a:gd name="T43" fmla="*/ 961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7" h="1026">
                  <a:moveTo>
                    <a:pt x="524" y="143"/>
                  </a:moveTo>
                  <a:cubicBezTo>
                    <a:pt x="524" y="0"/>
                    <a:pt x="524" y="0"/>
                    <a:pt x="524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4" y="143"/>
                    <a:pt x="134" y="143"/>
                    <a:pt x="134" y="143"/>
                  </a:cubicBezTo>
                  <a:cubicBezTo>
                    <a:pt x="55" y="171"/>
                    <a:pt x="0" y="231"/>
                    <a:pt x="0" y="300"/>
                  </a:cubicBezTo>
                  <a:cubicBezTo>
                    <a:pt x="0" y="485"/>
                    <a:pt x="0" y="485"/>
                    <a:pt x="0" y="485"/>
                  </a:cubicBezTo>
                  <a:cubicBezTo>
                    <a:pt x="0" y="795"/>
                    <a:pt x="0" y="795"/>
                    <a:pt x="0" y="795"/>
                  </a:cubicBezTo>
                  <a:cubicBezTo>
                    <a:pt x="0" y="997"/>
                    <a:pt x="0" y="997"/>
                    <a:pt x="0" y="997"/>
                  </a:cubicBezTo>
                  <a:cubicBezTo>
                    <a:pt x="0" y="1013"/>
                    <a:pt x="18" y="1026"/>
                    <a:pt x="40" y="1026"/>
                  </a:cubicBezTo>
                  <a:cubicBezTo>
                    <a:pt x="618" y="1026"/>
                    <a:pt x="618" y="1026"/>
                    <a:pt x="618" y="1026"/>
                  </a:cubicBezTo>
                  <a:cubicBezTo>
                    <a:pt x="639" y="1026"/>
                    <a:pt x="657" y="1013"/>
                    <a:pt x="657" y="997"/>
                  </a:cubicBezTo>
                  <a:cubicBezTo>
                    <a:pt x="657" y="795"/>
                    <a:pt x="657" y="795"/>
                    <a:pt x="657" y="795"/>
                  </a:cubicBezTo>
                  <a:cubicBezTo>
                    <a:pt x="657" y="485"/>
                    <a:pt x="657" y="485"/>
                    <a:pt x="657" y="485"/>
                  </a:cubicBezTo>
                  <a:cubicBezTo>
                    <a:pt x="657" y="300"/>
                    <a:pt x="657" y="300"/>
                    <a:pt x="657" y="300"/>
                  </a:cubicBezTo>
                  <a:cubicBezTo>
                    <a:pt x="657" y="231"/>
                    <a:pt x="603" y="171"/>
                    <a:pt x="524" y="143"/>
                  </a:cubicBezTo>
                  <a:close/>
                  <a:moveTo>
                    <a:pt x="114" y="961"/>
                  </a:moveTo>
                  <a:cubicBezTo>
                    <a:pt x="92" y="961"/>
                    <a:pt x="74" y="950"/>
                    <a:pt x="74" y="937"/>
                  </a:cubicBezTo>
                  <a:cubicBezTo>
                    <a:pt x="74" y="768"/>
                    <a:pt x="74" y="768"/>
                    <a:pt x="74" y="768"/>
                  </a:cubicBezTo>
                  <a:cubicBezTo>
                    <a:pt x="74" y="507"/>
                    <a:pt x="74" y="507"/>
                    <a:pt x="74" y="507"/>
                  </a:cubicBezTo>
                  <a:cubicBezTo>
                    <a:pt x="74" y="353"/>
                    <a:pt x="74" y="353"/>
                    <a:pt x="74" y="353"/>
                  </a:cubicBezTo>
                  <a:cubicBezTo>
                    <a:pt x="74" y="295"/>
                    <a:pt x="129" y="245"/>
                    <a:pt x="207" y="221"/>
                  </a:cubicBezTo>
                  <a:cubicBezTo>
                    <a:pt x="102" y="298"/>
                    <a:pt x="108" y="672"/>
                    <a:pt x="114" y="9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900">
                <a:solidFill>
                  <a:prstClr val="black"/>
                </a:solidFill>
                <a:latin typeface="Times New Roman" charset="0"/>
              </a:endParaRPr>
            </a:p>
          </p:txBody>
        </p:sp>
      </p:grpSp>
      <p:grpSp>
        <p:nvGrpSpPr>
          <p:cNvPr id="38" name="Group 61"/>
          <p:cNvGrpSpPr>
            <a:grpSpLocks noChangeAspect="1"/>
          </p:cNvGrpSpPr>
          <p:nvPr/>
        </p:nvGrpSpPr>
        <p:grpSpPr bwMode="auto">
          <a:xfrm>
            <a:off x="2383668" y="3322346"/>
            <a:ext cx="399964" cy="385679"/>
            <a:chOff x="2079" y="1601"/>
            <a:chExt cx="252" cy="243"/>
          </a:xfrm>
          <a:solidFill>
            <a:srgbClr val="FFFFFF"/>
          </a:solidFill>
        </p:grpSpPr>
        <p:sp>
          <p:nvSpPr>
            <p:cNvPr id="39" name="Freeform 62"/>
            <p:cNvSpPr>
              <a:spLocks/>
            </p:cNvSpPr>
            <p:nvPr/>
          </p:nvSpPr>
          <p:spPr bwMode="auto">
            <a:xfrm>
              <a:off x="2129" y="1601"/>
              <a:ext cx="142" cy="118"/>
            </a:xfrm>
            <a:custGeom>
              <a:avLst/>
              <a:gdLst>
                <a:gd name="T0" fmla="*/ 2 w 42"/>
                <a:gd name="T1" fmla="*/ 33 h 35"/>
                <a:gd name="T2" fmla="*/ 7 w 42"/>
                <a:gd name="T3" fmla="*/ 33 h 35"/>
                <a:gd name="T4" fmla="*/ 20 w 42"/>
                <a:gd name="T5" fmla="*/ 20 h 35"/>
                <a:gd name="T6" fmla="*/ 20 w 42"/>
                <a:gd name="T7" fmla="*/ 20 h 35"/>
                <a:gd name="T8" fmla="*/ 22 w 42"/>
                <a:gd name="T9" fmla="*/ 20 h 35"/>
                <a:gd name="T10" fmla="*/ 23 w 42"/>
                <a:gd name="T11" fmla="*/ 20 h 35"/>
                <a:gd name="T12" fmla="*/ 36 w 42"/>
                <a:gd name="T13" fmla="*/ 33 h 35"/>
                <a:gd name="T14" fmla="*/ 41 w 42"/>
                <a:gd name="T15" fmla="*/ 33 h 35"/>
                <a:gd name="T16" fmla="*/ 41 w 42"/>
                <a:gd name="T17" fmla="*/ 33 h 35"/>
                <a:gd name="T18" fmla="*/ 41 w 42"/>
                <a:gd name="T19" fmla="*/ 28 h 35"/>
                <a:gd name="T20" fmla="*/ 25 w 42"/>
                <a:gd name="T21" fmla="*/ 11 h 35"/>
                <a:gd name="T22" fmla="*/ 25 w 42"/>
                <a:gd name="T23" fmla="*/ 4 h 35"/>
                <a:gd name="T24" fmla="*/ 21 w 42"/>
                <a:gd name="T25" fmla="*/ 0 h 35"/>
                <a:gd name="T26" fmla="*/ 18 w 42"/>
                <a:gd name="T27" fmla="*/ 4 h 35"/>
                <a:gd name="T28" fmla="*/ 18 w 42"/>
                <a:gd name="T29" fmla="*/ 12 h 35"/>
                <a:gd name="T30" fmla="*/ 2 w 42"/>
                <a:gd name="T31" fmla="*/ 28 h 35"/>
                <a:gd name="T32" fmla="*/ 2 w 42"/>
                <a:gd name="T3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35">
                  <a:moveTo>
                    <a:pt x="2" y="33"/>
                  </a:moveTo>
                  <a:cubicBezTo>
                    <a:pt x="3" y="35"/>
                    <a:pt x="6" y="35"/>
                    <a:pt x="7" y="33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1" y="20"/>
                    <a:pt x="21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7" y="35"/>
                    <a:pt x="39" y="35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2" y="31"/>
                    <a:pt x="42" y="29"/>
                    <a:pt x="41" y="28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2"/>
                    <a:pt x="23" y="0"/>
                    <a:pt x="21" y="0"/>
                  </a:cubicBezTo>
                  <a:cubicBezTo>
                    <a:pt x="19" y="0"/>
                    <a:pt x="18" y="2"/>
                    <a:pt x="18" y="4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0" y="29"/>
                    <a:pt x="0" y="31"/>
                    <a:pt x="2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900">
                <a:solidFill>
                  <a:prstClr val="black"/>
                </a:solidFill>
                <a:latin typeface="Times New Roman" charset="0"/>
              </a:endParaRPr>
            </a:p>
          </p:txBody>
        </p:sp>
        <p:sp>
          <p:nvSpPr>
            <p:cNvPr id="40" name="Freeform 63"/>
            <p:cNvSpPr>
              <a:spLocks noEditPoints="1"/>
            </p:cNvSpPr>
            <p:nvPr/>
          </p:nvSpPr>
          <p:spPr bwMode="auto">
            <a:xfrm>
              <a:off x="2079" y="1729"/>
              <a:ext cx="252" cy="115"/>
            </a:xfrm>
            <a:custGeom>
              <a:avLst/>
              <a:gdLst>
                <a:gd name="T0" fmla="*/ 62 w 75"/>
                <a:gd name="T1" fmla="*/ 31 h 34"/>
                <a:gd name="T2" fmla="*/ 74 w 75"/>
                <a:gd name="T3" fmla="*/ 7 h 34"/>
                <a:gd name="T4" fmla="*/ 74 w 75"/>
                <a:gd name="T5" fmla="*/ 2 h 34"/>
                <a:gd name="T6" fmla="*/ 70 w 75"/>
                <a:gd name="T7" fmla="*/ 0 h 34"/>
                <a:gd name="T8" fmla="*/ 5 w 75"/>
                <a:gd name="T9" fmla="*/ 0 h 34"/>
                <a:gd name="T10" fmla="*/ 1 w 75"/>
                <a:gd name="T11" fmla="*/ 2 h 34"/>
                <a:gd name="T12" fmla="*/ 0 w 75"/>
                <a:gd name="T13" fmla="*/ 7 h 34"/>
                <a:gd name="T14" fmla="*/ 13 w 75"/>
                <a:gd name="T15" fmla="*/ 31 h 34"/>
                <a:gd name="T16" fmla="*/ 17 w 75"/>
                <a:gd name="T17" fmla="*/ 34 h 34"/>
                <a:gd name="T18" fmla="*/ 57 w 75"/>
                <a:gd name="T19" fmla="*/ 34 h 34"/>
                <a:gd name="T20" fmla="*/ 62 w 75"/>
                <a:gd name="T21" fmla="*/ 31 h 34"/>
                <a:gd name="T22" fmla="*/ 29 w 75"/>
                <a:gd name="T23" fmla="*/ 23 h 34"/>
                <a:gd name="T24" fmla="*/ 29 w 75"/>
                <a:gd name="T25" fmla="*/ 23 h 34"/>
                <a:gd name="T26" fmla="*/ 25 w 75"/>
                <a:gd name="T27" fmla="*/ 23 h 34"/>
                <a:gd name="T28" fmla="*/ 14 w 75"/>
                <a:gd name="T29" fmla="*/ 12 h 34"/>
                <a:gd name="T30" fmla="*/ 14 w 75"/>
                <a:gd name="T31" fmla="*/ 8 h 34"/>
                <a:gd name="T32" fmla="*/ 14 w 75"/>
                <a:gd name="T33" fmla="*/ 8 h 34"/>
                <a:gd name="T34" fmla="*/ 18 w 75"/>
                <a:gd name="T35" fmla="*/ 8 h 34"/>
                <a:gd name="T36" fmla="*/ 29 w 75"/>
                <a:gd name="T37" fmla="*/ 19 h 34"/>
                <a:gd name="T38" fmla="*/ 29 w 75"/>
                <a:gd name="T39" fmla="*/ 23 h 34"/>
                <a:gd name="T40" fmla="*/ 44 w 75"/>
                <a:gd name="T41" fmla="*/ 23 h 34"/>
                <a:gd name="T42" fmla="*/ 44 w 75"/>
                <a:gd name="T43" fmla="*/ 23 h 34"/>
                <a:gd name="T44" fmla="*/ 40 w 75"/>
                <a:gd name="T45" fmla="*/ 23 h 34"/>
                <a:gd name="T46" fmla="*/ 29 w 75"/>
                <a:gd name="T47" fmla="*/ 12 h 34"/>
                <a:gd name="T48" fmla="*/ 29 w 75"/>
                <a:gd name="T49" fmla="*/ 8 h 34"/>
                <a:gd name="T50" fmla="*/ 29 w 75"/>
                <a:gd name="T51" fmla="*/ 8 h 34"/>
                <a:gd name="T52" fmla="*/ 33 w 75"/>
                <a:gd name="T53" fmla="*/ 8 h 34"/>
                <a:gd name="T54" fmla="*/ 44 w 75"/>
                <a:gd name="T55" fmla="*/ 19 h 34"/>
                <a:gd name="T56" fmla="*/ 44 w 75"/>
                <a:gd name="T57" fmla="*/ 23 h 34"/>
                <a:gd name="T58" fmla="*/ 55 w 75"/>
                <a:gd name="T59" fmla="*/ 23 h 34"/>
                <a:gd name="T60" fmla="*/ 44 w 75"/>
                <a:gd name="T61" fmla="*/ 12 h 34"/>
                <a:gd name="T62" fmla="*/ 44 w 75"/>
                <a:gd name="T63" fmla="*/ 8 h 34"/>
                <a:gd name="T64" fmla="*/ 44 w 75"/>
                <a:gd name="T65" fmla="*/ 8 h 34"/>
                <a:gd name="T66" fmla="*/ 48 w 75"/>
                <a:gd name="T67" fmla="*/ 8 h 34"/>
                <a:gd name="T68" fmla="*/ 59 w 75"/>
                <a:gd name="T69" fmla="*/ 19 h 34"/>
                <a:gd name="T70" fmla="*/ 59 w 75"/>
                <a:gd name="T71" fmla="*/ 23 h 34"/>
                <a:gd name="T72" fmla="*/ 59 w 75"/>
                <a:gd name="T73" fmla="*/ 23 h 34"/>
                <a:gd name="T74" fmla="*/ 55 w 75"/>
                <a:gd name="T75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5" h="34">
                  <a:moveTo>
                    <a:pt x="62" y="31"/>
                  </a:moveTo>
                  <a:cubicBezTo>
                    <a:pt x="74" y="7"/>
                    <a:pt x="74" y="7"/>
                    <a:pt x="74" y="7"/>
                  </a:cubicBezTo>
                  <a:cubicBezTo>
                    <a:pt x="75" y="5"/>
                    <a:pt x="75" y="4"/>
                    <a:pt x="74" y="2"/>
                  </a:cubicBezTo>
                  <a:cubicBezTo>
                    <a:pt x="73" y="1"/>
                    <a:pt x="71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1" y="1"/>
                    <a:pt x="1" y="2"/>
                  </a:cubicBezTo>
                  <a:cubicBezTo>
                    <a:pt x="0" y="4"/>
                    <a:pt x="0" y="5"/>
                    <a:pt x="0" y="7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3"/>
                    <a:pt x="15" y="34"/>
                    <a:pt x="17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9" y="34"/>
                    <a:pt x="61" y="33"/>
                    <a:pt x="62" y="31"/>
                  </a:cubicBezTo>
                  <a:close/>
                  <a:moveTo>
                    <a:pt x="29" y="23"/>
                  </a:moveTo>
                  <a:cubicBezTo>
                    <a:pt x="29" y="23"/>
                    <a:pt x="29" y="23"/>
                    <a:pt x="29" y="23"/>
                  </a:cubicBezTo>
                  <a:cubicBezTo>
                    <a:pt x="28" y="25"/>
                    <a:pt x="26" y="25"/>
                    <a:pt x="25" y="2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2" y="11"/>
                    <a:pt x="12" y="9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5" y="7"/>
                    <a:pt x="17" y="7"/>
                    <a:pt x="18" y="8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20"/>
                    <a:pt x="30" y="22"/>
                    <a:pt x="29" y="23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3" y="25"/>
                    <a:pt x="41" y="25"/>
                    <a:pt x="40" y="23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7" y="11"/>
                    <a:pt x="27" y="9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0" y="7"/>
                    <a:pt x="32" y="7"/>
                    <a:pt x="33" y="8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5" y="20"/>
                    <a:pt x="45" y="22"/>
                    <a:pt x="44" y="23"/>
                  </a:cubicBezTo>
                  <a:close/>
                  <a:moveTo>
                    <a:pt x="55" y="23"/>
                  </a:moveTo>
                  <a:cubicBezTo>
                    <a:pt x="44" y="12"/>
                    <a:pt x="44" y="12"/>
                    <a:pt x="44" y="12"/>
                  </a:cubicBezTo>
                  <a:cubicBezTo>
                    <a:pt x="42" y="11"/>
                    <a:pt x="42" y="9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5" y="7"/>
                    <a:pt x="47" y="7"/>
                    <a:pt x="48" y="8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60" y="20"/>
                    <a:pt x="60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8" y="25"/>
                    <a:pt x="56" y="25"/>
                    <a:pt x="5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900">
                <a:solidFill>
                  <a:prstClr val="black"/>
                </a:solidFill>
                <a:latin typeface="Times New Roman" charset="0"/>
              </a:endParaRPr>
            </a:p>
          </p:txBody>
        </p:sp>
      </p:grpSp>
      <p:sp>
        <p:nvSpPr>
          <p:cNvPr id="41" name="Freeform 67"/>
          <p:cNvSpPr>
            <a:spLocks noEditPoints="1"/>
          </p:cNvSpPr>
          <p:nvPr/>
        </p:nvSpPr>
        <p:spPr bwMode="auto">
          <a:xfrm>
            <a:off x="8449684" y="3325539"/>
            <a:ext cx="385679" cy="390439"/>
          </a:xfrm>
          <a:custGeom>
            <a:avLst/>
            <a:gdLst>
              <a:gd name="T0" fmla="*/ 66 w 100"/>
              <a:gd name="T1" fmla="*/ 52 h 101"/>
              <a:gd name="T2" fmla="*/ 66 w 100"/>
              <a:gd name="T3" fmla="*/ 66 h 101"/>
              <a:gd name="T4" fmla="*/ 54 w 100"/>
              <a:gd name="T5" fmla="*/ 78 h 101"/>
              <a:gd name="T6" fmla="*/ 47 w 100"/>
              <a:gd name="T7" fmla="*/ 78 h 101"/>
              <a:gd name="T8" fmla="*/ 35 w 100"/>
              <a:gd name="T9" fmla="*/ 66 h 101"/>
              <a:gd name="T10" fmla="*/ 35 w 100"/>
              <a:gd name="T11" fmla="*/ 52 h 101"/>
              <a:gd name="T12" fmla="*/ 66 w 100"/>
              <a:gd name="T13" fmla="*/ 52 h 101"/>
              <a:gd name="T14" fmla="*/ 43 w 100"/>
              <a:gd name="T15" fmla="*/ 44 h 101"/>
              <a:gd name="T16" fmla="*/ 43 w 100"/>
              <a:gd name="T17" fmla="*/ 27 h 101"/>
              <a:gd name="T18" fmla="*/ 40 w 100"/>
              <a:gd name="T19" fmla="*/ 24 h 101"/>
              <a:gd name="T20" fmla="*/ 37 w 100"/>
              <a:gd name="T21" fmla="*/ 27 h 101"/>
              <a:gd name="T22" fmla="*/ 37 w 100"/>
              <a:gd name="T23" fmla="*/ 44 h 101"/>
              <a:gd name="T24" fmla="*/ 43 w 100"/>
              <a:gd name="T25" fmla="*/ 44 h 101"/>
              <a:gd name="T26" fmla="*/ 64 w 100"/>
              <a:gd name="T27" fmla="*/ 44 h 101"/>
              <a:gd name="T28" fmla="*/ 64 w 100"/>
              <a:gd name="T29" fmla="*/ 27 h 101"/>
              <a:gd name="T30" fmla="*/ 60 w 100"/>
              <a:gd name="T31" fmla="*/ 24 h 101"/>
              <a:gd name="T32" fmla="*/ 57 w 100"/>
              <a:gd name="T33" fmla="*/ 27 h 101"/>
              <a:gd name="T34" fmla="*/ 57 w 100"/>
              <a:gd name="T35" fmla="*/ 44 h 101"/>
              <a:gd name="T36" fmla="*/ 64 w 100"/>
              <a:gd name="T37" fmla="*/ 44 h 101"/>
              <a:gd name="T38" fmla="*/ 68 w 100"/>
              <a:gd name="T39" fmla="*/ 47 h 101"/>
              <a:gd name="T40" fmla="*/ 33 w 100"/>
              <a:gd name="T41" fmla="*/ 47 h 101"/>
              <a:gd name="T42" fmla="*/ 33 w 100"/>
              <a:gd name="T43" fmla="*/ 50 h 101"/>
              <a:gd name="T44" fmla="*/ 68 w 100"/>
              <a:gd name="T45" fmla="*/ 50 h 101"/>
              <a:gd name="T46" fmla="*/ 68 w 100"/>
              <a:gd name="T47" fmla="*/ 47 h 101"/>
              <a:gd name="T48" fmla="*/ 100 w 100"/>
              <a:gd name="T49" fmla="*/ 51 h 101"/>
              <a:gd name="T50" fmla="*/ 50 w 100"/>
              <a:gd name="T51" fmla="*/ 0 h 101"/>
              <a:gd name="T52" fmla="*/ 0 w 100"/>
              <a:gd name="T53" fmla="*/ 51 h 101"/>
              <a:gd name="T54" fmla="*/ 20 w 100"/>
              <a:gd name="T55" fmla="*/ 92 h 101"/>
              <a:gd name="T56" fmla="*/ 38 w 100"/>
              <a:gd name="T57" fmla="*/ 100 h 101"/>
              <a:gd name="T58" fmla="*/ 49 w 100"/>
              <a:gd name="T59" fmla="*/ 99 h 101"/>
              <a:gd name="T60" fmla="*/ 52 w 100"/>
              <a:gd name="T61" fmla="*/ 91 h 101"/>
              <a:gd name="T62" fmla="*/ 52 w 100"/>
              <a:gd name="T63" fmla="*/ 78 h 101"/>
              <a:gd name="T64" fmla="*/ 48 w 100"/>
              <a:gd name="T65" fmla="*/ 78 h 101"/>
              <a:gd name="T66" fmla="*/ 48 w 100"/>
              <a:gd name="T67" fmla="*/ 91 h 101"/>
              <a:gd name="T68" fmla="*/ 46 w 100"/>
              <a:gd name="T69" fmla="*/ 96 h 101"/>
              <a:gd name="T70" fmla="*/ 39 w 100"/>
              <a:gd name="T71" fmla="*/ 96 h 101"/>
              <a:gd name="T72" fmla="*/ 23 w 100"/>
              <a:gd name="T73" fmla="*/ 88 h 101"/>
              <a:gd name="T74" fmla="*/ 4 w 100"/>
              <a:gd name="T75" fmla="*/ 51 h 101"/>
              <a:gd name="T76" fmla="*/ 50 w 100"/>
              <a:gd name="T77" fmla="*/ 4 h 101"/>
              <a:gd name="T78" fmla="*/ 96 w 100"/>
              <a:gd name="T79" fmla="*/ 51 h 101"/>
              <a:gd name="T80" fmla="*/ 55 w 100"/>
              <a:gd name="T81" fmla="*/ 97 h 101"/>
              <a:gd name="T82" fmla="*/ 56 w 100"/>
              <a:gd name="T83" fmla="*/ 101 h 101"/>
              <a:gd name="T84" fmla="*/ 100 w 100"/>
              <a:gd name="T85" fmla="*/ 5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01">
                <a:moveTo>
                  <a:pt x="66" y="52"/>
                </a:moveTo>
                <a:cubicBezTo>
                  <a:pt x="66" y="66"/>
                  <a:pt x="66" y="66"/>
                  <a:pt x="66" y="66"/>
                </a:cubicBezTo>
                <a:cubicBezTo>
                  <a:pt x="66" y="73"/>
                  <a:pt x="60" y="78"/>
                  <a:pt x="54" y="78"/>
                </a:cubicBezTo>
                <a:cubicBezTo>
                  <a:pt x="47" y="78"/>
                  <a:pt x="47" y="78"/>
                  <a:pt x="47" y="78"/>
                </a:cubicBezTo>
                <a:cubicBezTo>
                  <a:pt x="40" y="78"/>
                  <a:pt x="35" y="73"/>
                  <a:pt x="35" y="66"/>
                </a:cubicBezTo>
                <a:cubicBezTo>
                  <a:pt x="35" y="52"/>
                  <a:pt x="35" y="52"/>
                  <a:pt x="35" y="52"/>
                </a:cubicBezTo>
                <a:lnTo>
                  <a:pt x="66" y="52"/>
                </a:lnTo>
                <a:close/>
                <a:moveTo>
                  <a:pt x="43" y="44"/>
                </a:moveTo>
                <a:cubicBezTo>
                  <a:pt x="43" y="27"/>
                  <a:pt x="43" y="27"/>
                  <a:pt x="43" y="27"/>
                </a:cubicBezTo>
                <a:cubicBezTo>
                  <a:pt x="43" y="25"/>
                  <a:pt x="42" y="24"/>
                  <a:pt x="40" y="24"/>
                </a:cubicBezTo>
                <a:cubicBezTo>
                  <a:pt x="38" y="24"/>
                  <a:pt x="37" y="25"/>
                  <a:pt x="37" y="27"/>
                </a:cubicBezTo>
                <a:cubicBezTo>
                  <a:pt x="37" y="44"/>
                  <a:pt x="37" y="44"/>
                  <a:pt x="37" y="44"/>
                </a:cubicBezTo>
                <a:lnTo>
                  <a:pt x="43" y="44"/>
                </a:lnTo>
                <a:close/>
                <a:moveTo>
                  <a:pt x="64" y="44"/>
                </a:moveTo>
                <a:cubicBezTo>
                  <a:pt x="64" y="27"/>
                  <a:pt x="64" y="27"/>
                  <a:pt x="64" y="27"/>
                </a:cubicBezTo>
                <a:cubicBezTo>
                  <a:pt x="64" y="25"/>
                  <a:pt x="62" y="24"/>
                  <a:pt x="60" y="24"/>
                </a:cubicBezTo>
                <a:cubicBezTo>
                  <a:pt x="59" y="24"/>
                  <a:pt x="57" y="25"/>
                  <a:pt x="57" y="27"/>
                </a:cubicBezTo>
                <a:cubicBezTo>
                  <a:pt x="57" y="44"/>
                  <a:pt x="57" y="44"/>
                  <a:pt x="57" y="44"/>
                </a:cubicBezTo>
                <a:lnTo>
                  <a:pt x="64" y="44"/>
                </a:lnTo>
                <a:close/>
                <a:moveTo>
                  <a:pt x="68" y="47"/>
                </a:moveTo>
                <a:cubicBezTo>
                  <a:pt x="33" y="47"/>
                  <a:pt x="33" y="47"/>
                  <a:pt x="33" y="47"/>
                </a:cubicBezTo>
                <a:cubicBezTo>
                  <a:pt x="33" y="50"/>
                  <a:pt x="33" y="50"/>
                  <a:pt x="33" y="50"/>
                </a:cubicBezTo>
                <a:cubicBezTo>
                  <a:pt x="68" y="50"/>
                  <a:pt x="68" y="50"/>
                  <a:pt x="68" y="50"/>
                </a:cubicBezTo>
                <a:lnTo>
                  <a:pt x="68" y="47"/>
                </a:lnTo>
                <a:close/>
                <a:moveTo>
                  <a:pt x="100" y="51"/>
                </a:moveTo>
                <a:cubicBezTo>
                  <a:pt x="100" y="23"/>
                  <a:pt x="78" y="0"/>
                  <a:pt x="50" y="0"/>
                </a:cubicBezTo>
                <a:cubicBezTo>
                  <a:pt x="22" y="0"/>
                  <a:pt x="0" y="23"/>
                  <a:pt x="0" y="51"/>
                </a:cubicBezTo>
                <a:cubicBezTo>
                  <a:pt x="0" y="67"/>
                  <a:pt x="8" y="82"/>
                  <a:pt x="20" y="92"/>
                </a:cubicBezTo>
                <a:cubicBezTo>
                  <a:pt x="25" y="95"/>
                  <a:pt x="30" y="97"/>
                  <a:pt x="38" y="100"/>
                </a:cubicBezTo>
                <a:cubicBezTo>
                  <a:pt x="42" y="101"/>
                  <a:pt x="46" y="101"/>
                  <a:pt x="49" y="99"/>
                </a:cubicBezTo>
                <a:cubicBezTo>
                  <a:pt x="52" y="96"/>
                  <a:pt x="52" y="91"/>
                  <a:pt x="52" y="91"/>
                </a:cubicBezTo>
                <a:cubicBezTo>
                  <a:pt x="52" y="78"/>
                  <a:pt x="52" y="78"/>
                  <a:pt x="52" y="78"/>
                </a:cubicBezTo>
                <a:cubicBezTo>
                  <a:pt x="48" y="78"/>
                  <a:pt x="48" y="78"/>
                  <a:pt x="48" y="78"/>
                </a:cubicBezTo>
                <a:cubicBezTo>
                  <a:pt x="48" y="91"/>
                  <a:pt x="48" y="91"/>
                  <a:pt x="48" y="91"/>
                </a:cubicBezTo>
                <a:cubicBezTo>
                  <a:pt x="48" y="91"/>
                  <a:pt x="48" y="94"/>
                  <a:pt x="46" y="96"/>
                </a:cubicBezTo>
                <a:cubicBezTo>
                  <a:pt x="44" y="97"/>
                  <a:pt x="41" y="97"/>
                  <a:pt x="39" y="96"/>
                </a:cubicBezTo>
                <a:cubicBezTo>
                  <a:pt x="32" y="94"/>
                  <a:pt x="27" y="91"/>
                  <a:pt x="23" y="88"/>
                </a:cubicBezTo>
                <a:cubicBezTo>
                  <a:pt x="11" y="80"/>
                  <a:pt x="4" y="66"/>
                  <a:pt x="4" y="51"/>
                </a:cubicBezTo>
                <a:cubicBezTo>
                  <a:pt x="4" y="25"/>
                  <a:pt x="25" y="4"/>
                  <a:pt x="50" y="4"/>
                </a:cubicBezTo>
                <a:cubicBezTo>
                  <a:pt x="76" y="4"/>
                  <a:pt x="96" y="25"/>
                  <a:pt x="96" y="51"/>
                </a:cubicBezTo>
                <a:cubicBezTo>
                  <a:pt x="96" y="75"/>
                  <a:pt x="79" y="94"/>
                  <a:pt x="55" y="97"/>
                </a:cubicBezTo>
                <a:cubicBezTo>
                  <a:pt x="56" y="101"/>
                  <a:pt x="56" y="101"/>
                  <a:pt x="56" y="101"/>
                </a:cubicBezTo>
                <a:cubicBezTo>
                  <a:pt x="81" y="98"/>
                  <a:pt x="100" y="77"/>
                  <a:pt x="100" y="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900">
              <a:solidFill>
                <a:prstClr val="black"/>
              </a:solidFill>
              <a:latin typeface="Times New Roman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91344" y="6453336"/>
            <a:ext cx="2700000" cy="353031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168008" y="6460345"/>
            <a:ext cx="2700000" cy="353031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9192345" y="6460345"/>
            <a:ext cx="2700000" cy="353031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3143672" y="6453472"/>
            <a:ext cx="2700000" cy="353031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299">
              <a:solidFill>
                <a:prstClr val="black"/>
              </a:solidFill>
            </a:endParaRPr>
          </a:p>
        </p:txBody>
      </p:sp>
      <p:grpSp>
        <p:nvGrpSpPr>
          <p:cNvPr id="52" name="Группа 51"/>
          <p:cNvGrpSpPr/>
          <p:nvPr/>
        </p:nvGrpSpPr>
        <p:grpSpPr>
          <a:xfrm flipH="1">
            <a:off x="9823201" y="232432"/>
            <a:ext cx="1485831" cy="1241141"/>
            <a:chOff x="4738152" y="2576509"/>
            <a:chExt cx="591353" cy="527897"/>
          </a:xfrm>
        </p:grpSpPr>
        <p:grpSp>
          <p:nvGrpSpPr>
            <p:cNvPr id="53" name="Group 4"/>
            <p:cNvGrpSpPr>
              <a:grpSpLocks noChangeAspect="1"/>
            </p:cNvGrpSpPr>
            <p:nvPr/>
          </p:nvGrpSpPr>
          <p:grpSpPr bwMode="auto">
            <a:xfrm>
              <a:off x="4738152" y="2576509"/>
              <a:ext cx="591353" cy="527897"/>
              <a:chOff x="3149" y="573"/>
              <a:chExt cx="1589" cy="1353"/>
            </a:xfrm>
          </p:grpSpPr>
          <p:sp>
            <p:nvSpPr>
              <p:cNvPr id="55" name="Freeform 5"/>
              <p:cNvSpPr>
                <a:spLocks/>
              </p:cNvSpPr>
              <p:nvPr/>
            </p:nvSpPr>
            <p:spPr bwMode="auto">
              <a:xfrm>
                <a:off x="3149" y="853"/>
                <a:ext cx="777" cy="1073"/>
              </a:xfrm>
              <a:custGeom>
                <a:avLst/>
                <a:gdLst>
                  <a:gd name="T0" fmla="*/ 0 w 777"/>
                  <a:gd name="T1" fmla="*/ 641 h 1073"/>
                  <a:gd name="T2" fmla="*/ 777 w 777"/>
                  <a:gd name="T3" fmla="*/ 1073 h 1073"/>
                  <a:gd name="T4" fmla="*/ 777 w 777"/>
                  <a:gd name="T5" fmla="*/ 335 h 1073"/>
                  <a:gd name="T6" fmla="*/ 0 w 777"/>
                  <a:gd name="T7" fmla="*/ 0 h 1073"/>
                  <a:gd name="T8" fmla="*/ 0 w 777"/>
                  <a:gd name="T9" fmla="*/ 641 h 10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77" h="1073">
                    <a:moveTo>
                      <a:pt x="0" y="641"/>
                    </a:moveTo>
                    <a:lnTo>
                      <a:pt x="777" y="1073"/>
                    </a:lnTo>
                    <a:lnTo>
                      <a:pt x="777" y="335"/>
                    </a:lnTo>
                    <a:lnTo>
                      <a:pt x="0" y="0"/>
                    </a:lnTo>
                    <a:lnTo>
                      <a:pt x="0" y="641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56" name="Freeform 6"/>
              <p:cNvSpPr>
                <a:spLocks/>
              </p:cNvSpPr>
              <p:nvPr/>
            </p:nvSpPr>
            <p:spPr bwMode="auto">
              <a:xfrm>
                <a:off x="3658" y="1107"/>
                <a:ext cx="249" cy="736"/>
              </a:xfrm>
              <a:custGeom>
                <a:avLst/>
                <a:gdLst>
                  <a:gd name="T0" fmla="*/ 249 w 249"/>
                  <a:gd name="T1" fmla="*/ 736 h 736"/>
                  <a:gd name="T2" fmla="*/ 0 w 249"/>
                  <a:gd name="T3" fmla="*/ 601 h 736"/>
                  <a:gd name="T4" fmla="*/ 0 w 249"/>
                  <a:gd name="T5" fmla="*/ 0 h 736"/>
                  <a:gd name="T6" fmla="*/ 249 w 249"/>
                  <a:gd name="T7" fmla="*/ 114 h 736"/>
                  <a:gd name="T8" fmla="*/ 249 w 249"/>
                  <a:gd name="T9" fmla="*/ 73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9" h="736">
                    <a:moveTo>
                      <a:pt x="249" y="736"/>
                    </a:moveTo>
                    <a:lnTo>
                      <a:pt x="0" y="601"/>
                    </a:lnTo>
                    <a:lnTo>
                      <a:pt x="0" y="0"/>
                    </a:lnTo>
                    <a:lnTo>
                      <a:pt x="249" y="114"/>
                    </a:lnTo>
                    <a:lnTo>
                      <a:pt x="249" y="73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57" name="Freeform 7"/>
              <p:cNvSpPr>
                <a:spLocks/>
              </p:cNvSpPr>
              <p:nvPr/>
            </p:nvSpPr>
            <p:spPr bwMode="auto">
              <a:xfrm>
                <a:off x="3401" y="995"/>
                <a:ext cx="188" cy="675"/>
              </a:xfrm>
              <a:custGeom>
                <a:avLst/>
                <a:gdLst>
                  <a:gd name="T0" fmla="*/ 188 w 188"/>
                  <a:gd name="T1" fmla="*/ 675 h 675"/>
                  <a:gd name="T2" fmla="*/ 0 w 188"/>
                  <a:gd name="T3" fmla="*/ 573 h 675"/>
                  <a:gd name="T4" fmla="*/ 0 w 188"/>
                  <a:gd name="T5" fmla="*/ 0 h 675"/>
                  <a:gd name="T6" fmla="*/ 188 w 188"/>
                  <a:gd name="T7" fmla="*/ 84 h 675"/>
                  <a:gd name="T8" fmla="*/ 188 w 188"/>
                  <a:gd name="T9" fmla="*/ 675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8" h="675">
                    <a:moveTo>
                      <a:pt x="188" y="675"/>
                    </a:moveTo>
                    <a:lnTo>
                      <a:pt x="0" y="573"/>
                    </a:lnTo>
                    <a:lnTo>
                      <a:pt x="0" y="0"/>
                    </a:lnTo>
                    <a:lnTo>
                      <a:pt x="188" y="84"/>
                    </a:lnTo>
                    <a:lnTo>
                      <a:pt x="188" y="67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58" name="Freeform 8"/>
              <p:cNvSpPr>
                <a:spLocks/>
              </p:cNvSpPr>
              <p:nvPr/>
            </p:nvSpPr>
            <p:spPr bwMode="auto">
              <a:xfrm>
                <a:off x="3197" y="905"/>
                <a:ext cx="138" cy="627"/>
              </a:xfrm>
              <a:custGeom>
                <a:avLst/>
                <a:gdLst>
                  <a:gd name="T0" fmla="*/ 138 w 138"/>
                  <a:gd name="T1" fmla="*/ 627 h 627"/>
                  <a:gd name="T2" fmla="*/ 0 w 138"/>
                  <a:gd name="T3" fmla="*/ 551 h 627"/>
                  <a:gd name="T4" fmla="*/ 0 w 138"/>
                  <a:gd name="T5" fmla="*/ 0 h 627"/>
                  <a:gd name="T6" fmla="*/ 138 w 138"/>
                  <a:gd name="T7" fmla="*/ 59 h 627"/>
                  <a:gd name="T8" fmla="*/ 138 w 138"/>
                  <a:gd name="T9" fmla="*/ 627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627">
                    <a:moveTo>
                      <a:pt x="138" y="627"/>
                    </a:moveTo>
                    <a:lnTo>
                      <a:pt x="0" y="551"/>
                    </a:lnTo>
                    <a:lnTo>
                      <a:pt x="0" y="0"/>
                    </a:lnTo>
                    <a:lnTo>
                      <a:pt x="138" y="59"/>
                    </a:lnTo>
                    <a:lnTo>
                      <a:pt x="138" y="6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59" name="Freeform 9"/>
              <p:cNvSpPr>
                <a:spLocks/>
              </p:cNvSpPr>
              <p:nvPr/>
            </p:nvSpPr>
            <p:spPr bwMode="auto">
              <a:xfrm>
                <a:off x="3926" y="979"/>
                <a:ext cx="812" cy="947"/>
              </a:xfrm>
              <a:custGeom>
                <a:avLst/>
                <a:gdLst>
                  <a:gd name="T0" fmla="*/ 812 w 812"/>
                  <a:gd name="T1" fmla="*/ 627 h 947"/>
                  <a:gd name="T2" fmla="*/ 0 w 812"/>
                  <a:gd name="T3" fmla="*/ 947 h 947"/>
                  <a:gd name="T4" fmla="*/ 0 w 812"/>
                  <a:gd name="T5" fmla="*/ 209 h 947"/>
                  <a:gd name="T6" fmla="*/ 812 w 812"/>
                  <a:gd name="T7" fmla="*/ 0 h 947"/>
                  <a:gd name="T8" fmla="*/ 812 w 812"/>
                  <a:gd name="T9" fmla="*/ 627 h 9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12" h="947">
                    <a:moveTo>
                      <a:pt x="812" y="627"/>
                    </a:moveTo>
                    <a:lnTo>
                      <a:pt x="0" y="947"/>
                    </a:lnTo>
                    <a:lnTo>
                      <a:pt x="0" y="209"/>
                    </a:lnTo>
                    <a:lnTo>
                      <a:pt x="812" y="0"/>
                    </a:lnTo>
                    <a:lnTo>
                      <a:pt x="812" y="627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60" name="Freeform 10"/>
              <p:cNvSpPr>
                <a:spLocks/>
              </p:cNvSpPr>
              <p:nvPr/>
            </p:nvSpPr>
            <p:spPr bwMode="auto">
              <a:xfrm>
                <a:off x="3149" y="573"/>
                <a:ext cx="1247" cy="615"/>
              </a:xfrm>
              <a:custGeom>
                <a:avLst/>
                <a:gdLst>
                  <a:gd name="T0" fmla="*/ 1247 w 1247"/>
                  <a:gd name="T1" fmla="*/ 230 h 615"/>
                  <a:gd name="T2" fmla="*/ 509 w 1247"/>
                  <a:gd name="T3" fmla="*/ 0 h 615"/>
                  <a:gd name="T4" fmla="*/ 0 w 1247"/>
                  <a:gd name="T5" fmla="*/ 280 h 615"/>
                  <a:gd name="T6" fmla="*/ 777 w 1247"/>
                  <a:gd name="T7" fmla="*/ 615 h 615"/>
                  <a:gd name="T8" fmla="*/ 1247 w 1247"/>
                  <a:gd name="T9" fmla="*/ 23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7" h="615">
                    <a:moveTo>
                      <a:pt x="1247" y="230"/>
                    </a:moveTo>
                    <a:lnTo>
                      <a:pt x="509" y="0"/>
                    </a:lnTo>
                    <a:lnTo>
                      <a:pt x="0" y="280"/>
                    </a:lnTo>
                    <a:lnTo>
                      <a:pt x="777" y="615"/>
                    </a:lnTo>
                    <a:lnTo>
                      <a:pt x="1247" y="230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62" name="Freeform 11"/>
              <p:cNvSpPr>
                <a:spLocks/>
              </p:cNvSpPr>
              <p:nvPr/>
            </p:nvSpPr>
            <p:spPr bwMode="auto">
              <a:xfrm>
                <a:off x="3168" y="596"/>
                <a:ext cx="1202" cy="592"/>
              </a:xfrm>
              <a:custGeom>
                <a:avLst/>
                <a:gdLst>
                  <a:gd name="T0" fmla="*/ 758 w 1202"/>
                  <a:gd name="T1" fmla="*/ 592 h 592"/>
                  <a:gd name="T2" fmla="*/ 1202 w 1202"/>
                  <a:gd name="T3" fmla="*/ 228 h 592"/>
                  <a:gd name="T4" fmla="*/ 485 w 1202"/>
                  <a:gd name="T5" fmla="*/ 0 h 592"/>
                  <a:gd name="T6" fmla="*/ 0 w 1202"/>
                  <a:gd name="T7" fmla="*/ 266 h 592"/>
                  <a:gd name="T8" fmla="*/ 758 w 1202"/>
                  <a:gd name="T9" fmla="*/ 592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2" h="592">
                    <a:moveTo>
                      <a:pt x="758" y="592"/>
                    </a:moveTo>
                    <a:lnTo>
                      <a:pt x="1202" y="228"/>
                    </a:lnTo>
                    <a:lnTo>
                      <a:pt x="485" y="0"/>
                    </a:lnTo>
                    <a:lnTo>
                      <a:pt x="0" y="266"/>
                    </a:lnTo>
                    <a:lnTo>
                      <a:pt x="758" y="5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65" name="Freeform 12"/>
              <p:cNvSpPr>
                <a:spLocks/>
              </p:cNvSpPr>
              <p:nvPr/>
            </p:nvSpPr>
            <p:spPr bwMode="auto">
              <a:xfrm>
                <a:off x="3233" y="625"/>
                <a:ext cx="1063" cy="522"/>
              </a:xfrm>
              <a:custGeom>
                <a:avLst/>
                <a:gdLst>
                  <a:gd name="T0" fmla="*/ 669 w 1063"/>
                  <a:gd name="T1" fmla="*/ 522 h 522"/>
                  <a:gd name="T2" fmla="*/ 0 w 1063"/>
                  <a:gd name="T3" fmla="*/ 233 h 522"/>
                  <a:gd name="T4" fmla="*/ 422 w 1063"/>
                  <a:gd name="T5" fmla="*/ 0 h 522"/>
                  <a:gd name="T6" fmla="*/ 1063 w 1063"/>
                  <a:gd name="T7" fmla="*/ 206 h 522"/>
                  <a:gd name="T8" fmla="*/ 669 w 1063"/>
                  <a:gd name="T9" fmla="*/ 522 h 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3" h="522">
                    <a:moveTo>
                      <a:pt x="669" y="522"/>
                    </a:moveTo>
                    <a:lnTo>
                      <a:pt x="0" y="233"/>
                    </a:lnTo>
                    <a:lnTo>
                      <a:pt x="422" y="0"/>
                    </a:lnTo>
                    <a:lnTo>
                      <a:pt x="1063" y="206"/>
                    </a:lnTo>
                    <a:lnTo>
                      <a:pt x="669" y="522"/>
                    </a:lnTo>
                    <a:close/>
                  </a:path>
                </a:pathLst>
              </a:custGeom>
              <a:solidFill>
                <a:srgbClr val="3E9A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67" name="Freeform 13"/>
              <p:cNvSpPr>
                <a:spLocks/>
              </p:cNvSpPr>
              <p:nvPr/>
            </p:nvSpPr>
            <p:spPr bwMode="auto">
              <a:xfrm>
                <a:off x="3926" y="803"/>
                <a:ext cx="812" cy="385"/>
              </a:xfrm>
              <a:custGeom>
                <a:avLst/>
                <a:gdLst>
                  <a:gd name="T0" fmla="*/ 0 w 812"/>
                  <a:gd name="T1" fmla="*/ 385 h 385"/>
                  <a:gd name="T2" fmla="*/ 812 w 812"/>
                  <a:gd name="T3" fmla="*/ 176 h 385"/>
                  <a:gd name="T4" fmla="*/ 470 w 812"/>
                  <a:gd name="T5" fmla="*/ 0 h 385"/>
                  <a:gd name="T6" fmla="*/ 0 w 812"/>
                  <a:gd name="T7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12" h="385">
                    <a:moveTo>
                      <a:pt x="0" y="385"/>
                    </a:moveTo>
                    <a:lnTo>
                      <a:pt x="812" y="176"/>
                    </a:lnTo>
                    <a:lnTo>
                      <a:pt x="470" y="0"/>
                    </a:lnTo>
                    <a:lnTo>
                      <a:pt x="0" y="385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solidFill>
                  <a:srgbClr val="BFBFBF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>
                  <a:solidFill>
                    <a:srgbClr val="E7E6E6">
                      <a:lumMod val="25000"/>
                    </a:srgbClr>
                  </a:solidFill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54" name="Freeform 6"/>
            <p:cNvSpPr>
              <a:spLocks/>
            </p:cNvSpPr>
            <p:nvPr/>
          </p:nvSpPr>
          <p:spPr bwMode="auto">
            <a:xfrm>
              <a:off x="5124159" y="2802799"/>
              <a:ext cx="155195" cy="239958"/>
            </a:xfrm>
            <a:custGeom>
              <a:avLst/>
              <a:gdLst>
                <a:gd name="T0" fmla="*/ 249 w 249"/>
                <a:gd name="T1" fmla="*/ 736 h 736"/>
                <a:gd name="T2" fmla="*/ 0 w 249"/>
                <a:gd name="T3" fmla="*/ 601 h 736"/>
                <a:gd name="T4" fmla="*/ 0 w 249"/>
                <a:gd name="T5" fmla="*/ 0 h 736"/>
                <a:gd name="T6" fmla="*/ 249 w 249"/>
                <a:gd name="T7" fmla="*/ 114 h 736"/>
                <a:gd name="T8" fmla="*/ 249 w 249"/>
                <a:gd name="T9" fmla="*/ 736 h 736"/>
                <a:gd name="connsiteX0" fmla="*/ 10321 w 10321"/>
                <a:gd name="connsiteY0" fmla="*/ 8451 h 8451"/>
                <a:gd name="connsiteX1" fmla="*/ 321 w 10321"/>
                <a:gd name="connsiteY1" fmla="*/ 6617 h 8451"/>
                <a:gd name="connsiteX2" fmla="*/ 0 w 10321"/>
                <a:gd name="connsiteY2" fmla="*/ 1060 h 8451"/>
                <a:gd name="connsiteX3" fmla="*/ 10321 w 10321"/>
                <a:gd name="connsiteY3" fmla="*/ 0 h 8451"/>
                <a:gd name="connsiteX4" fmla="*/ 10321 w 10321"/>
                <a:gd name="connsiteY4" fmla="*/ 8451 h 8451"/>
                <a:gd name="connsiteX0" fmla="*/ 10000 w 10000"/>
                <a:gd name="connsiteY0" fmla="*/ 10000 h 11045"/>
                <a:gd name="connsiteX1" fmla="*/ 467 w 10000"/>
                <a:gd name="connsiteY1" fmla="*/ 11045 h 11045"/>
                <a:gd name="connsiteX2" fmla="*/ 0 w 10000"/>
                <a:gd name="connsiteY2" fmla="*/ 1254 h 11045"/>
                <a:gd name="connsiteX3" fmla="*/ 10000 w 10000"/>
                <a:gd name="connsiteY3" fmla="*/ 0 h 11045"/>
                <a:gd name="connsiteX4" fmla="*/ 10000 w 10000"/>
                <a:gd name="connsiteY4" fmla="*/ 10000 h 11045"/>
                <a:gd name="connsiteX0" fmla="*/ 10156 w 10156"/>
                <a:gd name="connsiteY0" fmla="*/ 9421 h 11045"/>
                <a:gd name="connsiteX1" fmla="*/ 467 w 10156"/>
                <a:gd name="connsiteY1" fmla="*/ 11045 h 11045"/>
                <a:gd name="connsiteX2" fmla="*/ 0 w 10156"/>
                <a:gd name="connsiteY2" fmla="*/ 1254 h 11045"/>
                <a:gd name="connsiteX3" fmla="*/ 10000 w 10156"/>
                <a:gd name="connsiteY3" fmla="*/ 0 h 11045"/>
                <a:gd name="connsiteX4" fmla="*/ 10156 w 10156"/>
                <a:gd name="connsiteY4" fmla="*/ 9421 h 11045"/>
                <a:gd name="connsiteX0" fmla="*/ 10156 w 16226"/>
                <a:gd name="connsiteY0" fmla="*/ 8328 h 9952"/>
                <a:gd name="connsiteX1" fmla="*/ 467 w 16226"/>
                <a:gd name="connsiteY1" fmla="*/ 9952 h 9952"/>
                <a:gd name="connsiteX2" fmla="*/ 0 w 16226"/>
                <a:gd name="connsiteY2" fmla="*/ 161 h 9952"/>
                <a:gd name="connsiteX3" fmla="*/ 16226 w 16226"/>
                <a:gd name="connsiteY3" fmla="*/ 0 h 9952"/>
                <a:gd name="connsiteX4" fmla="*/ 10156 w 16226"/>
                <a:gd name="connsiteY4" fmla="*/ 8328 h 9952"/>
                <a:gd name="connsiteX0" fmla="*/ 10096 w 10096"/>
                <a:gd name="connsiteY0" fmla="*/ 7205 h 10000"/>
                <a:gd name="connsiteX1" fmla="*/ 288 w 10096"/>
                <a:gd name="connsiteY1" fmla="*/ 10000 h 10000"/>
                <a:gd name="connsiteX2" fmla="*/ 0 w 10096"/>
                <a:gd name="connsiteY2" fmla="*/ 162 h 10000"/>
                <a:gd name="connsiteX3" fmla="*/ 10000 w 10096"/>
                <a:gd name="connsiteY3" fmla="*/ 0 h 10000"/>
                <a:gd name="connsiteX4" fmla="*/ 10096 w 10096"/>
                <a:gd name="connsiteY4" fmla="*/ 7205 h 10000"/>
                <a:gd name="connsiteX0" fmla="*/ 10000 w 10000"/>
                <a:gd name="connsiteY0" fmla="*/ 7205 h 10000"/>
                <a:gd name="connsiteX1" fmla="*/ 192 w 10000"/>
                <a:gd name="connsiteY1" fmla="*/ 10000 h 10000"/>
                <a:gd name="connsiteX2" fmla="*/ 0 w 10000"/>
                <a:gd name="connsiteY2" fmla="*/ 2424 h 10000"/>
                <a:gd name="connsiteX3" fmla="*/ 9904 w 10000"/>
                <a:gd name="connsiteY3" fmla="*/ 0 h 10000"/>
                <a:gd name="connsiteX4" fmla="*/ 10000 w 10000"/>
                <a:gd name="connsiteY4" fmla="*/ 7205 h 10000"/>
                <a:gd name="connsiteX0" fmla="*/ 10000 w 10000"/>
                <a:gd name="connsiteY0" fmla="*/ 7205 h 10000"/>
                <a:gd name="connsiteX1" fmla="*/ 192 w 10000"/>
                <a:gd name="connsiteY1" fmla="*/ 10000 h 10000"/>
                <a:gd name="connsiteX2" fmla="*/ 0 w 10000"/>
                <a:gd name="connsiteY2" fmla="*/ 1972 h 10000"/>
                <a:gd name="connsiteX3" fmla="*/ 9904 w 10000"/>
                <a:gd name="connsiteY3" fmla="*/ 0 h 10000"/>
                <a:gd name="connsiteX4" fmla="*/ 10000 w 10000"/>
                <a:gd name="connsiteY4" fmla="*/ 7205 h 10000"/>
                <a:gd name="connsiteX0" fmla="*/ 10000 w 10000"/>
                <a:gd name="connsiteY0" fmla="*/ 7205 h 9806"/>
                <a:gd name="connsiteX1" fmla="*/ 288 w 10000"/>
                <a:gd name="connsiteY1" fmla="*/ 9806 h 9806"/>
                <a:gd name="connsiteX2" fmla="*/ 0 w 10000"/>
                <a:gd name="connsiteY2" fmla="*/ 1972 h 9806"/>
                <a:gd name="connsiteX3" fmla="*/ 9904 w 10000"/>
                <a:gd name="connsiteY3" fmla="*/ 0 h 9806"/>
                <a:gd name="connsiteX4" fmla="*/ 10000 w 10000"/>
                <a:gd name="connsiteY4" fmla="*/ 7205 h 9806"/>
                <a:gd name="connsiteX0" fmla="*/ 10000 w 10000"/>
                <a:gd name="connsiteY0" fmla="*/ 7480 h 10132"/>
                <a:gd name="connsiteX1" fmla="*/ 288 w 10000"/>
                <a:gd name="connsiteY1" fmla="*/ 10132 h 10132"/>
                <a:gd name="connsiteX2" fmla="*/ 0 w 10000"/>
                <a:gd name="connsiteY2" fmla="*/ 2143 h 10132"/>
                <a:gd name="connsiteX3" fmla="*/ 9808 w 10000"/>
                <a:gd name="connsiteY3" fmla="*/ 0 h 10132"/>
                <a:gd name="connsiteX4" fmla="*/ 10000 w 10000"/>
                <a:gd name="connsiteY4" fmla="*/ 7480 h 10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132">
                  <a:moveTo>
                    <a:pt x="10000" y="7480"/>
                  </a:moveTo>
                  <a:lnTo>
                    <a:pt x="288" y="10132"/>
                  </a:lnTo>
                  <a:lnTo>
                    <a:pt x="0" y="2143"/>
                  </a:lnTo>
                  <a:lnTo>
                    <a:pt x="9808" y="0"/>
                  </a:lnTo>
                  <a:cubicBezTo>
                    <a:pt x="9840" y="2450"/>
                    <a:pt x="9968" y="5030"/>
                    <a:pt x="10000" y="74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>
                <a:solidFill>
                  <a:srgbClr val="E7E6E6">
                    <a:lumMod val="25000"/>
                  </a:srgbClr>
                </a:solidFill>
                <a:ea typeface="Arial" charset="0"/>
                <a:cs typeface="Arial" charset="0"/>
              </a:endParaRPr>
            </a:p>
          </p:txBody>
        </p:sp>
      </p:grpSp>
      <p:pic>
        <p:nvPicPr>
          <p:cNvPr id="9" name="Рисунок 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31" y="6444452"/>
            <a:ext cx="1492646" cy="370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83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6_vtrN_kiqYzGAqlks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R207-MasquePPT_V3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D0232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207-MasquePPT_V3" id="{1A50D03B-4DD9-42F8-891D-A0A3F2C93A91}" vid="{59458A57-FD38-44C9-B4E6-BE2D47DFDE89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</TotalTime>
  <Words>798</Words>
  <Application>Microsoft Office PowerPoint</Application>
  <PresentationFormat>Широкоэкранный</PresentationFormat>
  <Paragraphs>243</Paragraphs>
  <Slides>11</Slides>
  <Notes>1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7</vt:i4>
      </vt:variant>
      <vt:variant>
        <vt:lpstr>Заголовки слайдов</vt:lpstr>
      </vt:variant>
      <vt:variant>
        <vt:i4>11</vt:i4>
      </vt:variant>
    </vt:vector>
  </HeadingPairs>
  <TitlesOfParts>
    <vt:vector size="29" baseType="lpstr">
      <vt:lpstr>Arial</vt:lpstr>
      <vt:lpstr>Arial </vt:lpstr>
      <vt:lpstr>Arial Narrow</vt:lpstr>
      <vt:lpstr>Arial Rounded MT Bold</vt:lpstr>
      <vt:lpstr>Calibri</vt:lpstr>
      <vt:lpstr>Calibri Light</vt:lpstr>
      <vt:lpstr>Franklin Gothic Demi Cond</vt:lpstr>
      <vt:lpstr>Lucida Grande</vt:lpstr>
      <vt:lpstr>Microsoft Sans Serif</vt:lpstr>
      <vt:lpstr>Segoe UI Symbol</vt:lpstr>
      <vt:lpstr>Times New Roman</vt:lpstr>
      <vt:lpstr>Тема Office</vt:lpstr>
      <vt:lpstr>1_Тема Office</vt:lpstr>
      <vt:lpstr>2_Тема Office</vt:lpstr>
      <vt:lpstr>3_Тема Office</vt:lpstr>
      <vt:lpstr>4_Тема Office</vt:lpstr>
      <vt:lpstr>5_Тема Office</vt:lpstr>
      <vt:lpstr>R207-MasquePPT_V3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alentina DUNAEVA</dc:creator>
  <cp:lastModifiedBy>Margarita USHKALENKO</cp:lastModifiedBy>
  <cp:revision>15</cp:revision>
  <dcterms:created xsi:type="dcterms:W3CDTF">2017-05-30T08:05:09Z</dcterms:created>
  <dcterms:modified xsi:type="dcterms:W3CDTF">2017-05-31T10:43:14Z</dcterms:modified>
</cp:coreProperties>
</file>